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xml" ContentType="application/vnd.openxmlformats-officedocument.presentationml.tags+xml"/>
  <Override PartName="/ppt/notesSlides/notesSlide2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xml" ContentType="application/vnd.openxmlformats-officedocument.presentationml.tags+xml"/>
  <Override PartName="/ppt/notesSlides/notesSlide2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6"/>
    <p:sldMasterId id="2147484745" r:id="rId7"/>
    <p:sldMasterId id="2147484768" r:id="rId8"/>
    <p:sldMasterId id="2147484795" r:id="rId9"/>
    <p:sldMasterId id="2147484819" r:id="rId10"/>
  </p:sldMasterIdLst>
  <p:notesMasterIdLst>
    <p:notesMasterId r:id="rId95"/>
  </p:notesMasterIdLst>
  <p:handoutMasterIdLst>
    <p:handoutMasterId r:id="rId96"/>
  </p:handoutMasterIdLst>
  <p:sldIdLst>
    <p:sldId id="1861" r:id="rId11"/>
    <p:sldId id="4671" r:id="rId12"/>
    <p:sldId id="4672" r:id="rId13"/>
    <p:sldId id="258" r:id="rId14"/>
    <p:sldId id="4718" r:id="rId15"/>
    <p:sldId id="4685" r:id="rId16"/>
    <p:sldId id="4690" r:id="rId17"/>
    <p:sldId id="4669" r:id="rId18"/>
    <p:sldId id="4725" r:id="rId19"/>
    <p:sldId id="4722" r:id="rId20"/>
    <p:sldId id="4674" r:id="rId21"/>
    <p:sldId id="1839" r:id="rId22"/>
    <p:sldId id="4357" r:id="rId23"/>
    <p:sldId id="4352" r:id="rId24"/>
    <p:sldId id="4689" r:id="rId25"/>
    <p:sldId id="4724" r:id="rId26"/>
    <p:sldId id="4686" r:id="rId27"/>
    <p:sldId id="4723" r:id="rId28"/>
    <p:sldId id="4687" r:id="rId29"/>
    <p:sldId id="4688" r:id="rId30"/>
    <p:sldId id="4675" r:id="rId31"/>
    <p:sldId id="4353" r:id="rId32"/>
    <p:sldId id="4692" r:id="rId33"/>
    <p:sldId id="4676" r:id="rId34"/>
    <p:sldId id="4670" r:id="rId35"/>
    <p:sldId id="4694" r:id="rId36"/>
    <p:sldId id="4703" r:id="rId37"/>
    <p:sldId id="4695" r:id="rId38"/>
    <p:sldId id="4696" r:id="rId39"/>
    <p:sldId id="4719" r:id="rId40"/>
    <p:sldId id="4681" r:id="rId41"/>
    <p:sldId id="4677" r:id="rId42"/>
    <p:sldId id="4378" r:id="rId43"/>
    <p:sldId id="4355" r:id="rId44"/>
    <p:sldId id="4697" r:id="rId45"/>
    <p:sldId id="4699" r:id="rId46"/>
    <p:sldId id="4358" r:id="rId47"/>
    <p:sldId id="4678" r:id="rId48"/>
    <p:sldId id="1834" r:id="rId49"/>
    <p:sldId id="4704" r:id="rId50"/>
    <p:sldId id="677" r:id="rId51"/>
    <p:sldId id="4512" r:id="rId52"/>
    <p:sldId id="4705" r:id="rId53"/>
    <p:sldId id="4707" r:id="rId54"/>
    <p:sldId id="4708" r:id="rId55"/>
    <p:sldId id="4706" r:id="rId56"/>
    <p:sldId id="4360" r:id="rId57"/>
    <p:sldId id="4682" r:id="rId58"/>
    <p:sldId id="4679" r:id="rId59"/>
    <p:sldId id="4709" r:id="rId60"/>
    <p:sldId id="4710" r:id="rId61"/>
    <p:sldId id="1883" r:id="rId62"/>
    <p:sldId id="4387" r:id="rId63"/>
    <p:sldId id="1892" r:id="rId64"/>
    <p:sldId id="4389" r:id="rId65"/>
    <p:sldId id="4726" r:id="rId66"/>
    <p:sldId id="4683" r:id="rId67"/>
    <p:sldId id="4396" r:id="rId68"/>
    <p:sldId id="4721" r:id="rId69"/>
    <p:sldId id="4711" r:id="rId70"/>
    <p:sldId id="1833" r:id="rId71"/>
    <p:sldId id="4375" r:id="rId72"/>
    <p:sldId id="4673" r:id="rId73"/>
    <p:sldId id="300" r:id="rId74"/>
    <p:sldId id="4547" r:id="rId75"/>
    <p:sldId id="1850" r:id="rId76"/>
    <p:sldId id="1860" r:id="rId77"/>
    <p:sldId id="4713" r:id="rId78"/>
    <p:sldId id="1865" r:id="rId79"/>
    <p:sldId id="4362" r:id="rId80"/>
    <p:sldId id="4715" r:id="rId81"/>
    <p:sldId id="4546" r:id="rId82"/>
    <p:sldId id="4351" r:id="rId83"/>
    <p:sldId id="4714" r:id="rId84"/>
    <p:sldId id="4379" r:id="rId85"/>
    <p:sldId id="4716" r:id="rId86"/>
    <p:sldId id="4700" r:id="rId87"/>
    <p:sldId id="4701" r:id="rId88"/>
    <p:sldId id="1868" r:id="rId89"/>
    <p:sldId id="401" r:id="rId90"/>
    <p:sldId id="4720" r:id="rId91"/>
    <p:sldId id="4702" r:id="rId92"/>
    <p:sldId id="4361" r:id="rId93"/>
    <p:sldId id="4367" r:id="rId9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C6FC0CE-0262-4AEB-BC8B-3242091A1070}">
          <p14:sldIdLst>
            <p14:sldId id="1861"/>
            <p14:sldId id="4671"/>
          </p14:sldIdLst>
        </p14:section>
        <p14:section name="Module 1: Why SQL Server 2019" id="{5DC89DC7-CDCB-49DC-AEE0-23E34A1AB30A}">
          <p14:sldIdLst>
            <p14:sldId id="4672"/>
            <p14:sldId id="258"/>
            <p14:sldId id="4718"/>
            <p14:sldId id="4685"/>
            <p14:sldId id="4690"/>
            <p14:sldId id="4669"/>
            <p14:sldId id="4725"/>
            <p14:sldId id="4722"/>
          </p14:sldIdLst>
        </p14:section>
        <p14:section name="Module 2: Intelligent Performance" id="{A9B056A4-974A-4EF4-BE70-786E99EC2720}">
          <p14:sldIdLst>
            <p14:sldId id="4674"/>
            <p14:sldId id="1839"/>
            <p14:sldId id="4357"/>
            <p14:sldId id="4352"/>
            <p14:sldId id="4689"/>
            <p14:sldId id="4724"/>
            <p14:sldId id="4686"/>
            <p14:sldId id="4723"/>
            <p14:sldId id="4687"/>
            <p14:sldId id="4688"/>
          </p14:sldIdLst>
        </p14:section>
        <p14:section name="Module 3: New Security Capabilities" id="{5E42D3BF-EDD2-469D-94D6-EE89F56AF5FD}">
          <p14:sldIdLst>
            <p14:sldId id="4675"/>
            <p14:sldId id="4353"/>
            <p14:sldId id="4692"/>
          </p14:sldIdLst>
        </p14:section>
        <p14:section name="Module 4: Mission Critical Availability" id="{6C1FF688-49F7-45AA-AC69-20DA286D761C}">
          <p14:sldIdLst>
            <p14:sldId id="4676"/>
            <p14:sldId id="4670"/>
            <p14:sldId id="4694"/>
            <p14:sldId id="4703"/>
            <p14:sldId id="4695"/>
            <p14:sldId id="4696"/>
            <p14:sldId id="4719"/>
            <p14:sldId id="4681"/>
          </p14:sldIdLst>
        </p14:section>
        <p14:section name="Module 5: The Modern Development Platform" id="{14B218F2-AD35-4A69-AE11-EBEC8BABA129}">
          <p14:sldIdLst>
            <p14:sldId id="4677"/>
            <p14:sldId id="4378"/>
            <p14:sldId id="4355"/>
            <p14:sldId id="4697"/>
            <p14:sldId id="4699"/>
            <p14:sldId id="4358"/>
          </p14:sldIdLst>
        </p14:section>
        <p14:section name="Module 6: SQL Server on Linux" id="{DD71F27A-46D4-421F-AF5C-2BEB085E2D28}">
          <p14:sldIdLst>
            <p14:sldId id="4678"/>
            <p14:sldId id="1834"/>
            <p14:sldId id="4704"/>
            <p14:sldId id="677"/>
            <p14:sldId id="4512"/>
            <p14:sldId id="4705"/>
            <p14:sldId id="4707"/>
            <p14:sldId id="4708"/>
            <p14:sldId id="4706"/>
            <p14:sldId id="4360"/>
            <p14:sldId id="4682"/>
          </p14:sldIdLst>
        </p14:section>
        <p14:section name="Module 7: SQL Server Containers and Kubernetes" id="{B5108F24-44EA-45DA-B90B-B564F62501BD}">
          <p14:sldIdLst>
            <p14:sldId id="4679"/>
            <p14:sldId id="4709"/>
            <p14:sldId id="4710"/>
            <p14:sldId id="1883"/>
            <p14:sldId id="4387"/>
            <p14:sldId id="1892"/>
            <p14:sldId id="4389"/>
            <p14:sldId id="4726"/>
            <p14:sldId id="4683"/>
            <p14:sldId id="4396"/>
            <p14:sldId id="4721"/>
            <p14:sldId id="4711"/>
            <p14:sldId id="1833"/>
            <p14:sldId id="4375"/>
          </p14:sldIdLst>
        </p14:section>
        <p14:section name="Module 8: SQL Server Data Virtualization" id="{E0DAB4AD-BE66-4B7B-B599-497E058CE2A0}">
          <p14:sldIdLst>
            <p14:sldId id="4673"/>
            <p14:sldId id="300"/>
            <p14:sldId id="4547"/>
            <p14:sldId id="1850"/>
            <p14:sldId id="1860"/>
            <p14:sldId id="4713"/>
            <p14:sldId id="1865"/>
            <p14:sldId id="4362"/>
            <p14:sldId id="4715"/>
            <p14:sldId id="4546"/>
            <p14:sldId id="4351"/>
          </p14:sldIdLst>
        </p14:section>
        <p14:section name="Module 9: What else is New" id="{539FD78F-9A46-45AD-A738-C40206DB86BF}">
          <p14:sldIdLst>
            <p14:sldId id="4714"/>
            <p14:sldId id="4379"/>
          </p14:sldIdLst>
        </p14:section>
        <p14:section name="Module 10: Migration and Next Steps" id="{30AAF4D8-7A8C-4980-8927-A29D0A9FB2E3}">
          <p14:sldIdLst>
            <p14:sldId id="4716"/>
            <p14:sldId id="4700"/>
            <p14:sldId id="4701"/>
            <p14:sldId id="1868"/>
            <p14:sldId id="401"/>
            <p14:sldId id="4720"/>
            <p14:sldId id="4702"/>
            <p14:sldId id="4361"/>
            <p14:sldId id="4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Evan Aeschlimann" initials="EA" lastIdx="2" clrIdx="7">
    <p:extLst>
      <p:ext uri="{19B8F6BF-5375-455C-9EA6-DF929625EA0E}">
        <p15:presenceInfo xmlns:p15="http://schemas.microsoft.com/office/powerpoint/2012/main" userId="Evan Aeschlimann" providerId="None"/>
      </p:ext>
    </p:extLst>
  </p:cmAuthor>
  <p:cmAuthor id="1" name="Mary Feil-Jacobs" initials="MFJ" lastIdx="43" clrIdx="1"/>
  <p:cmAuthor id="8" name="Bob Ward" initials="BW" lastIdx="4" clrIdx="8">
    <p:extLst>
      <p:ext uri="{19B8F6BF-5375-455C-9EA6-DF929625EA0E}">
        <p15:presenceInfo xmlns:p15="http://schemas.microsoft.com/office/powerpoint/2012/main" userId="S::bobward@microsoft.com::6da7c2dd-8e2e-469f-a216-c384312e2a2d"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Debbi Lyons" initials="DL" lastIdx="119" clrIdx="4"/>
  <p:cmAuthor id="5" name="Nicole Benjamin" initials="NB" lastIdx="58" clrIdx="5">
    <p:extLst>
      <p:ext uri="{19B8F6BF-5375-455C-9EA6-DF929625EA0E}">
        <p15:presenceInfo xmlns:p15="http://schemas.microsoft.com/office/powerpoint/2012/main" userId="Nicole Benjamin" providerId="None"/>
      </p:ext>
    </p:extLst>
  </p:cmAuthor>
  <p:cmAuthor id="6" name="Nick Dwyer" initials="ND" lastIdx="118" clrIdx="6">
    <p:extLst>
      <p:ext uri="{19B8F6BF-5375-455C-9EA6-DF929625EA0E}">
        <p15:presenceInfo xmlns:p15="http://schemas.microsoft.com/office/powerpoint/2012/main" userId="Nick Dwy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57575"/>
    <a:srgbClr val="50E6FF"/>
    <a:srgbClr val="737373"/>
    <a:srgbClr val="E81123"/>
    <a:srgbClr val="E6E6E6"/>
    <a:srgbClr val="BDBDBD"/>
    <a:srgbClr val="D83B01"/>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1B464C-0DF5-4E6D-AD2C-B7CD9F33F392}" v="1" dt="2019-07-09T13:46:41.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36" autoAdjust="0"/>
    <p:restoredTop sz="88328" autoAdjust="0"/>
  </p:normalViewPr>
  <p:slideViewPr>
    <p:cSldViewPr snapToGrid="0">
      <p:cViewPr varScale="1">
        <p:scale>
          <a:sx n="56" d="100"/>
          <a:sy n="56" d="100"/>
        </p:scale>
        <p:origin x="916" y="4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2.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notesMaster" Target="notesMasters/notesMaster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theme" Target="theme/theme1.xml"/><Relationship Id="rId8" Type="http://schemas.openxmlformats.org/officeDocument/2006/relationships/slideMaster" Target="slideMasters/slideMaster3.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microsoft.com/office/2015/10/relationships/revisionInfo" Target="revisionInfo.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5.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Ward" userId="6da7c2dd-8e2e-469f-a216-c384312e2a2d" providerId="ADAL" clId="{4A6957CE-BE70-4854-87C8-1BCB29356301}"/>
    <pc:docChg chg="custSel addSld delSld modSld sldOrd delMainMaster modSection">
      <pc:chgData name="Bob Ward" userId="6da7c2dd-8e2e-469f-a216-c384312e2a2d" providerId="ADAL" clId="{4A6957CE-BE70-4854-87C8-1BCB29356301}" dt="2018-11-12T14:13:00.687" v="151"/>
      <pc:docMkLst>
        <pc:docMk/>
      </pc:docMkLst>
      <pc:sldChg chg="del">
        <pc:chgData name="Bob Ward" userId="6da7c2dd-8e2e-469f-a216-c384312e2a2d" providerId="ADAL" clId="{4A6957CE-BE70-4854-87C8-1BCB29356301}" dt="2018-11-11T14:12:56.109" v="46" actId="2696"/>
        <pc:sldMkLst>
          <pc:docMk/>
          <pc:sldMk cId="1167667248" sldId="315"/>
        </pc:sldMkLst>
      </pc:sldChg>
      <pc:sldChg chg="del">
        <pc:chgData name="Bob Ward" userId="6da7c2dd-8e2e-469f-a216-c384312e2a2d" providerId="ADAL" clId="{4A6957CE-BE70-4854-87C8-1BCB29356301}" dt="2018-11-11T14:09:55.630" v="0" actId="2696"/>
        <pc:sldMkLst>
          <pc:docMk/>
          <pc:sldMk cId="1690938764" sldId="321"/>
        </pc:sldMkLst>
      </pc:sldChg>
      <pc:sldChg chg="del">
        <pc:chgData name="Bob Ward" userId="6da7c2dd-8e2e-469f-a216-c384312e2a2d" providerId="ADAL" clId="{4A6957CE-BE70-4854-87C8-1BCB29356301}" dt="2018-11-11T14:12:58.362" v="47" actId="2696"/>
        <pc:sldMkLst>
          <pc:docMk/>
          <pc:sldMk cId="3666506997" sldId="324"/>
        </pc:sldMkLst>
      </pc:sldChg>
      <pc:sldChg chg="addSp modSp">
        <pc:chgData name="Bob Ward" userId="6da7c2dd-8e2e-469f-a216-c384312e2a2d" providerId="ADAL" clId="{4A6957CE-BE70-4854-87C8-1BCB29356301}" dt="2018-11-12T13:55:53.522" v="137" actId="1076"/>
        <pc:sldMkLst>
          <pc:docMk/>
          <pc:sldMk cId="1869999325" sldId="1861"/>
        </pc:sldMkLst>
        <pc:spChg chg="add mod">
          <ac:chgData name="Bob Ward" userId="6da7c2dd-8e2e-469f-a216-c384312e2a2d" providerId="ADAL" clId="{4A6957CE-BE70-4854-87C8-1BCB29356301}" dt="2018-11-12T13:55:53.522" v="137" actId="1076"/>
          <ac:spMkLst>
            <pc:docMk/>
            <pc:sldMk cId="1869999325" sldId="1861"/>
            <ac:spMk id="2" creationId="{AF57CFD1-12DE-4287-8E0D-77F399553290}"/>
          </ac:spMkLst>
        </pc:spChg>
        <pc:spChg chg="mod">
          <ac:chgData name="Bob Ward" userId="6da7c2dd-8e2e-469f-a216-c384312e2a2d" providerId="ADAL" clId="{4A6957CE-BE70-4854-87C8-1BCB29356301}" dt="2018-11-11T14:10:08.413" v="36" actId="20577"/>
          <ac:spMkLst>
            <pc:docMk/>
            <pc:sldMk cId="1869999325" sldId="1861"/>
            <ac:spMk id="6" creationId="{ACBB8B40-F3D1-4331-B430-E127860A693D}"/>
          </ac:spMkLst>
        </pc:spChg>
        <pc:picChg chg="add mod">
          <ac:chgData name="Bob Ward" userId="6da7c2dd-8e2e-469f-a216-c384312e2a2d" providerId="ADAL" clId="{4A6957CE-BE70-4854-87C8-1BCB29356301}" dt="2018-11-11T14:11:10.572" v="40" actId="1076"/>
          <ac:picMkLst>
            <pc:docMk/>
            <pc:sldMk cId="1869999325" sldId="1861"/>
            <ac:picMk id="3" creationId="{ED5AAC40-7D58-4ECC-A011-D234AD62C3F7}"/>
          </ac:picMkLst>
        </pc:picChg>
      </pc:sldChg>
      <pc:sldChg chg="modTransition">
        <pc:chgData name="Bob Ward" userId="6da7c2dd-8e2e-469f-a216-c384312e2a2d" providerId="ADAL" clId="{4A6957CE-BE70-4854-87C8-1BCB29356301}" dt="2018-11-11T14:11:31.806" v="41"/>
        <pc:sldMkLst>
          <pc:docMk/>
          <pc:sldMk cId="445609033" sldId="4351"/>
        </pc:sldMkLst>
      </pc:sldChg>
      <pc:sldChg chg="ord">
        <pc:chgData name="Bob Ward" userId="6da7c2dd-8e2e-469f-a216-c384312e2a2d" providerId="ADAL" clId="{4A6957CE-BE70-4854-87C8-1BCB29356301}" dt="2018-11-12T13:56:00.786" v="138"/>
        <pc:sldMkLst>
          <pc:docMk/>
          <pc:sldMk cId="3766069067" sldId="4360"/>
        </pc:sldMkLst>
      </pc:sldChg>
      <pc:sldChg chg="delSp modSp">
        <pc:chgData name="Bob Ward" userId="6da7c2dd-8e2e-469f-a216-c384312e2a2d" providerId="ADAL" clId="{4A6957CE-BE70-4854-87C8-1BCB29356301}" dt="2018-11-11T14:13:30.246" v="66" actId="1076"/>
        <pc:sldMkLst>
          <pc:docMk/>
          <pc:sldMk cId="276576014" sldId="4367"/>
        </pc:sldMkLst>
        <pc:spChg chg="mod">
          <ac:chgData name="Bob Ward" userId="6da7c2dd-8e2e-469f-a216-c384312e2a2d" providerId="ADAL" clId="{4A6957CE-BE70-4854-87C8-1BCB29356301}" dt="2018-11-11T14:13:18.250" v="64" actId="1076"/>
          <ac:spMkLst>
            <pc:docMk/>
            <pc:sldMk cId="276576014" sldId="4367"/>
            <ac:spMk id="3" creationId="{C0749521-6EDD-4067-B1EC-0DEDEB339E91}"/>
          </ac:spMkLst>
        </pc:spChg>
        <pc:spChg chg="del">
          <ac:chgData name="Bob Ward" userId="6da7c2dd-8e2e-469f-a216-c384312e2a2d" providerId="ADAL" clId="{4A6957CE-BE70-4854-87C8-1BCB29356301}" dt="2018-11-11T14:12:53.655" v="45" actId="478"/>
          <ac:spMkLst>
            <pc:docMk/>
            <pc:sldMk cId="276576014" sldId="4367"/>
            <ac:spMk id="5" creationId="{BCA91216-E90D-424E-84D6-905B2F6C5CA0}"/>
          </ac:spMkLst>
        </pc:spChg>
        <pc:spChg chg="del">
          <ac:chgData name="Bob Ward" userId="6da7c2dd-8e2e-469f-a216-c384312e2a2d" providerId="ADAL" clId="{4A6957CE-BE70-4854-87C8-1BCB29356301}" dt="2018-11-11T14:12:53.655" v="45" actId="478"/>
          <ac:spMkLst>
            <pc:docMk/>
            <pc:sldMk cId="276576014" sldId="4367"/>
            <ac:spMk id="6" creationId="{849F8057-236A-4A49-9642-6F059030EA39}"/>
          </ac:spMkLst>
        </pc:spChg>
        <pc:spChg chg="mod">
          <ac:chgData name="Bob Ward" userId="6da7c2dd-8e2e-469f-a216-c384312e2a2d" providerId="ADAL" clId="{4A6957CE-BE70-4854-87C8-1BCB29356301}" dt="2018-11-11T14:13:18.250" v="64" actId="1076"/>
          <ac:spMkLst>
            <pc:docMk/>
            <pc:sldMk cId="276576014" sldId="4367"/>
            <ac:spMk id="7" creationId="{DB971EA3-9242-4CD2-860D-91D53C7F33FC}"/>
          </ac:spMkLst>
        </pc:spChg>
        <pc:spChg chg="mod">
          <ac:chgData name="Bob Ward" userId="6da7c2dd-8e2e-469f-a216-c384312e2a2d" providerId="ADAL" clId="{4A6957CE-BE70-4854-87C8-1BCB29356301}" dt="2018-11-11T14:13:22.925" v="65" actId="14100"/>
          <ac:spMkLst>
            <pc:docMk/>
            <pc:sldMk cId="276576014" sldId="4367"/>
            <ac:spMk id="9" creationId="{3141DD79-26B4-4ABA-8383-735F107CD87A}"/>
          </ac:spMkLst>
        </pc:spChg>
        <pc:picChg chg="mod">
          <ac:chgData name="Bob Ward" userId="6da7c2dd-8e2e-469f-a216-c384312e2a2d" providerId="ADAL" clId="{4A6957CE-BE70-4854-87C8-1BCB29356301}" dt="2018-11-11T14:13:30.246" v="66" actId="1076"/>
          <ac:picMkLst>
            <pc:docMk/>
            <pc:sldMk cId="276576014" sldId="4367"/>
            <ac:picMk id="8" creationId="{B882A5E8-58C3-46F4-ACAE-7A9B03E459B6}"/>
          </ac:picMkLst>
        </pc:picChg>
      </pc:sldChg>
      <pc:sldChg chg="modSp modTransition">
        <pc:chgData name="Bob Ward" userId="6da7c2dd-8e2e-469f-a216-c384312e2a2d" providerId="ADAL" clId="{4A6957CE-BE70-4854-87C8-1BCB29356301}" dt="2018-11-12T14:13:00.687" v="151"/>
        <pc:sldMkLst>
          <pc:docMk/>
          <pc:sldMk cId="4134612233" sldId="4375"/>
        </pc:sldMkLst>
        <pc:spChg chg="mod">
          <ac:chgData name="Bob Ward" userId="6da7c2dd-8e2e-469f-a216-c384312e2a2d" providerId="ADAL" clId="{4A6957CE-BE70-4854-87C8-1BCB29356301}" dt="2018-11-11T14:12:14.009" v="42" actId="113"/>
          <ac:spMkLst>
            <pc:docMk/>
            <pc:sldMk cId="4134612233" sldId="4375"/>
            <ac:spMk id="6" creationId="{00000000-0000-0000-0000-000000000000}"/>
          </ac:spMkLst>
        </pc:spChg>
      </pc:sldChg>
      <pc:sldChg chg="del modTransition">
        <pc:chgData name="Bob Ward" userId="6da7c2dd-8e2e-469f-a216-c384312e2a2d" providerId="ADAL" clId="{4A6957CE-BE70-4854-87C8-1BCB29356301}" dt="2018-11-12T14:12:16.560" v="143" actId="2696"/>
        <pc:sldMkLst>
          <pc:docMk/>
          <pc:sldMk cId="198936585" sldId="4380"/>
        </pc:sldMkLst>
      </pc:sldChg>
      <pc:sldChg chg="modSp add modAnim">
        <pc:chgData name="Bob Ward" userId="6da7c2dd-8e2e-469f-a216-c384312e2a2d" providerId="ADAL" clId="{4A6957CE-BE70-4854-87C8-1BCB29356301}" dt="2018-11-12T14:12:38.708" v="150"/>
        <pc:sldMkLst>
          <pc:docMk/>
          <pc:sldMk cId="2849558357" sldId="4670"/>
        </pc:sldMkLst>
        <pc:spChg chg="mod">
          <ac:chgData name="Bob Ward" userId="6da7c2dd-8e2e-469f-a216-c384312e2a2d" providerId="ADAL" clId="{4A6957CE-BE70-4854-87C8-1BCB29356301}" dt="2018-11-12T14:12:35.079" v="149" actId="113"/>
          <ac:spMkLst>
            <pc:docMk/>
            <pc:sldMk cId="2849558357" sldId="4670"/>
            <ac:spMk id="6" creationId="{00000000-0000-0000-0000-000000000000}"/>
          </ac:spMkLst>
        </pc:spChg>
      </pc:sldChg>
      <pc:sldMasterChg chg="del delSldLayout">
        <pc:chgData name="Bob Ward" userId="6da7c2dd-8e2e-469f-a216-c384312e2a2d" providerId="ADAL" clId="{4A6957CE-BE70-4854-87C8-1BCB29356301}" dt="2018-11-11T14:12:58.411" v="63" actId="2696"/>
        <pc:sldMasterMkLst>
          <pc:docMk/>
          <pc:sldMasterMk cId="2150920890" sldId="2147484729"/>
        </pc:sldMasterMkLst>
        <pc:sldLayoutChg chg="del">
          <pc:chgData name="Bob Ward" userId="6da7c2dd-8e2e-469f-a216-c384312e2a2d" providerId="ADAL" clId="{4A6957CE-BE70-4854-87C8-1BCB29356301}" dt="2018-11-11T14:12:58.365" v="48" actId="2696"/>
          <pc:sldLayoutMkLst>
            <pc:docMk/>
            <pc:sldMasterMk cId="2150920890" sldId="2147484729"/>
            <pc:sldLayoutMk cId="2513192858" sldId="2147484730"/>
          </pc:sldLayoutMkLst>
        </pc:sldLayoutChg>
        <pc:sldLayoutChg chg="del">
          <pc:chgData name="Bob Ward" userId="6da7c2dd-8e2e-469f-a216-c384312e2a2d" providerId="ADAL" clId="{4A6957CE-BE70-4854-87C8-1BCB29356301}" dt="2018-11-11T14:12:58.368" v="49" actId="2696"/>
          <pc:sldLayoutMkLst>
            <pc:docMk/>
            <pc:sldMasterMk cId="2150920890" sldId="2147484729"/>
            <pc:sldLayoutMk cId="1877320617" sldId="2147484731"/>
          </pc:sldLayoutMkLst>
        </pc:sldLayoutChg>
        <pc:sldLayoutChg chg="del">
          <pc:chgData name="Bob Ward" userId="6da7c2dd-8e2e-469f-a216-c384312e2a2d" providerId="ADAL" clId="{4A6957CE-BE70-4854-87C8-1BCB29356301}" dt="2018-11-11T14:12:58.372" v="50" actId="2696"/>
          <pc:sldLayoutMkLst>
            <pc:docMk/>
            <pc:sldMasterMk cId="2150920890" sldId="2147484729"/>
            <pc:sldLayoutMk cId="2343758983" sldId="2147484732"/>
          </pc:sldLayoutMkLst>
        </pc:sldLayoutChg>
        <pc:sldLayoutChg chg="del">
          <pc:chgData name="Bob Ward" userId="6da7c2dd-8e2e-469f-a216-c384312e2a2d" providerId="ADAL" clId="{4A6957CE-BE70-4854-87C8-1BCB29356301}" dt="2018-11-11T14:12:58.373" v="51" actId="2696"/>
          <pc:sldLayoutMkLst>
            <pc:docMk/>
            <pc:sldMasterMk cId="2150920890" sldId="2147484729"/>
            <pc:sldLayoutMk cId="1834650513" sldId="2147484733"/>
          </pc:sldLayoutMkLst>
        </pc:sldLayoutChg>
        <pc:sldLayoutChg chg="del">
          <pc:chgData name="Bob Ward" userId="6da7c2dd-8e2e-469f-a216-c384312e2a2d" providerId="ADAL" clId="{4A6957CE-BE70-4854-87C8-1BCB29356301}" dt="2018-11-11T14:12:58.376" v="52" actId="2696"/>
          <pc:sldLayoutMkLst>
            <pc:docMk/>
            <pc:sldMasterMk cId="2150920890" sldId="2147484729"/>
            <pc:sldLayoutMk cId="3653261629" sldId="2147484734"/>
          </pc:sldLayoutMkLst>
        </pc:sldLayoutChg>
        <pc:sldLayoutChg chg="del">
          <pc:chgData name="Bob Ward" userId="6da7c2dd-8e2e-469f-a216-c384312e2a2d" providerId="ADAL" clId="{4A6957CE-BE70-4854-87C8-1BCB29356301}" dt="2018-11-11T14:12:58.379" v="53" actId="2696"/>
          <pc:sldLayoutMkLst>
            <pc:docMk/>
            <pc:sldMasterMk cId="2150920890" sldId="2147484729"/>
            <pc:sldLayoutMk cId="3227250680" sldId="2147484735"/>
          </pc:sldLayoutMkLst>
        </pc:sldLayoutChg>
        <pc:sldLayoutChg chg="del">
          <pc:chgData name="Bob Ward" userId="6da7c2dd-8e2e-469f-a216-c384312e2a2d" providerId="ADAL" clId="{4A6957CE-BE70-4854-87C8-1BCB29356301}" dt="2018-11-11T14:12:58.381" v="54" actId="2696"/>
          <pc:sldLayoutMkLst>
            <pc:docMk/>
            <pc:sldMasterMk cId="2150920890" sldId="2147484729"/>
            <pc:sldLayoutMk cId="2064895503" sldId="2147484736"/>
          </pc:sldLayoutMkLst>
        </pc:sldLayoutChg>
        <pc:sldLayoutChg chg="del">
          <pc:chgData name="Bob Ward" userId="6da7c2dd-8e2e-469f-a216-c384312e2a2d" providerId="ADAL" clId="{4A6957CE-BE70-4854-87C8-1BCB29356301}" dt="2018-11-11T14:12:58.384" v="55" actId="2696"/>
          <pc:sldLayoutMkLst>
            <pc:docMk/>
            <pc:sldMasterMk cId="2150920890" sldId="2147484729"/>
            <pc:sldLayoutMk cId="3740811278" sldId="2147484737"/>
          </pc:sldLayoutMkLst>
        </pc:sldLayoutChg>
        <pc:sldLayoutChg chg="del">
          <pc:chgData name="Bob Ward" userId="6da7c2dd-8e2e-469f-a216-c384312e2a2d" providerId="ADAL" clId="{4A6957CE-BE70-4854-87C8-1BCB29356301}" dt="2018-11-11T14:12:58.388" v="56" actId="2696"/>
          <pc:sldLayoutMkLst>
            <pc:docMk/>
            <pc:sldMasterMk cId="2150920890" sldId="2147484729"/>
            <pc:sldLayoutMk cId="1864187502" sldId="2147484738"/>
          </pc:sldLayoutMkLst>
        </pc:sldLayoutChg>
        <pc:sldLayoutChg chg="del">
          <pc:chgData name="Bob Ward" userId="6da7c2dd-8e2e-469f-a216-c384312e2a2d" providerId="ADAL" clId="{4A6957CE-BE70-4854-87C8-1BCB29356301}" dt="2018-11-11T14:12:58.390" v="57" actId="2696"/>
          <pc:sldLayoutMkLst>
            <pc:docMk/>
            <pc:sldMasterMk cId="2150920890" sldId="2147484729"/>
            <pc:sldLayoutMk cId="1637440357" sldId="2147484739"/>
          </pc:sldLayoutMkLst>
        </pc:sldLayoutChg>
        <pc:sldLayoutChg chg="del">
          <pc:chgData name="Bob Ward" userId="6da7c2dd-8e2e-469f-a216-c384312e2a2d" providerId="ADAL" clId="{4A6957CE-BE70-4854-87C8-1BCB29356301}" dt="2018-11-11T14:12:58.392" v="58" actId="2696"/>
          <pc:sldLayoutMkLst>
            <pc:docMk/>
            <pc:sldMasterMk cId="2150920890" sldId="2147484729"/>
            <pc:sldLayoutMk cId="1406901259" sldId="2147484740"/>
          </pc:sldLayoutMkLst>
        </pc:sldLayoutChg>
        <pc:sldLayoutChg chg="del">
          <pc:chgData name="Bob Ward" userId="6da7c2dd-8e2e-469f-a216-c384312e2a2d" providerId="ADAL" clId="{4A6957CE-BE70-4854-87C8-1BCB29356301}" dt="2018-11-11T14:12:58.394" v="59" actId="2696"/>
          <pc:sldLayoutMkLst>
            <pc:docMk/>
            <pc:sldMasterMk cId="2150920890" sldId="2147484729"/>
            <pc:sldLayoutMk cId="3321501675" sldId="2147484741"/>
          </pc:sldLayoutMkLst>
        </pc:sldLayoutChg>
        <pc:sldLayoutChg chg="del">
          <pc:chgData name="Bob Ward" userId="6da7c2dd-8e2e-469f-a216-c384312e2a2d" providerId="ADAL" clId="{4A6957CE-BE70-4854-87C8-1BCB29356301}" dt="2018-11-11T14:12:58.398" v="60" actId="2696"/>
          <pc:sldLayoutMkLst>
            <pc:docMk/>
            <pc:sldMasterMk cId="2150920890" sldId="2147484729"/>
            <pc:sldLayoutMk cId="4120117284" sldId="2147484742"/>
          </pc:sldLayoutMkLst>
        </pc:sldLayoutChg>
        <pc:sldLayoutChg chg="del">
          <pc:chgData name="Bob Ward" userId="6da7c2dd-8e2e-469f-a216-c384312e2a2d" providerId="ADAL" clId="{4A6957CE-BE70-4854-87C8-1BCB29356301}" dt="2018-11-11T14:12:58.402" v="61" actId="2696"/>
          <pc:sldLayoutMkLst>
            <pc:docMk/>
            <pc:sldMasterMk cId="2150920890" sldId="2147484729"/>
            <pc:sldLayoutMk cId="848861870" sldId="2147484743"/>
          </pc:sldLayoutMkLst>
        </pc:sldLayoutChg>
        <pc:sldLayoutChg chg="del">
          <pc:chgData name="Bob Ward" userId="6da7c2dd-8e2e-469f-a216-c384312e2a2d" providerId="ADAL" clId="{4A6957CE-BE70-4854-87C8-1BCB29356301}" dt="2018-11-11T14:12:58.408" v="62" actId="2696"/>
          <pc:sldLayoutMkLst>
            <pc:docMk/>
            <pc:sldMasterMk cId="2150920890" sldId="2147484729"/>
            <pc:sldLayoutMk cId="2603942188" sldId="2147484744"/>
          </pc:sldLayoutMkLst>
        </pc:sldLayoutChg>
      </pc:sldMasterChg>
    </pc:docChg>
  </pc:docChgLst>
  <pc:docChgLst>
    <pc:chgData name="Bob Ward" userId="6da7c2dd-8e2e-469f-a216-c384312e2a2d" providerId="ADAL" clId="{FBE8B008-2EB3-425E-BFC2-BF50521ECA05}"/>
    <pc:docChg chg="modSld">
      <pc:chgData name="Bob Ward" userId="6da7c2dd-8e2e-469f-a216-c384312e2a2d" providerId="ADAL" clId="{FBE8B008-2EB3-425E-BFC2-BF50521ECA05}" dt="2018-09-24T14:55:45.804" v="13" actId="20577"/>
      <pc:docMkLst>
        <pc:docMk/>
      </pc:docMkLst>
      <pc:sldChg chg="modNotesTx">
        <pc:chgData name="Bob Ward" userId="6da7c2dd-8e2e-469f-a216-c384312e2a2d" providerId="ADAL" clId="{FBE8B008-2EB3-425E-BFC2-BF50521ECA05}" dt="2018-09-24T14:55:45.804" v="13" actId="20577"/>
        <pc:sldMkLst>
          <pc:docMk/>
          <pc:sldMk cId="3360446397" sldId="4369"/>
        </pc:sldMkLst>
      </pc:sldChg>
    </pc:docChg>
  </pc:docChgLst>
  <pc:docChgLst>
    <pc:chgData name="Bob Ward" userId="6da7c2dd-8e2e-469f-a216-c384312e2a2d" providerId="ADAL" clId="{CC07BEAC-85A7-44E0-BC28-578FC3DF3703}"/>
    <pc:docChg chg="undo custSel addSld delSld modSld sldOrd addSection delSection modSection">
      <pc:chgData name="Bob Ward" userId="6da7c2dd-8e2e-469f-a216-c384312e2a2d" providerId="ADAL" clId="{CC07BEAC-85A7-44E0-BC28-578FC3DF3703}" dt="2019-03-04T21:34:07.508" v="19028" actId="2696"/>
      <pc:docMkLst>
        <pc:docMk/>
      </pc:docMkLst>
      <pc:sldChg chg="add">
        <pc:chgData name="Bob Ward" userId="6da7c2dd-8e2e-469f-a216-c384312e2a2d" providerId="ADAL" clId="{CC07BEAC-85A7-44E0-BC28-578FC3DF3703}" dt="2019-01-21T23:04:11.958" v="1111"/>
        <pc:sldMkLst>
          <pc:docMk/>
          <pc:sldMk cId="500996614" sldId="258"/>
        </pc:sldMkLst>
      </pc:sldChg>
      <pc:sldChg chg="add del ord modNotesTx">
        <pc:chgData name="Bob Ward" userId="6da7c2dd-8e2e-469f-a216-c384312e2a2d" providerId="ADAL" clId="{CC07BEAC-85A7-44E0-BC28-578FC3DF3703}" dt="2019-02-21T02:52:45.690" v="13076" actId="6549"/>
        <pc:sldMkLst>
          <pc:docMk/>
          <pc:sldMk cId="940594756" sldId="300"/>
        </pc:sldMkLst>
      </pc:sldChg>
      <pc:sldChg chg="add">
        <pc:chgData name="Bob Ward" userId="6da7c2dd-8e2e-469f-a216-c384312e2a2d" providerId="ADAL" clId="{CC07BEAC-85A7-44E0-BC28-578FC3DF3703}" dt="2019-02-21T01:12:04.060" v="10917"/>
        <pc:sldMkLst>
          <pc:docMk/>
          <pc:sldMk cId="4002908645" sldId="401"/>
        </pc:sldMkLst>
      </pc:sldChg>
      <pc:sldChg chg="del ord">
        <pc:chgData name="Bob Ward" userId="6da7c2dd-8e2e-469f-a216-c384312e2a2d" providerId="ADAL" clId="{CC07BEAC-85A7-44E0-BC28-578FC3DF3703}" dt="2019-02-13T21:41:54.995" v="3757" actId="2696"/>
        <pc:sldMkLst>
          <pc:docMk/>
          <pc:sldMk cId="3734631647" sldId="599"/>
        </pc:sldMkLst>
      </pc:sldChg>
      <pc:sldChg chg="add">
        <pc:chgData name="Bob Ward" userId="6da7c2dd-8e2e-469f-a216-c384312e2a2d" providerId="ADAL" clId="{CC07BEAC-85A7-44E0-BC28-578FC3DF3703}" dt="2019-02-13T23:35:09.537" v="4158"/>
        <pc:sldMkLst>
          <pc:docMk/>
          <pc:sldMk cId="1394624372" sldId="677"/>
        </pc:sldMkLst>
      </pc:sldChg>
      <pc:sldChg chg="del ord modNotesTx">
        <pc:chgData name="Bob Ward" userId="6da7c2dd-8e2e-469f-a216-c384312e2a2d" providerId="ADAL" clId="{CC07BEAC-85A7-44E0-BC28-578FC3DF3703}" dt="2019-02-13T21:41:56.621" v="3758" actId="2696"/>
        <pc:sldMkLst>
          <pc:docMk/>
          <pc:sldMk cId="1057058229" sldId="1247"/>
        </pc:sldMkLst>
      </pc:sldChg>
      <pc:sldChg chg="addSp delSp modSp add del delAnim modAnim modNotesTx">
        <pc:chgData name="Bob Ward" userId="6da7c2dd-8e2e-469f-a216-c384312e2a2d" providerId="ADAL" clId="{CC07BEAC-85A7-44E0-BC28-578FC3DF3703}" dt="2019-02-25T21:24:32.859" v="19025" actId="2696"/>
        <pc:sldMkLst>
          <pc:docMk/>
          <pc:sldMk cId="1910982118" sldId="1584"/>
        </pc:sldMkLst>
        <pc:spChg chg="del">
          <ac:chgData name="Bob Ward" userId="6da7c2dd-8e2e-469f-a216-c384312e2a2d" providerId="ADAL" clId="{CC07BEAC-85A7-44E0-BC28-578FC3DF3703}" dt="2019-01-21T15:10:50.824" v="195" actId="478"/>
          <ac:spMkLst>
            <pc:docMk/>
            <pc:sldMk cId="1910982118" sldId="1584"/>
            <ac:spMk id="10" creationId="{D86886AE-CB6E-4006-9D23-F01E0346ABD9}"/>
          </ac:spMkLst>
        </pc:spChg>
        <pc:spChg chg="del topLvl">
          <ac:chgData name="Bob Ward" userId="6da7c2dd-8e2e-469f-a216-c384312e2a2d" providerId="ADAL" clId="{CC07BEAC-85A7-44E0-BC28-578FC3DF3703}" dt="2019-01-21T15:11:00.321" v="196" actId="478"/>
          <ac:spMkLst>
            <pc:docMk/>
            <pc:sldMk cId="1910982118" sldId="1584"/>
            <ac:spMk id="12" creationId="{0E1074E1-070A-45B4-AFAC-CF71F2069ECC}"/>
          </ac:spMkLst>
        </pc:spChg>
        <pc:spChg chg="del">
          <ac:chgData name="Bob Ward" userId="6da7c2dd-8e2e-469f-a216-c384312e2a2d" providerId="ADAL" clId="{CC07BEAC-85A7-44E0-BC28-578FC3DF3703}" dt="2019-01-21T15:10:50.824" v="195" actId="478"/>
          <ac:spMkLst>
            <pc:docMk/>
            <pc:sldMk cId="1910982118" sldId="1584"/>
            <ac:spMk id="13" creationId="{217EFD84-B2C8-4D21-AF45-D0A17526079E}"/>
          </ac:spMkLst>
        </pc:spChg>
        <pc:spChg chg="del">
          <ac:chgData name="Bob Ward" userId="6da7c2dd-8e2e-469f-a216-c384312e2a2d" providerId="ADAL" clId="{CC07BEAC-85A7-44E0-BC28-578FC3DF3703}" dt="2019-01-21T15:10:50.824" v="195" actId="478"/>
          <ac:spMkLst>
            <pc:docMk/>
            <pc:sldMk cId="1910982118" sldId="1584"/>
            <ac:spMk id="14" creationId="{4BF0F10C-8D3F-498A-A11E-26FA859FBC8F}"/>
          </ac:spMkLst>
        </pc:spChg>
        <pc:spChg chg="mod">
          <ac:chgData name="Bob Ward" userId="6da7c2dd-8e2e-469f-a216-c384312e2a2d" providerId="ADAL" clId="{CC07BEAC-85A7-44E0-BC28-578FC3DF3703}" dt="2019-01-21T15:01:09.173" v="116" actId="20577"/>
          <ac:spMkLst>
            <pc:docMk/>
            <pc:sldMk cId="1910982118" sldId="1584"/>
            <ac:spMk id="24" creationId="{88B9E8BC-0196-4072-AFFA-74AFB64859E6}"/>
          </ac:spMkLst>
        </pc:spChg>
        <pc:spChg chg="mod">
          <ac:chgData name="Bob Ward" userId="6da7c2dd-8e2e-469f-a216-c384312e2a2d" providerId="ADAL" clId="{CC07BEAC-85A7-44E0-BC28-578FC3DF3703}" dt="2019-01-21T14:59:37.177" v="30" actId="20577"/>
          <ac:spMkLst>
            <pc:docMk/>
            <pc:sldMk cId="1910982118" sldId="1584"/>
            <ac:spMk id="100" creationId="{00000000-0000-0000-0000-000000000000}"/>
          </ac:spMkLst>
        </pc:spChg>
        <pc:spChg chg="add mod">
          <ac:chgData name="Bob Ward" userId="6da7c2dd-8e2e-469f-a216-c384312e2a2d" providerId="ADAL" clId="{CC07BEAC-85A7-44E0-BC28-578FC3DF3703}" dt="2019-01-21T15:03:03.756" v="125" actId="1076"/>
          <ac:spMkLst>
            <pc:docMk/>
            <pc:sldMk cId="1910982118" sldId="1584"/>
            <ac:spMk id="164" creationId="{A0D216A3-5B5D-44C8-ADD7-162C93287159}"/>
          </ac:spMkLst>
        </pc:spChg>
        <pc:spChg chg="add mod">
          <ac:chgData name="Bob Ward" userId="6da7c2dd-8e2e-469f-a216-c384312e2a2d" providerId="ADAL" clId="{CC07BEAC-85A7-44E0-BC28-578FC3DF3703}" dt="2019-01-21T15:18:12.741" v="320" actId="1076"/>
          <ac:spMkLst>
            <pc:docMk/>
            <pc:sldMk cId="1910982118" sldId="1584"/>
            <ac:spMk id="166" creationId="{6836CDFD-0BF1-4C49-AD20-86BC6A3EA221}"/>
          </ac:spMkLst>
        </pc:spChg>
        <pc:spChg chg="add del mod">
          <ac:chgData name="Bob Ward" userId="6da7c2dd-8e2e-469f-a216-c384312e2a2d" providerId="ADAL" clId="{CC07BEAC-85A7-44E0-BC28-578FC3DF3703}" dt="2019-01-21T15:09:54.128" v="166" actId="478"/>
          <ac:spMkLst>
            <pc:docMk/>
            <pc:sldMk cId="1910982118" sldId="1584"/>
            <ac:spMk id="170" creationId="{5B566A5B-75BD-4B3B-AD2D-F0DA3D0D4C57}"/>
          </ac:spMkLst>
        </pc:spChg>
        <pc:spChg chg="add del mod">
          <ac:chgData name="Bob Ward" userId="6da7c2dd-8e2e-469f-a216-c384312e2a2d" providerId="ADAL" clId="{CC07BEAC-85A7-44E0-BC28-578FC3DF3703}" dt="2019-01-21T15:09:54.128" v="166" actId="478"/>
          <ac:spMkLst>
            <pc:docMk/>
            <pc:sldMk cId="1910982118" sldId="1584"/>
            <ac:spMk id="177" creationId="{511A1D24-A6BE-4331-89BE-D831416B7492}"/>
          </ac:spMkLst>
        </pc:spChg>
        <pc:spChg chg="add mod">
          <ac:chgData name="Bob Ward" userId="6da7c2dd-8e2e-469f-a216-c384312e2a2d" providerId="ADAL" clId="{CC07BEAC-85A7-44E0-BC28-578FC3DF3703}" dt="2019-01-21T15:11:13.380" v="198" actId="1076"/>
          <ac:spMkLst>
            <pc:docMk/>
            <pc:sldMk cId="1910982118" sldId="1584"/>
            <ac:spMk id="191" creationId="{D3B86823-9525-465C-8C8E-4F828F65B569}"/>
          </ac:spMkLst>
        </pc:spChg>
        <pc:spChg chg="add del mod">
          <ac:chgData name="Bob Ward" userId="6da7c2dd-8e2e-469f-a216-c384312e2a2d" providerId="ADAL" clId="{CC07BEAC-85A7-44E0-BC28-578FC3DF3703}" dt="2019-01-21T15:09:54.128" v="166" actId="478"/>
          <ac:spMkLst>
            <pc:docMk/>
            <pc:sldMk cId="1910982118" sldId="1584"/>
            <ac:spMk id="192" creationId="{E66A97BC-79FB-4A31-8E4D-52A332C9D454}"/>
          </ac:spMkLst>
        </pc:spChg>
        <pc:spChg chg="mod topLvl">
          <ac:chgData name="Bob Ward" userId="6da7c2dd-8e2e-469f-a216-c384312e2a2d" providerId="ADAL" clId="{CC07BEAC-85A7-44E0-BC28-578FC3DF3703}" dt="2019-01-21T15:12:17.744" v="202" actId="1076"/>
          <ac:spMkLst>
            <pc:docMk/>
            <pc:sldMk cId="1910982118" sldId="1584"/>
            <ac:spMk id="225" creationId="{4BB33C8A-4342-4DA4-A9B6-EDCDC0ACFFF4}"/>
          </ac:spMkLst>
        </pc:spChg>
        <pc:spChg chg="mod topLvl">
          <ac:chgData name="Bob Ward" userId="6da7c2dd-8e2e-469f-a216-c384312e2a2d" providerId="ADAL" clId="{CC07BEAC-85A7-44E0-BC28-578FC3DF3703}" dt="2019-01-21T15:16:24.237" v="258" actId="1076"/>
          <ac:spMkLst>
            <pc:docMk/>
            <pc:sldMk cId="1910982118" sldId="1584"/>
            <ac:spMk id="226" creationId="{DDE076D6-3A61-462B-8DD2-786AFC380478}"/>
          </ac:spMkLst>
        </pc:spChg>
        <pc:spChg chg="add mod">
          <ac:chgData name="Bob Ward" userId="6da7c2dd-8e2e-469f-a216-c384312e2a2d" providerId="ADAL" clId="{CC07BEAC-85A7-44E0-BC28-578FC3DF3703}" dt="2019-01-21T15:11:13.380" v="198" actId="1076"/>
          <ac:spMkLst>
            <pc:docMk/>
            <pc:sldMk cId="1910982118" sldId="1584"/>
            <ac:spMk id="230" creationId="{6D4C6F1E-DBD8-44D1-9A6D-16233B8CC810}"/>
          </ac:spMkLst>
        </pc:spChg>
        <pc:spChg chg="add mod">
          <ac:chgData name="Bob Ward" userId="6da7c2dd-8e2e-469f-a216-c384312e2a2d" providerId="ADAL" clId="{CC07BEAC-85A7-44E0-BC28-578FC3DF3703}" dt="2019-01-21T15:11:13.380" v="198" actId="1076"/>
          <ac:spMkLst>
            <pc:docMk/>
            <pc:sldMk cId="1910982118" sldId="1584"/>
            <ac:spMk id="232" creationId="{2169D1F6-0D80-46E9-A632-FBFDAD0BD39C}"/>
          </ac:spMkLst>
        </pc:spChg>
        <pc:spChg chg="add del mod">
          <ac:chgData name="Bob Ward" userId="6da7c2dd-8e2e-469f-a216-c384312e2a2d" providerId="ADAL" clId="{CC07BEAC-85A7-44E0-BC28-578FC3DF3703}" dt="2019-01-21T15:13:13.923" v="215" actId="478"/>
          <ac:spMkLst>
            <pc:docMk/>
            <pc:sldMk cId="1910982118" sldId="1584"/>
            <ac:spMk id="264" creationId="{F65DCAA6-2F19-46C0-B5FC-BE443452D561}"/>
          </ac:spMkLst>
        </pc:spChg>
        <pc:spChg chg="add del mod">
          <ac:chgData name="Bob Ward" userId="6da7c2dd-8e2e-469f-a216-c384312e2a2d" providerId="ADAL" clId="{CC07BEAC-85A7-44E0-BC28-578FC3DF3703}" dt="2019-01-21T15:13:07.708" v="213" actId="478"/>
          <ac:spMkLst>
            <pc:docMk/>
            <pc:sldMk cId="1910982118" sldId="1584"/>
            <ac:spMk id="265" creationId="{ECA731C6-4B99-4D4B-BBA0-141F7825C0CA}"/>
          </ac:spMkLst>
        </pc:spChg>
        <pc:spChg chg="add del mod">
          <ac:chgData name="Bob Ward" userId="6da7c2dd-8e2e-469f-a216-c384312e2a2d" providerId="ADAL" clId="{CC07BEAC-85A7-44E0-BC28-578FC3DF3703}" dt="2019-01-21T15:12:35.599" v="205" actId="478"/>
          <ac:spMkLst>
            <pc:docMk/>
            <pc:sldMk cId="1910982118" sldId="1584"/>
            <ac:spMk id="268" creationId="{32F353A6-42CC-48A6-844F-0AD5DE49F165}"/>
          </ac:spMkLst>
        </pc:spChg>
        <pc:spChg chg="del">
          <ac:chgData name="Bob Ward" userId="6da7c2dd-8e2e-469f-a216-c384312e2a2d" providerId="ADAL" clId="{CC07BEAC-85A7-44E0-BC28-578FC3DF3703}" dt="2019-01-21T15:13:04.008" v="212" actId="478"/>
          <ac:spMkLst>
            <pc:docMk/>
            <pc:sldMk cId="1910982118" sldId="1584"/>
            <ac:spMk id="281" creationId="{1F580BEA-5E09-4045-B192-3B2025F3F802}"/>
          </ac:spMkLst>
        </pc:spChg>
        <pc:spChg chg="mod topLvl">
          <ac:chgData name="Bob Ward" userId="6da7c2dd-8e2e-469f-a216-c384312e2a2d" providerId="ADAL" clId="{CC07BEAC-85A7-44E0-BC28-578FC3DF3703}" dt="2019-01-21T15:16:28.033" v="259" actId="1076"/>
          <ac:spMkLst>
            <pc:docMk/>
            <pc:sldMk cId="1910982118" sldId="1584"/>
            <ac:spMk id="282" creationId="{0CEF3163-1779-465A-BB4E-CF746963D8DA}"/>
          </ac:spMkLst>
        </pc:spChg>
        <pc:spChg chg="mod">
          <ac:chgData name="Bob Ward" userId="6da7c2dd-8e2e-469f-a216-c384312e2a2d" providerId="ADAL" clId="{CC07BEAC-85A7-44E0-BC28-578FC3DF3703}" dt="2019-01-21T15:14:24.399" v="229" actId="1076"/>
          <ac:spMkLst>
            <pc:docMk/>
            <pc:sldMk cId="1910982118" sldId="1584"/>
            <ac:spMk id="287" creationId="{F8F3F4DA-E4A1-4C96-BDDA-6CA01874AEFF}"/>
          </ac:spMkLst>
        </pc:spChg>
        <pc:spChg chg="add mod">
          <ac:chgData name="Bob Ward" userId="6da7c2dd-8e2e-469f-a216-c384312e2a2d" providerId="ADAL" clId="{CC07BEAC-85A7-44E0-BC28-578FC3DF3703}" dt="2019-01-21T15:18:18.203" v="321" actId="1076"/>
          <ac:spMkLst>
            <pc:docMk/>
            <pc:sldMk cId="1910982118" sldId="1584"/>
            <ac:spMk id="293" creationId="{9E7D10D8-BDE6-4ACF-8681-566C26D4171E}"/>
          </ac:spMkLst>
        </pc:spChg>
        <pc:spChg chg="add mod">
          <ac:chgData name="Bob Ward" userId="6da7c2dd-8e2e-469f-a216-c384312e2a2d" providerId="ADAL" clId="{CC07BEAC-85A7-44E0-BC28-578FC3DF3703}" dt="2019-01-21T15:17:39.308" v="315" actId="20577"/>
          <ac:spMkLst>
            <pc:docMk/>
            <pc:sldMk cId="1910982118" sldId="1584"/>
            <ac:spMk id="294" creationId="{E35D61BA-4886-49AF-A2B3-3A7E737A278D}"/>
          </ac:spMkLst>
        </pc:spChg>
        <pc:grpChg chg="del">
          <ac:chgData name="Bob Ward" userId="6da7c2dd-8e2e-469f-a216-c384312e2a2d" providerId="ADAL" clId="{CC07BEAC-85A7-44E0-BC28-578FC3DF3703}" dt="2019-01-21T15:10:50.824" v="195" actId="478"/>
          <ac:grpSpMkLst>
            <pc:docMk/>
            <pc:sldMk cId="1910982118" sldId="1584"/>
            <ac:grpSpMk id="2" creationId="{DA9DE99D-68AC-45AC-ABC9-61BCB6A4DC15}"/>
          </ac:grpSpMkLst>
        </pc:grpChg>
        <pc:grpChg chg="mod">
          <ac:chgData name="Bob Ward" userId="6da7c2dd-8e2e-469f-a216-c384312e2a2d" providerId="ADAL" clId="{CC07BEAC-85A7-44E0-BC28-578FC3DF3703}" dt="2019-01-21T15:10:13.347" v="168" actId="1076"/>
          <ac:grpSpMkLst>
            <pc:docMk/>
            <pc:sldMk cId="1910982118" sldId="1584"/>
            <ac:grpSpMk id="3" creationId="{FAC1151D-0DCE-4714-8951-2A494A078F5E}"/>
          </ac:grpSpMkLst>
        </pc:grpChg>
        <pc:grpChg chg="del">
          <ac:chgData name="Bob Ward" userId="6da7c2dd-8e2e-469f-a216-c384312e2a2d" providerId="ADAL" clId="{CC07BEAC-85A7-44E0-BC28-578FC3DF3703}" dt="2019-01-21T15:01:21.047" v="117" actId="478"/>
          <ac:grpSpMkLst>
            <pc:docMk/>
            <pc:sldMk cId="1910982118" sldId="1584"/>
            <ac:grpSpMk id="5" creationId="{656B246E-8FC6-422E-B30B-7E48D8D23E8E}"/>
          </ac:grpSpMkLst>
        </pc:grpChg>
        <pc:grpChg chg="del">
          <ac:chgData name="Bob Ward" userId="6da7c2dd-8e2e-469f-a216-c384312e2a2d" providerId="ADAL" clId="{CC07BEAC-85A7-44E0-BC28-578FC3DF3703}" dt="2019-01-21T15:10:50.824" v="195" actId="478"/>
          <ac:grpSpMkLst>
            <pc:docMk/>
            <pc:sldMk cId="1910982118" sldId="1584"/>
            <ac:grpSpMk id="11" creationId="{4A9E4BC2-1612-40F3-9A18-73CBB1269C03}"/>
          </ac:grpSpMkLst>
        </pc:grpChg>
        <pc:grpChg chg="mod topLvl">
          <ac:chgData name="Bob Ward" userId="6da7c2dd-8e2e-469f-a216-c384312e2a2d" providerId="ADAL" clId="{CC07BEAC-85A7-44E0-BC28-578FC3DF3703}" dt="2019-01-21T15:12:17.744" v="202" actId="1076"/>
          <ac:grpSpMkLst>
            <pc:docMk/>
            <pc:sldMk cId="1910982118" sldId="1584"/>
            <ac:grpSpMk id="119" creationId="{87D03AEF-D5C8-45FD-816A-277DB883901B}"/>
          </ac:grpSpMkLst>
        </pc:grpChg>
        <pc:grpChg chg="add del">
          <ac:chgData name="Bob Ward" userId="6da7c2dd-8e2e-469f-a216-c384312e2a2d" providerId="ADAL" clId="{CC07BEAC-85A7-44E0-BC28-578FC3DF3703}" dt="2019-01-21T15:02:52.033" v="123"/>
          <ac:grpSpMkLst>
            <pc:docMk/>
            <pc:sldMk cId="1910982118" sldId="1584"/>
            <ac:grpSpMk id="145" creationId="{CFD3A18F-13FE-4293-9C9B-A35A92E80C55}"/>
          </ac:grpSpMkLst>
        </pc:grpChg>
        <pc:grpChg chg="add mod">
          <ac:chgData name="Bob Ward" userId="6da7c2dd-8e2e-469f-a216-c384312e2a2d" providerId="ADAL" clId="{CC07BEAC-85A7-44E0-BC28-578FC3DF3703}" dt="2019-01-21T15:03:03.756" v="125" actId="1076"/>
          <ac:grpSpMkLst>
            <pc:docMk/>
            <pc:sldMk cId="1910982118" sldId="1584"/>
            <ac:grpSpMk id="154" creationId="{CBBD72D2-4E86-4C5D-9A9D-58D71900A18D}"/>
          </ac:grpSpMkLst>
        </pc:grpChg>
        <pc:grpChg chg="add mod">
          <ac:chgData name="Bob Ward" userId="6da7c2dd-8e2e-469f-a216-c384312e2a2d" providerId="ADAL" clId="{CC07BEAC-85A7-44E0-BC28-578FC3DF3703}" dt="2019-01-21T15:11:13.380" v="198" actId="1076"/>
          <ac:grpSpMkLst>
            <pc:docMk/>
            <pc:sldMk cId="1910982118" sldId="1584"/>
            <ac:grpSpMk id="178" creationId="{20B7AB61-2A62-4244-A478-44D22F13E6B0}"/>
          </ac:grpSpMkLst>
        </pc:grpChg>
        <pc:grpChg chg="add del mod">
          <ac:chgData name="Bob Ward" userId="6da7c2dd-8e2e-469f-a216-c384312e2a2d" providerId="ADAL" clId="{CC07BEAC-85A7-44E0-BC28-578FC3DF3703}" dt="2019-01-21T15:09:54.128" v="166" actId="478"/>
          <ac:grpSpMkLst>
            <pc:docMk/>
            <pc:sldMk cId="1910982118" sldId="1584"/>
            <ac:grpSpMk id="193" creationId="{B73559AF-6B2C-480A-B5BC-7E388934784B}"/>
          </ac:grpSpMkLst>
        </pc:grpChg>
        <pc:grpChg chg="add mod">
          <ac:chgData name="Bob Ward" userId="6da7c2dd-8e2e-469f-a216-c384312e2a2d" providerId="ADAL" clId="{CC07BEAC-85A7-44E0-BC28-578FC3DF3703}" dt="2019-01-21T15:11:13.380" v="198" actId="1076"/>
          <ac:grpSpMkLst>
            <pc:docMk/>
            <pc:sldMk cId="1910982118" sldId="1584"/>
            <ac:grpSpMk id="202" creationId="{04E50A7C-D640-4E01-9EC9-C3BD2AD7A42D}"/>
          </ac:grpSpMkLst>
        </pc:grpChg>
        <pc:grpChg chg="add del mod">
          <ac:chgData name="Bob Ward" userId="6da7c2dd-8e2e-469f-a216-c384312e2a2d" providerId="ADAL" clId="{CC07BEAC-85A7-44E0-BC28-578FC3DF3703}" dt="2019-01-21T15:09:54.128" v="166" actId="478"/>
          <ac:grpSpMkLst>
            <pc:docMk/>
            <pc:sldMk cId="1910982118" sldId="1584"/>
            <ac:grpSpMk id="220" creationId="{080AF6D1-63BD-4A9C-9436-0AF232F41E6A}"/>
          </ac:grpSpMkLst>
        </pc:grpChg>
        <pc:grpChg chg="del mod">
          <ac:chgData name="Bob Ward" userId="6da7c2dd-8e2e-469f-a216-c384312e2a2d" providerId="ADAL" clId="{CC07BEAC-85A7-44E0-BC28-578FC3DF3703}" dt="2019-01-21T15:00:30.576" v="88" actId="165"/>
          <ac:grpSpMkLst>
            <pc:docMk/>
            <pc:sldMk cId="1910982118" sldId="1584"/>
            <ac:grpSpMk id="227" creationId="{6EC68BB1-F03B-4EE0-B979-A115A8B3F54D}"/>
          </ac:grpSpMkLst>
        </pc:grpChg>
        <pc:grpChg chg="del">
          <ac:chgData name="Bob Ward" userId="6da7c2dd-8e2e-469f-a216-c384312e2a2d" providerId="ADAL" clId="{CC07BEAC-85A7-44E0-BC28-578FC3DF3703}" dt="2019-01-21T15:11:00.321" v="196" actId="478"/>
          <ac:grpSpMkLst>
            <pc:docMk/>
            <pc:sldMk cId="1910982118" sldId="1584"/>
            <ac:grpSpMk id="228" creationId="{D754799D-B101-4F45-903F-E5BFAFCF8DB6}"/>
          </ac:grpSpMkLst>
        </pc:grpChg>
        <pc:grpChg chg="del">
          <ac:chgData name="Bob Ward" userId="6da7c2dd-8e2e-469f-a216-c384312e2a2d" providerId="ADAL" clId="{CC07BEAC-85A7-44E0-BC28-578FC3DF3703}" dt="2019-01-21T15:01:24.842" v="118" actId="478"/>
          <ac:grpSpMkLst>
            <pc:docMk/>
            <pc:sldMk cId="1910982118" sldId="1584"/>
            <ac:grpSpMk id="229" creationId="{09FBDECD-0AD0-4747-8D8D-41AB39177BC5}"/>
          </ac:grpSpMkLst>
        </pc:grpChg>
        <pc:grpChg chg="del">
          <ac:chgData name="Bob Ward" userId="6da7c2dd-8e2e-469f-a216-c384312e2a2d" providerId="ADAL" clId="{CC07BEAC-85A7-44E0-BC28-578FC3DF3703}" dt="2019-01-21T15:02:04.595" v="119" actId="478"/>
          <ac:grpSpMkLst>
            <pc:docMk/>
            <pc:sldMk cId="1910982118" sldId="1584"/>
            <ac:grpSpMk id="231" creationId="{6E2EEB93-DD25-45F0-9A11-DB55F996361E}"/>
          </ac:grpSpMkLst>
        </pc:grpChg>
        <pc:grpChg chg="add mod">
          <ac:chgData name="Bob Ward" userId="6da7c2dd-8e2e-469f-a216-c384312e2a2d" providerId="ADAL" clId="{CC07BEAC-85A7-44E0-BC28-578FC3DF3703}" dt="2019-01-21T15:11:13.380" v="198" actId="1076"/>
          <ac:grpSpMkLst>
            <pc:docMk/>
            <pc:sldMk cId="1910982118" sldId="1584"/>
            <ac:grpSpMk id="233" creationId="{EF00EEBA-9223-4220-883E-84EBCA437C0E}"/>
          </ac:grpSpMkLst>
        </pc:grpChg>
        <pc:grpChg chg="add mod">
          <ac:chgData name="Bob Ward" userId="6da7c2dd-8e2e-469f-a216-c384312e2a2d" providerId="ADAL" clId="{CC07BEAC-85A7-44E0-BC28-578FC3DF3703}" dt="2019-01-21T15:11:13.380" v="198" actId="1076"/>
          <ac:grpSpMkLst>
            <pc:docMk/>
            <pc:sldMk cId="1910982118" sldId="1584"/>
            <ac:grpSpMk id="241" creationId="{71E2DED2-0AD5-41D8-8D03-12D879A36BCB}"/>
          </ac:grpSpMkLst>
        </pc:grpChg>
        <pc:grpChg chg="add del mod">
          <ac:chgData name="Bob Ward" userId="6da7c2dd-8e2e-469f-a216-c384312e2a2d" providerId="ADAL" clId="{CC07BEAC-85A7-44E0-BC28-578FC3DF3703}" dt="2019-01-21T15:09:54.128" v="166" actId="478"/>
          <ac:grpSpMkLst>
            <pc:docMk/>
            <pc:sldMk cId="1910982118" sldId="1584"/>
            <ac:grpSpMk id="244" creationId="{499734DF-CF10-4264-A8C1-B72735E724B4}"/>
          </ac:grpSpMkLst>
        </pc:grpChg>
        <pc:grpChg chg="add mod">
          <ac:chgData name="Bob Ward" userId="6da7c2dd-8e2e-469f-a216-c384312e2a2d" providerId="ADAL" clId="{CC07BEAC-85A7-44E0-BC28-578FC3DF3703}" dt="2019-01-21T15:11:13.380" v="198" actId="1076"/>
          <ac:grpSpMkLst>
            <pc:docMk/>
            <pc:sldMk cId="1910982118" sldId="1584"/>
            <ac:grpSpMk id="252" creationId="{425C1251-A766-4D43-9ED5-A77EC634CF34}"/>
          </ac:grpSpMkLst>
        </pc:grpChg>
        <pc:grpChg chg="add del mod">
          <ac:chgData name="Bob Ward" userId="6da7c2dd-8e2e-469f-a216-c384312e2a2d" providerId="ADAL" clId="{CC07BEAC-85A7-44E0-BC28-578FC3DF3703}" dt="2019-01-21T15:09:54.128" v="166" actId="478"/>
          <ac:grpSpMkLst>
            <pc:docMk/>
            <pc:sldMk cId="1910982118" sldId="1584"/>
            <ac:grpSpMk id="255" creationId="{A03FE705-21E1-4985-B6CB-AD3C05D29A05}"/>
          </ac:grpSpMkLst>
        </pc:grpChg>
        <pc:grpChg chg="add mod">
          <ac:chgData name="Bob Ward" userId="6da7c2dd-8e2e-469f-a216-c384312e2a2d" providerId="ADAL" clId="{CC07BEAC-85A7-44E0-BC28-578FC3DF3703}" dt="2019-01-21T15:11:13.380" v="198" actId="1076"/>
          <ac:grpSpMkLst>
            <pc:docMk/>
            <pc:sldMk cId="1910982118" sldId="1584"/>
            <ac:grpSpMk id="258" creationId="{14A0319D-FF3C-4D82-AF9B-C10EDD9A4CB1}"/>
          </ac:grpSpMkLst>
        </pc:grpChg>
        <pc:grpChg chg="add mod">
          <ac:chgData name="Bob Ward" userId="6da7c2dd-8e2e-469f-a216-c384312e2a2d" providerId="ADAL" clId="{CC07BEAC-85A7-44E0-BC28-578FC3DF3703}" dt="2019-01-21T15:11:13.380" v="198" actId="1076"/>
          <ac:grpSpMkLst>
            <pc:docMk/>
            <pc:sldMk cId="1910982118" sldId="1584"/>
            <ac:grpSpMk id="261" creationId="{3A2D76A4-36CE-4E57-8834-C70B8089FCD7}"/>
          </ac:grpSpMkLst>
        </pc:grpChg>
        <pc:grpChg chg="add mod">
          <ac:chgData name="Bob Ward" userId="6da7c2dd-8e2e-469f-a216-c384312e2a2d" providerId="ADAL" clId="{CC07BEAC-85A7-44E0-BC28-578FC3DF3703}" dt="2019-01-21T15:16:10.551" v="254" actId="1076"/>
          <ac:grpSpMkLst>
            <pc:docMk/>
            <pc:sldMk cId="1910982118" sldId="1584"/>
            <ac:grpSpMk id="270" creationId="{14BCED22-77DD-4055-9FE4-E8313124FDCE}"/>
          </ac:grpSpMkLst>
        </pc:grpChg>
        <pc:grpChg chg="add del mod">
          <ac:chgData name="Bob Ward" userId="6da7c2dd-8e2e-469f-a216-c384312e2a2d" providerId="ADAL" clId="{CC07BEAC-85A7-44E0-BC28-578FC3DF3703}" dt="2019-01-21T15:14:31.727" v="230" actId="165"/>
          <ac:grpSpMkLst>
            <pc:docMk/>
            <pc:sldMk cId="1910982118" sldId="1584"/>
            <ac:grpSpMk id="280" creationId="{61C66C04-5F6B-4110-8361-D1B2285003F2}"/>
          </ac:grpSpMkLst>
        </pc:grpChg>
        <pc:grpChg chg="mod topLvl">
          <ac:chgData name="Bob Ward" userId="6da7c2dd-8e2e-469f-a216-c384312e2a2d" providerId="ADAL" clId="{CC07BEAC-85A7-44E0-BC28-578FC3DF3703}" dt="2019-01-21T15:16:18.073" v="256" actId="1076"/>
          <ac:grpSpMkLst>
            <pc:docMk/>
            <pc:sldMk cId="1910982118" sldId="1584"/>
            <ac:grpSpMk id="283" creationId="{30139975-B5EA-4070-A5EF-CE9D7053DE68}"/>
          </ac:grpSpMkLst>
        </pc:grpChg>
        <pc:grpChg chg="mod topLvl">
          <ac:chgData name="Bob Ward" userId="6da7c2dd-8e2e-469f-a216-c384312e2a2d" providerId="ADAL" clId="{CC07BEAC-85A7-44E0-BC28-578FC3DF3703}" dt="2019-01-21T15:16:14.413" v="255" actId="1076"/>
          <ac:grpSpMkLst>
            <pc:docMk/>
            <pc:sldMk cId="1910982118" sldId="1584"/>
            <ac:grpSpMk id="284" creationId="{A486A3AB-4E4B-4DBC-906F-4543C02F043E}"/>
          </ac:grpSpMkLst>
        </pc:grpChg>
        <pc:grpChg chg="add mod">
          <ac:chgData name="Bob Ward" userId="6da7c2dd-8e2e-469f-a216-c384312e2a2d" providerId="ADAL" clId="{CC07BEAC-85A7-44E0-BC28-578FC3DF3703}" dt="2019-01-21T15:16:10.551" v="254" actId="1076"/>
          <ac:grpSpMkLst>
            <pc:docMk/>
            <pc:sldMk cId="1910982118" sldId="1584"/>
            <ac:grpSpMk id="289" creationId="{CEEE47AD-6094-4781-A110-2DCC62A3F819}"/>
          </ac:grpSpMkLst>
        </pc:grpChg>
        <pc:picChg chg="add mod">
          <ac:chgData name="Bob Ward" userId="6da7c2dd-8e2e-469f-a216-c384312e2a2d" providerId="ADAL" clId="{CC07BEAC-85A7-44E0-BC28-578FC3DF3703}" dt="2019-01-21T15:12:17.744" v="202" actId="1076"/>
          <ac:picMkLst>
            <pc:docMk/>
            <pc:sldMk cId="1910982118" sldId="1584"/>
            <ac:picMk id="118" creationId="{AA1EF8F0-5783-4163-AAD7-6A3128165E55}"/>
          </ac:picMkLst>
        </pc:picChg>
        <pc:picChg chg="add mod">
          <ac:chgData name="Bob Ward" userId="6da7c2dd-8e2e-469f-a216-c384312e2a2d" providerId="ADAL" clId="{CC07BEAC-85A7-44E0-BC28-578FC3DF3703}" dt="2019-01-21T15:08:41.638" v="159" actId="1076"/>
          <ac:picMkLst>
            <pc:docMk/>
            <pc:sldMk cId="1910982118" sldId="1584"/>
            <ac:picMk id="165" creationId="{27515EC2-4DC4-469A-94A2-028082BFFB49}"/>
          </ac:picMkLst>
        </pc:picChg>
        <pc:picChg chg="add mod">
          <ac:chgData name="Bob Ward" userId="6da7c2dd-8e2e-469f-a216-c384312e2a2d" providerId="ADAL" clId="{CC07BEAC-85A7-44E0-BC28-578FC3DF3703}" dt="2019-01-21T15:07:37.038" v="153" actId="207"/>
          <ac:picMkLst>
            <pc:docMk/>
            <pc:sldMk cId="1910982118" sldId="1584"/>
            <ac:picMk id="167" creationId="{EEFA9035-4927-4663-981F-FD3CAA808AC3}"/>
          </ac:picMkLst>
        </pc:picChg>
        <pc:picChg chg="add mod">
          <ac:chgData name="Bob Ward" userId="6da7c2dd-8e2e-469f-a216-c384312e2a2d" providerId="ADAL" clId="{CC07BEAC-85A7-44E0-BC28-578FC3DF3703}" dt="2019-01-21T15:07:21.740" v="151" actId="1076"/>
          <ac:picMkLst>
            <pc:docMk/>
            <pc:sldMk cId="1910982118" sldId="1584"/>
            <ac:picMk id="168" creationId="{A6BC77A6-8FA8-4023-BAFD-B7A18BD41DD2}"/>
          </ac:picMkLst>
        </pc:picChg>
        <pc:picChg chg="add mod">
          <ac:chgData name="Bob Ward" userId="6da7c2dd-8e2e-469f-a216-c384312e2a2d" providerId="ADAL" clId="{CC07BEAC-85A7-44E0-BC28-578FC3DF3703}" dt="2019-01-21T15:07:26.232" v="152" actId="1076"/>
          <ac:picMkLst>
            <pc:docMk/>
            <pc:sldMk cId="1910982118" sldId="1584"/>
            <ac:picMk id="169" creationId="{4442BFA5-C92F-4016-8C67-CCC474BCAB0D}"/>
          </ac:picMkLst>
        </pc:picChg>
        <pc:picChg chg="mod">
          <ac:chgData name="Bob Ward" userId="6da7c2dd-8e2e-469f-a216-c384312e2a2d" providerId="ADAL" clId="{CC07BEAC-85A7-44E0-BC28-578FC3DF3703}" dt="2019-01-21T15:14:23.132" v="228" actId="1076"/>
          <ac:picMkLst>
            <pc:docMk/>
            <pc:sldMk cId="1910982118" sldId="1584"/>
            <ac:picMk id="285" creationId="{F377FC5B-6C1E-448C-8F1D-48610C465834}"/>
          </ac:picMkLst>
        </pc:picChg>
        <pc:picChg chg="add mod">
          <ac:chgData name="Bob Ward" userId="6da7c2dd-8e2e-469f-a216-c384312e2a2d" providerId="ADAL" clId="{CC07BEAC-85A7-44E0-BC28-578FC3DF3703}" dt="2019-01-21T15:17:55.611" v="318" actId="1076"/>
          <ac:picMkLst>
            <pc:docMk/>
            <pc:sldMk cId="1910982118" sldId="1584"/>
            <ac:picMk id="295" creationId="{8D27E2C8-EE1B-44CA-8D0B-B879C104657C}"/>
          </ac:picMkLst>
        </pc:picChg>
        <pc:picChg chg="add del">
          <ac:chgData name="Bob Ward" userId="6da7c2dd-8e2e-469f-a216-c384312e2a2d" providerId="ADAL" clId="{CC07BEAC-85A7-44E0-BC28-578FC3DF3703}" dt="2019-01-21T15:04:32.116" v="127"/>
          <ac:picMkLst>
            <pc:docMk/>
            <pc:sldMk cId="1910982118" sldId="1584"/>
            <ac:picMk id="1026" creationId="{148BE5BB-67B5-46EF-89A2-16968E5EE3D6}"/>
          </ac:picMkLst>
        </pc:picChg>
        <pc:picChg chg="add del">
          <ac:chgData name="Bob Ward" userId="6da7c2dd-8e2e-469f-a216-c384312e2a2d" providerId="ADAL" clId="{CC07BEAC-85A7-44E0-BC28-578FC3DF3703}" dt="2019-01-21T15:05:08.669" v="131"/>
          <ac:picMkLst>
            <pc:docMk/>
            <pc:sldMk cId="1910982118" sldId="1584"/>
            <ac:picMk id="1028" creationId="{E71A82E0-999B-4329-AB0C-BC0E13E28904}"/>
          </ac:picMkLst>
        </pc:picChg>
        <pc:picChg chg="add del">
          <ac:chgData name="Bob Ward" userId="6da7c2dd-8e2e-469f-a216-c384312e2a2d" providerId="ADAL" clId="{CC07BEAC-85A7-44E0-BC28-578FC3DF3703}" dt="2019-01-21T15:05:08.169" v="130"/>
          <ac:picMkLst>
            <pc:docMk/>
            <pc:sldMk cId="1910982118" sldId="1584"/>
            <ac:picMk id="1030" creationId="{BC780E68-97BD-4E26-B665-500174C8A772}"/>
          </ac:picMkLst>
        </pc:picChg>
        <pc:picChg chg="add mod">
          <ac:chgData name="Bob Ward" userId="6da7c2dd-8e2e-469f-a216-c384312e2a2d" providerId="ADAL" clId="{CC07BEAC-85A7-44E0-BC28-578FC3DF3703}" dt="2019-01-21T15:18:05.686" v="319" actId="1076"/>
          <ac:picMkLst>
            <pc:docMk/>
            <pc:sldMk cId="1910982118" sldId="1584"/>
            <ac:picMk id="1032" creationId="{8A6AD905-B31F-4CCB-BA7E-D140AE334BD7}"/>
          </ac:picMkLst>
        </pc:picChg>
        <pc:cxnChg chg="add del mod">
          <ac:chgData name="Bob Ward" userId="6da7c2dd-8e2e-469f-a216-c384312e2a2d" providerId="ADAL" clId="{CC07BEAC-85A7-44E0-BC28-578FC3DF3703}" dt="2019-01-21T15:09:54.128" v="166" actId="478"/>
          <ac:cxnSpMkLst>
            <pc:docMk/>
            <pc:sldMk cId="1910982118" sldId="1584"/>
            <ac:cxnSpMk id="174" creationId="{4E6A8A8D-1C10-402C-B044-F46BA66903BB}"/>
          </ac:cxnSpMkLst>
        </pc:cxnChg>
        <pc:cxnChg chg="add del mod">
          <ac:chgData name="Bob Ward" userId="6da7c2dd-8e2e-469f-a216-c384312e2a2d" providerId="ADAL" clId="{CC07BEAC-85A7-44E0-BC28-578FC3DF3703}" dt="2019-01-21T15:09:54.128" v="166" actId="478"/>
          <ac:cxnSpMkLst>
            <pc:docMk/>
            <pc:sldMk cId="1910982118" sldId="1584"/>
            <ac:cxnSpMk id="176" creationId="{D179ACD3-296E-4A79-AABF-804094238478}"/>
          </ac:cxnSpMkLst>
        </pc:cxnChg>
        <pc:cxnChg chg="mod">
          <ac:chgData name="Bob Ward" userId="6da7c2dd-8e2e-469f-a216-c384312e2a2d" providerId="ADAL" clId="{CC07BEAC-85A7-44E0-BC28-578FC3DF3703}" dt="2019-01-21T15:01:24.842" v="118" actId="478"/>
          <ac:cxnSpMkLst>
            <pc:docMk/>
            <pc:sldMk cId="1910982118" sldId="1584"/>
            <ac:cxnSpMk id="207" creationId="{AB844615-0B37-4D61-B5CB-625EF7965ADC}"/>
          </ac:cxnSpMkLst>
        </pc:cxnChg>
        <pc:cxnChg chg="mod">
          <ac:chgData name="Bob Ward" userId="6da7c2dd-8e2e-469f-a216-c384312e2a2d" providerId="ADAL" clId="{CC07BEAC-85A7-44E0-BC28-578FC3DF3703}" dt="2019-01-21T15:01:24.842" v="118" actId="478"/>
          <ac:cxnSpMkLst>
            <pc:docMk/>
            <pc:sldMk cId="1910982118" sldId="1584"/>
            <ac:cxnSpMk id="208" creationId="{F9B89DC8-AA26-4FBA-8A35-A21DBD829B34}"/>
          </ac:cxnSpMkLst>
        </pc:cxnChg>
        <pc:cxnChg chg="mod">
          <ac:chgData name="Bob Ward" userId="6da7c2dd-8e2e-469f-a216-c384312e2a2d" providerId="ADAL" clId="{CC07BEAC-85A7-44E0-BC28-578FC3DF3703}" dt="2019-01-21T15:01:24.842" v="118" actId="478"/>
          <ac:cxnSpMkLst>
            <pc:docMk/>
            <pc:sldMk cId="1910982118" sldId="1584"/>
            <ac:cxnSpMk id="209" creationId="{B0CF9C71-A573-40C5-AEFB-20310E4F4656}"/>
          </ac:cxnSpMkLst>
        </pc:cxnChg>
        <pc:cxnChg chg="add mod">
          <ac:chgData name="Bob Ward" userId="6da7c2dd-8e2e-469f-a216-c384312e2a2d" providerId="ADAL" clId="{CC07BEAC-85A7-44E0-BC28-578FC3DF3703}" dt="2019-01-21T15:16:10.551" v="254" actId="1076"/>
          <ac:cxnSpMkLst>
            <pc:docMk/>
            <pc:sldMk cId="1910982118" sldId="1584"/>
            <ac:cxnSpMk id="266" creationId="{B0272137-0FAF-4506-8A52-9FEC9234C6D1}"/>
          </ac:cxnSpMkLst>
        </pc:cxnChg>
        <pc:cxnChg chg="add del mod">
          <ac:chgData name="Bob Ward" userId="6da7c2dd-8e2e-469f-a216-c384312e2a2d" providerId="ADAL" clId="{CC07BEAC-85A7-44E0-BC28-578FC3DF3703}" dt="2019-01-21T15:14:08.827" v="224" actId="478"/>
          <ac:cxnSpMkLst>
            <pc:docMk/>
            <pc:sldMk cId="1910982118" sldId="1584"/>
            <ac:cxnSpMk id="267" creationId="{8B876BE4-5EB7-41B9-BF05-FD6CEE36F39B}"/>
          </ac:cxnSpMkLst>
        </pc:cxnChg>
        <pc:cxnChg chg="add mod">
          <ac:chgData name="Bob Ward" userId="6da7c2dd-8e2e-469f-a216-c384312e2a2d" providerId="ADAL" clId="{CC07BEAC-85A7-44E0-BC28-578FC3DF3703}" dt="2019-01-21T15:16:10.551" v="254" actId="1076"/>
          <ac:cxnSpMkLst>
            <pc:docMk/>
            <pc:sldMk cId="1910982118" sldId="1584"/>
            <ac:cxnSpMk id="269" creationId="{0BDD1717-6377-46DB-9AB3-BBD6A78FB561}"/>
          </ac:cxnSpMkLst>
        </pc:cxnChg>
        <pc:cxnChg chg="add mod">
          <ac:chgData name="Bob Ward" userId="6da7c2dd-8e2e-469f-a216-c384312e2a2d" providerId="ADAL" clId="{CC07BEAC-85A7-44E0-BC28-578FC3DF3703}" dt="2019-01-21T15:16:10.551" v="254" actId="1076"/>
          <ac:cxnSpMkLst>
            <pc:docMk/>
            <pc:sldMk cId="1910982118" sldId="1584"/>
            <ac:cxnSpMk id="292" creationId="{9F5D0633-94CD-425D-85F0-F75677281ABA}"/>
          </ac:cxnSpMkLst>
        </pc:cxnChg>
      </pc:sldChg>
      <pc:sldChg chg="add del">
        <pc:chgData name="Bob Ward" userId="6da7c2dd-8e2e-469f-a216-c384312e2a2d" providerId="ADAL" clId="{CC07BEAC-85A7-44E0-BC28-578FC3DF3703}" dt="2019-02-21T03:29:04.028" v="14286" actId="2696"/>
        <pc:sldMkLst>
          <pc:docMk/>
          <pc:sldMk cId="439384863" sldId="1585"/>
        </pc:sldMkLst>
      </pc:sldChg>
      <pc:sldChg chg="add del">
        <pc:chgData name="Bob Ward" userId="6da7c2dd-8e2e-469f-a216-c384312e2a2d" providerId="ADAL" clId="{CC07BEAC-85A7-44E0-BC28-578FC3DF3703}" dt="2019-02-21T03:29:54.013" v="14289" actId="2696"/>
        <pc:sldMkLst>
          <pc:docMk/>
          <pc:sldMk cId="1875498749" sldId="1593"/>
        </pc:sldMkLst>
      </pc:sldChg>
      <pc:sldChg chg="modSp add modNotesTx">
        <pc:chgData name="Bob Ward" userId="6da7c2dd-8e2e-469f-a216-c384312e2a2d" providerId="ADAL" clId="{CC07BEAC-85A7-44E0-BC28-578FC3DF3703}" dt="2019-02-21T12:38:19.986" v="15693" actId="6549"/>
        <pc:sldMkLst>
          <pc:docMk/>
          <pc:sldMk cId="1068387730" sldId="1833"/>
        </pc:sldMkLst>
        <pc:spChg chg="mod">
          <ac:chgData name="Bob Ward" userId="6da7c2dd-8e2e-469f-a216-c384312e2a2d" providerId="ADAL" clId="{CC07BEAC-85A7-44E0-BC28-578FC3DF3703}" dt="2019-02-14T00:10:35.224" v="5973" actId="6549"/>
          <ac:spMkLst>
            <pc:docMk/>
            <pc:sldMk cId="1068387730" sldId="1833"/>
            <ac:spMk id="11" creationId="{14CFCC36-BE54-C64C-86C7-489C37867EDD}"/>
          </ac:spMkLst>
        </pc:spChg>
      </pc:sldChg>
      <pc:sldChg chg="addSp modSp add">
        <pc:chgData name="Bob Ward" userId="6da7c2dd-8e2e-469f-a216-c384312e2a2d" providerId="ADAL" clId="{CC07BEAC-85A7-44E0-BC28-578FC3DF3703}" dt="2019-02-21T03:29:00.554" v="14285" actId="1076"/>
        <pc:sldMkLst>
          <pc:docMk/>
          <pc:sldMk cId="1001243174" sldId="1834"/>
        </pc:sldMkLst>
        <pc:spChg chg="mod">
          <ac:chgData name="Bob Ward" userId="6da7c2dd-8e2e-469f-a216-c384312e2a2d" providerId="ADAL" clId="{CC07BEAC-85A7-44E0-BC28-578FC3DF3703}" dt="2019-02-21T03:28:37.049" v="14280" actId="1076"/>
          <ac:spMkLst>
            <pc:docMk/>
            <pc:sldMk cId="1001243174" sldId="1834"/>
            <ac:spMk id="15" creationId="{00000000-0000-0000-0000-000000000000}"/>
          </ac:spMkLst>
        </pc:spChg>
        <pc:spChg chg="mod">
          <ac:chgData name="Bob Ward" userId="6da7c2dd-8e2e-469f-a216-c384312e2a2d" providerId="ADAL" clId="{CC07BEAC-85A7-44E0-BC28-578FC3DF3703}" dt="2019-02-21T03:28:54.809" v="14284" actId="1076"/>
          <ac:spMkLst>
            <pc:docMk/>
            <pc:sldMk cId="1001243174" sldId="1834"/>
            <ac:spMk id="17" creationId="{00000000-0000-0000-0000-000000000000}"/>
          </ac:spMkLst>
        </pc:spChg>
        <pc:grpChg chg="add mod">
          <ac:chgData name="Bob Ward" userId="6da7c2dd-8e2e-469f-a216-c384312e2a2d" providerId="ADAL" clId="{CC07BEAC-85A7-44E0-BC28-578FC3DF3703}" dt="2019-02-21T03:29:00.554" v="14285" actId="1076"/>
          <ac:grpSpMkLst>
            <pc:docMk/>
            <pc:sldMk cId="1001243174" sldId="1834"/>
            <ac:grpSpMk id="65" creationId="{84A5F6C9-7A8A-45CE-90A6-D26A6F4C658B}"/>
          </ac:grpSpMkLst>
        </pc:grpChg>
        <pc:grpChg chg="mod">
          <ac:chgData name="Bob Ward" userId="6da7c2dd-8e2e-469f-a216-c384312e2a2d" providerId="ADAL" clId="{CC07BEAC-85A7-44E0-BC28-578FC3DF3703}" dt="2019-02-21T03:28:51.471" v="14283" actId="1076"/>
          <ac:grpSpMkLst>
            <pc:docMk/>
            <pc:sldMk cId="1001243174" sldId="1834"/>
            <ac:grpSpMk id="92" creationId="{00000000-0000-0000-0000-000000000000}"/>
          </ac:grpSpMkLst>
        </pc:grpChg>
      </pc:sldChg>
      <pc:sldChg chg="modSp add">
        <pc:chgData name="Bob Ward" userId="6da7c2dd-8e2e-469f-a216-c384312e2a2d" providerId="ADAL" clId="{CC07BEAC-85A7-44E0-BC28-578FC3DF3703}" dt="2019-02-21T03:30:17.989" v="14291"/>
        <pc:sldMkLst>
          <pc:docMk/>
          <pc:sldMk cId="492495605" sldId="1839"/>
        </pc:sldMkLst>
        <pc:spChg chg="mod">
          <ac:chgData name="Bob Ward" userId="6da7c2dd-8e2e-469f-a216-c384312e2a2d" providerId="ADAL" clId="{CC07BEAC-85A7-44E0-BC28-578FC3DF3703}" dt="2019-02-21T03:30:17.989" v="14291"/>
          <ac:spMkLst>
            <pc:docMk/>
            <pc:sldMk cId="492495605" sldId="1839"/>
            <ac:spMk id="15" creationId="{00000000-0000-0000-0000-000000000000}"/>
          </ac:spMkLst>
        </pc:spChg>
      </pc:sldChg>
      <pc:sldChg chg="add">
        <pc:chgData name="Bob Ward" userId="6da7c2dd-8e2e-469f-a216-c384312e2a2d" providerId="ADAL" clId="{CC07BEAC-85A7-44E0-BC28-578FC3DF3703}" dt="2019-02-20T17:18:49.022" v="9929"/>
        <pc:sldMkLst>
          <pc:docMk/>
          <pc:sldMk cId="1542885108" sldId="1850"/>
        </pc:sldMkLst>
      </pc:sldChg>
      <pc:sldChg chg="add del modNotesTx">
        <pc:chgData name="Bob Ward" userId="6da7c2dd-8e2e-469f-a216-c384312e2a2d" providerId="ADAL" clId="{CC07BEAC-85A7-44E0-BC28-578FC3DF3703}" dt="2019-02-19T20:54:23.735" v="6375" actId="6549"/>
        <pc:sldMkLst>
          <pc:docMk/>
          <pc:sldMk cId="3043429950" sldId="1860"/>
        </pc:sldMkLst>
      </pc:sldChg>
      <pc:sldChg chg="modSp add del">
        <pc:chgData name="Bob Ward" userId="6da7c2dd-8e2e-469f-a216-c384312e2a2d" providerId="ADAL" clId="{CC07BEAC-85A7-44E0-BC28-578FC3DF3703}" dt="2019-02-21T14:37:55.467" v="15753" actId="20577"/>
        <pc:sldMkLst>
          <pc:docMk/>
          <pc:sldMk cId="1869999325" sldId="1861"/>
        </pc:sldMkLst>
        <pc:spChg chg="mod">
          <ac:chgData name="Bob Ward" userId="6da7c2dd-8e2e-469f-a216-c384312e2a2d" providerId="ADAL" clId="{CC07BEAC-85A7-44E0-BC28-578FC3DF3703}" dt="2019-02-21T14:37:55.467" v="15753" actId="20577"/>
          <ac:spMkLst>
            <pc:docMk/>
            <pc:sldMk cId="1869999325" sldId="1861"/>
            <ac:spMk id="2" creationId="{AF57CFD1-12DE-4287-8E0D-77F399553290}"/>
          </ac:spMkLst>
        </pc:spChg>
      </pc:sldChg>
      <pc:sldChg chg="add del">
        <pc:chgData name="Bob Ward" userId="6da7c2dd-8e2e-469f-a216-c384312e2a2d" providerId="ADAL" clId="{CC07BEAC-85A7-44E0-BC28-578FC3DF3703}" dt="2019-02-21T02:57:11.491" v="13077"/>
        <pc:sldMkLst>
          <pc:docMk/>
          <pc:sldMk cId="2525588146" sldId="1865"/>
        </pc:sldMkLst>
      </pc:sldChg>
      <pc:sldChg chg="addSp modSp add">
        <pc:chgData name="Bob Ward" userId="6da7c2dd-8e2e-469f-a216-c384312e2a2d" providerId="ADAL" clId="{CC07BEAC-85A7-44E0-BC28-578FC3DF3703}" dt="2019-02-21T20:28:31.136" v="17078" actId="1076"/>
        <pc:sldMkLst>
          <pc:docMk/>
          <pc:sldMk cId="2956707766" sldId="1868"/>
        </pc:sldMkLst>
        <pc:spChg chg="add mod">
          <ac:chgData name="Bob Ward" userId="6da7c2dd-8e2e-469f-a216-c384312e2a2d" providerId="ADAL" clId="{CC07BEAC-85A7-44E0-BC28-578FC3DF3703}" dt="2019-02-21T20:28:31.136" v="17078" actId="1076"/>
          <ac:spMkLst>
            <pc:docMk/>
            <pc:sldMk cId="2956707766" sldId="1868"/>
            <ac:spMk id="4" creationId="{3FD8733A-CF24-4DC1-A9B9-68FD2A58238D}"/>
          </ac:spMkLst>
        </pc:spChg>
        <pc:graphicFrameChg chg="mod">
          <ac:chgData name="Bob Ward" userId="6da7c2dd-8e2e-469f-a216-c384312e2a2d" providerId="ADAL" clId="{CC07BEAC-85A7-44E0-BC28-578FC3DF3703}" dt="2019-02-21T20:28:16.530" v="17070" actId="14100"/>
          <ac:graphicFrameMkLst>
            <pc:docMk/>
            <pc:sldMk cId="2956707766" sldId="1868"/>
            <ac:graphicFrameMk id="3" creationId="{3DFF174B-DD6D-4062-9CB9-31F1ECBE0CCC}"/>
          </ac:graphicFrameMkLst>
        </pc:graphicFrameChg>
      </pc:sldChg>
      <pc:sldChg chg="add del">
        <pc:chgData name="Bob Ward" userId="6da7c2dd-8e2e-469f-a216-c384312e2a2d" providerId="ADAL" clId="{CC07BEAC-85A7-44E0-BC28-578FC3DF3703}" dt="2019-02-13T23:53:35.270" v="5332"/>
        <pc:sldMkLst>
          <pc:docMk/>
          <pc:sldMk cId="4047907225" sldId="1878"/>
        </pc:sldMkLst>
      </pc:sldChg>
      <pc:sldChg chg="modSp add">
        <pc:chgData name="Bob Ward" userId="6da7c2dd-8e2e-469f-a216-c384312e2a2d" providerId="ADAL" clId="{CC07BEAC-85A7-44E0-BC28-578FC3DF3703}" dt="2019-02-21T12:35:25.102" v="15692" actId="20577"/>
        <pc:sldMkLst>
          <pc:docMk/>
          <pc:sldMk cId="424724205" sldId="1883"/>
        </pc:sldMkLst>
        <pc:spChg chg="mod">
          <ac:chgData name="Bob Ward" userId="6da7c2dd-8e2e-469f-a216-c384312e2a2d" providerId="ADAL" clId="{CC07BEAC-85A7-44E0-BC28-578FC3DF3703}" dt="2019-02-21T12:35:25.102" v="15692" actId="20577"/>
          <ac:spMkLst>
            <pc:docMk/>
            <pc:sldMk cId="424724205" sldId="1883"/>
            <ac:spMk id="6" creationId="{00000000-0000-0000-0000-000000000000}"/>
          </ac:spMkLst>
        </pc:spChg>
      </pc:sldChg>
      <pc:sldChg chg="addSp delSp modSp add del">
        <pc:chgData name="Bob Ward" userId="6da7c2dd-8e2e-469f-a216-c384312e2a2d" providerId="ADAL" clId="{CC07BEAC-85A7-44E0-BC28-578FC3DF3703}" dt="2019-02-13T23:33:43.972" v="4090"/>
        <pc:sldMkLst>
          <pc:docMk/>
          <pc:sldMk cId="795071221" sldId="1883"/>
        </pc:sldMkLst>
        <pc:spChg chg="add del mod">
          <ac:chgData name="Bob Ward" userId="6da7c2dd-8e2e-469f-a216-c384312e2a2d" providerId="ADAL" clId="{CC07BEAC-85A7-44E0-BC28-578FC3DF3703}" dt="2019-02-13T23:33:43.480" v="4089" actId="478"/>
          <ac:spMkLst>
            <pc:docMk/>
            <pc:sldMk cId="795071221" sldId="1883"/>
            <ac:spMk id="5" creationId="{1E786CF2-12AF-4F13-B5DF-666BF7131B7F}"/>
          </ac:spMkLst>
        </pc:spChg>
        <pc:spChg chg="add del">
          <ac:chgData name="Bob Ward" userId="6da7c2dd-8e2e-469f-a216-c384312e2a2d" providerId="ADAL" clId="{CC07BEAC-85A7-44E0-BC28-578FC3DF3703}" dt="2019-02-13T23:33:30.819" v="4085"/>
          <ac:spMkLst>
            <pc:docMk/>
            <pc:sldMk cId="795071221" sldId="1883"/>
            <ac:spMk id="12" creationId="{DA9DB90B-2D0F-4C5E-8940-3766A97FEE0A}"/>
          </ac:spMkLst>
        </pc:spChg>
        <pc:spChg chg="add del">
          <ac:chgData name="Bob Ward" userId="6da7c2dd-8e2e-469f-a216-c384312e2a2d" providerId="ADAL" clId="{CC07BEAC-85A7-44E0-BC28-578FC3DF3703}" dt="2019-02-13T23:33:43.480" v="4089" actId="478"/>
          <ac:spMkLst>
            <pc:docMk/>
            <pc:sldMk cId="795071221" sldId="1883"/>
            <ac:spMk id="17" creationId="{00000000-0000-0000-0000-000000000000}"/>
          </ac:spMkLst>
        </pc:spChg>
      </pc:sldChg>
      <pc:sldChg chg="add">
        <pc:chgData name="Bob Ward" userId="6da7c2dd-8e2e-469f-a216-c384312e2a2d" providerId="ADAL" clId="{CC07BEAC-85A7-44E0-BC28-578FC3DF3703}" dt="2019-02-13T23:55:46.769" v="5362"/>
        <pc:sldMkLst>
          <pc:docMk/>
          <pc:sldMk cId="3438916159" sldId="1892"/>
        </pc:sldMkLst>
      </pc:sldChg>
      <pc:sldChg chg="del ord">
        <pc:chgData name="Bob Ward" userId="6da7c2dd-8e2e-469f-a216-c384312e2a2d" providerId="ADAL" clId="{CC07BEAC-85A7-44E0-BC28-578FC3DF3703}" dt="2019-02-13T21:41:53.280" v="3755" actId="2696"/>
        <pc:sldMkLst>
          <pc:docMk/>
          <pc:sldMk cId="691647947" sldId="3211"/>
        </pc:sldMkLst>
      </pc:sldChg>
      <pc:sldChg chg="modSp ord modNotesTx">
        <pc:chgData name="Bob Ward" userId="6da7c2dd-8e2e-469f-a216-c384312e2a2d" providerId="ADAL" clId="{CC07BEAC-85A7-44E0-BC28-578FC3DF3703}" dt="2019-02-21T04:37:43.261" v="15476" actId="20577"/>
        <pc:sldMkLst>
          <pc:docMk/>
          <pc:sldMk cId="445609033" sldId="4351"/>
        </pc:sldMkLst>
        <pc:spChg chg="mod">
          <ac:chgData name="Bob Ward" userId="6da7c2dd-8e2e-469f-a216-c384312e2a2d" providerId="ADAL" clId="{CC07BEAC-85A7-44E0-BC28-578FC3DF3703}" dt="2019-02-14T00:19:58.156" v="6335" actId="313"/>
          <ac:spMkLst>
            <pc:docMk/>
            <pc:sldMk cId="445609033" sldId="4351"/>
            <ac:spMk id="3" creationId="{00000000-0000-0000-0000-000000000000}"/>
          </ac:spMkLst>
        </pc:spChg>
        <pc:spChg chg="mod">
          <ac:chgData name="Bob Ward" userId="6da7c2dd-8e2e-469f-a216-c384312e2a2d" providerId="ADAL" clId="{CC07BEAC-85A7-44E0-BC28-578FC3DF3703}" dt="2019-02-14T00:20:02.052" v="6336" actId="20577"/>
          <ac:spMkLst>
            <pc:docMk/>
            <pc:sldMk cId="445609033" sldId="4351"/>
            <ac:spMk id="4" creationId="{19845D98-2CE9-45E6-9AA5-7DA5B4AF1C6D}"/>
          </ac:spMkLst>
        </pc:spChg>
      </pc:sldChg>
      <pc:sldChg chg="modSp">
        <pc:chgData name="Bob Ward" userId="6da7c2dd-8e2e-469f-a216-c384312e2a2d" providerId="ADAL" clId="{CC07BEAC-85A7-44E0-BC28-578FC3DF3703}" dt="2019-02-19T21:14:29.821" v="7152" actId="20577"/>
        <pc:sldMkLst>
          <pc:docMk/>
          <pc:sldMk cId="2973122093" sldId="4352"/>
        </pc:sldMkLst>
        <pc:spChg chg="mod">
          <ac:chgData name="Bob Ward" userId="6da7c2dd-8e2e-469f-a216-c384312e2a2d" providerId="ADAL" clId="{CC07BEAC-85A7-44E0-BC28-578FC3DF3703}" dt="2019-02-19T21:14:29.821" v="7152" actId="20577"/>
          <ac:spMkLst>
            <pc:docMk/>
            <pc:sldMk cId="2973122093" sldId="4352"/>
            <ac:spMk id="6" creationId="{00000000-0000-0000-0000-000000000000}"/>
          </ac:spMkLst>
        </pc:spChg>
      </pc:sldChg>
      <pc:sldChg chg="modSp">
        <pc:chgData name="Bob Ward" userId="6da7c2dd-8e2e-469f-a216-c384312e2a2d" providerId="ADAL" clId="{CC07BEAC-85A7-44E0-BC28-578FC3DF3703}" dt="2019-02-19T21:15:22.995" v="7156" actId="1076"/>
        <pc:sldMkLst>
          <pc:docMk/>
          <pc:sldMk cId="1122910760" sldId="4353"/>
        </pc:sldMkLst>
        <pc:spChg chg="mod">
          <ac:chgData name="Bob Ward" userId="6da7c2dd-8e2e-469f-a216-c384312e2a2d" providerId="ADAL" clId="{CC07BEAC-85A7-44E0-BC28-578FC3DF3703}" dt="2019-02-19T21:15:22.995" v="7156" actId="1076"/>
          <ac:spMkLst>
            <pc:docMk/>
            <pc:sldMk cId="1122910760" sldId="4353"/>
            <ac:spMk id="70" creationId="{1732ACB7-C0E2-8548-B01C-7B04B3DE4A8D}"/>
          </ac:spMkLst>
        </pc:spChg>
      </pc:sldChg>
      <pc:sldChg chg="modAnim">
        <pc:chgData name="Bob Ward" userId="6da7c2dd-8e2e-469f-a216-c384312e2a2d" providerId="ADAL" clId="{CC07BEAC-85A7-44E0-BC28-578FC3DF3703}" dt="2019-02-23T19:51:53.633" v="18335"/>
        <pc:sldMkLst>
          <pc:docMk/>
          <pc:sldMk cId="1087001240" sldId="4355"/>
        </pc:sldMkLst>
      </pc:sldChg>
      <pc:sldChg chg="modSp ord modNotesTx">
        <pc:chgData name="Bob Ward" userId="6da7c2dd-8e2e-469f-a216-c384312e2a2d" providerId="ADAL" clId="{CC07BEAC-85A7-44E0-BC28-578FC3DF3703}" dt="2019-02-24T15:56:35.609" v="18645" actId="6549"/>
        <pc:sldMkLst>
          <pc:docMk/>
          <pc:sldMk cId="3580746693" sldId="4357"/>
        </pc:sldMkLst>
        <pc:spChg chg="mod">
          <ac:chgData name="Bob Ward" userId="6da7c2dd-8e2e-469f-a216-c384312e2a2d" providerId="ADAL" clId="{CC07BEAC-85A7-44E0-BC28-578FC3DF3703}" dt="2019-02-13T20:50:50.341" v="2938" actId="14100"/>
          <ac:spMkLst>
            <pc:docMk/>
            <pc:sldMk cId="3580746693" sldId="4357"/>
            <ac:spMk id="3" creationId="{00000000-0000-0000-0000-000000000000}"/>
          </ac:spMkLst>
        </pc:spChg>
        <pc:spChg chg="mod">
          <ac:chgData name="Bob Ward" userId="6da7c2dd-8e2e-469f-a216-c384312e2a2d" providerId="ADAL" clId="{CC07BEAC-85A7-44E0-BC28-578FC3DF3703}" dt="2019-02-24T15:56:35.609" v="18645" actId="6549"/>
          <ac:spMkLst>
            <pc:docMk/>
            <pc:sldMk cId="3580746693" sldId="4357"/>
            <ac:spMk id="4" creationId="{00000000-0000-0000-0000-000000000000}"/>
          </ac:spMkLst>
        </pc:spChg>
      </pc:sldChg>
      <pc:sldChg chg="modSp modNotesTx">
        <pc:chgData name="Bob Ward" userId="6da7c2dd-8e2e-469f-a216-c384312e2a2d" providerId="ADAL" clId="{CC07BEAC-85A7-44E0-BC28-578FC3DF3703}" dt="2019-02-23T19:58:47.359" v="18521" actId="20577"/>
        <pc:sldMkLst>
          <pc:docMk/>
          <pc:sldMk cId="870761287" sldId="4358"/>
        </pc:sldMkLst>
        <pc:spChg chg="mod">
          <ac:chgData name="Bob Ward" userId="6da7c2dd-8e2e-469f-a216-c384312e2a2d" providerId="ADAL" clId="{CC07BEAC-85A7-44E0-BC28-578FC3DF3703}" dt="2019-02-22T02:13:18.205" v="17163" actId="20577"/>
          <ac:spMkLst>
            <pc:docMk/>
            <pc:sldMk cId="870761287" sldId="4358"/>
            <ac:spMk id="3" creationId="{00000000-0000-0000-0000-000000000000}"/>
          </ac:spMkLst>
        </pc:spChg>
        <pc:spChg chg="mod">
          <ac:chgData name="Bob Ward" userId="6da7c2dd-8e2e-469f-a216-c384312e2a2d" providerId="ADAL" clId="{CC07BEAC-85A7-44E0-BC28-578FC3DF3703}" dt="2019-02-21T03:09:04.163" v="13508" actId="20577"/>
          <ac:spMkLst>
            <pc:docMk/>
            <pc:sldMk cId="870761287" sldId="4358"/>
            <ac:spMk id="4" creationId="{00000000-0000-0000-0000-000000000000}"/>
          </ac:spMkLst>
        </pc:spChg>
      </pc:sldChg>
      <pc:sldChg chg="addSp delSp modSp del modNotesTx">
        <pc:chgData name="Bob Ward" userId="6da7c2dd-8e2e-469f-a216-c384312e2a2d" providerId="ADAL" clId="{CC07BEAC-85A7-44E0-BC28-578FC3DF3703}" dt="2019-02-24T15:51:19.233" v="18642" actId="2696"/>
        <pc:sldMkLst>
          <pc:docMk/>
          <pc:sldMk cId="3721142759" sldId="4359"/>
        </pc:sldMkLst>
        <pc:spChg chg="add del mod">
          <ac:chgData name="Bob Ward" userId="6da7c2dd-8e2e-469f-a216-c384312e2a2d" providerId="ADAL" clId="{CC07BEAC-85A7-44E0-BC28-578FC3DF3703}" dt="2019-02-19T20:57:47.927" v="6591" actId="478"/>
          <ac:spMkLst>
            <pc:docMk/>
            <pc:sldMk cId="3721142759" sldId="4359"/>
            <ac:spMk id="5" creationId="{B744BAA0-0D3D-4C7D-8ED2-342075EAC776}"/>
          </ac:spMkLst>
        </pc:spChg>
      </pc:sldChg>
      <pc:sldChg chg="addSp modSp add ord modAnim">
        <pc:chgData name="Bob Ward" userId="6da7c2dd-8e2e-469f-a216-c384312e2a2d" providerId="ADAL" clId="{CC07BEAC-85A7-44E0-BC28-578FC3DF3703}" dt="2019-02-24T16:04:32.922" v="18872"/>
        <pc:sldMkLst>
          <pc:docMk/>
          <pc:sldMk cId="3766069067" sldId="4360"/>
        </pc:sldMkLst>
        <pc:spChg chg="mod">
          <ac:chgData name="Bob Ward" userId="6da7c2dd-8e2e-469f-a216-c384312e2a2d" providerId="ADAL" clId="{CC07BEAC-85A7-44E0-BC28-578FC3DF3703}" dt="2019-02-13T23:30:05.625" v="4073" actId="20577"/>
          <ac:spMkLst>
            <pc:docMk/>
            <pc:sldMk cId="3766069067" sldId="4360"/>
            <ac:spMk id="2" creationId="{D0E37A8B-817C-4BAF-97EA-57F6E0E697E8}"/>
          </ac:spMkLst>
        </pc:spChg>
        <pc:spChg chg="mod">
          <ac:chgData name="Bob Ward" userId="6da7c2dd-8e2e-469f-a216-c384312e2a2d" providerId="ADAL" clId="{CC07BEAC-85A7-44E0-BC28-578FC3DF3703}" dt="2019-02-13T23:29:23.878" v="4002" actId="20577"/>
          <ac:spMkLst>
            <pc:docMk/>
            <pc:sldMk cId="3766069067" sldId="4360"/>
            <ac:spMk id="3" creationId="{7B2A7C7E-7B3C-4E4F-9853-16303F557B12}"/>
          </ac:spMkLst>
        </pc:spChg>
        <pc:spChg chg="add mod">
          <ac:chgData name="Bob Ward" userId="6da7c2dd-8e2e-469f-a216-c384312e2a2d" providerId="ADAL" clId="{CC07BEAC-85A7-44E0-BC28-578FC3DF3703}" dt="2019-02-24T16:04:12.075" v="18871" actId="207"/>
          <ac:spMkLst>
            <pc:docMk/>
            <pc:sldMk cId="3766069067" sldId="4360"/>
            <ac:spMk id="4" creationId="{4613E2BA-4F72-4B3F-81AE-0756A4510822}"/>
          </ac:spMkLst>
        </pc:spChg>
        <pc:cxnChg chg="add mod">
          <ac:chgData name="Bob Ward" userId="6da7c2dd-8e2e-469f-a216-c384312e2a2d" providerId="ADAL" clId="{CC07BEAC-85A7-44E0-BC28-578FC3DF3703}" dt="2019-02-24T16:03:44.612" v="18869" actId="14100"/>
          <ac:cxnSpMkLst>
            <pc:docMk/>
            <pc:sldMk cId="3766069067" sldId="4360"/>
            <ac:cxnSpMk id="6" creationId="{EC173312-FA6C-4DF1-AE2E-7F6FEA0E0E1E}"/>
          </ac:cxnSpMkLst>
        </pc:cxnChg>
        <pc:cxnChg chg="add mod">
          <ac:chgData name="Bob Ward" userId="6da7c2dd-8e2e-469f-a216-c384312e2a2d" providerId="ADAL" clId="{CC07BEAC-85A7-44E0-BC28-578FC3DF3703}" dt="2019-02-24T16:03:42.281" v="18868" actId="14100"/>
          <ac:cxnSpMkLst>
            <pc:docMk/>
            <pc:sldMk cId="3766069067" sldId="4360"/>
            <ac:cxnSpMk id="126" creationId="{8D3FC682-B195-4BA2-8E74-B5396AE20857}"/>
          </ac:cxnSpMkLst>
        </pc:cxnChg>
      </pc:sldChg>
      <pc:sldChg chg="modSp">
        <pc:chgData name="Bob Ward" userId="6da7c2dd-8e2e-469f-a216-c384312e2a2d" providerId="ADAL" clId="{CC07BEAC-85A7-44E0-BC28-578FC3DF3703}" dt="2019-02-21T01:43:04.761" v="12106" actId="1076"/>
        <pc:sldMkLst>
          <pc:docMk/>
          <pc:sldMk cId="3454480862" sldId="4361"/>
        </pc:sldMkLst>
        <pc:spChg chg="mod">
          <ac:chgData name="Bob Ward" userId="6da7c2dd-8e2e-469f-a216-c384312e2a2d" providerId="ADAL" clId="{CC07BEAC-85A7-44E0-BC28-578FC3DF3703}" dt="2019-02-13T21:43:29.154" v="3915" actId="14100"/>
          <ac:spMkLst>
            <pc:docMk/>
            <pc:sldMk cId="3454480862" sldId="4361"/>
            <ac:spMk id="2" creationId="{D0E37A8B-817C-4BAF-97EA-57F6E0E697E8}"/>
          </ac:spMkLst>
        </pc:spChg>
        <pc:spChg chg="mod">
          <ac:chgData name="Bob Ward" userId="6da7c2dd-8e2e-469f-a216-c384312e2a2d" providerId="ADAL" clId="{CC07BEAC-85A7-44E0-BC28-578FC3DF3703}" dt="2019-02-21T01:43:04.761" v="12106" actId="1076"/>
          <ac:spMkLst>
            <pc:docMk/>
            <pc:sldMk cId="3454480862" sldId="4361"/>
            <ac:spMk id="3" creationId="{7B2A7C7E-7B3C-4E4F-9853-16303F557B12}"/>
          </ac:spMkLst>
        </pc:spChg>
      </pc:sldChg>
      <pc:sldChg chg="modSp ord">
        <pc:chgData name="Bob Ward" userId="6da7c2dd-8e2e-469f-a216-c384312e2a2d" providerId="ADAL" clId="{CC07BEAC-85A7-44E0-BC28-578FC3DF3703}" dt="2019-02-14T00:15:30.215" v="6090" actId="20577"/>
        <pc:sldMkLst>
          <pc:docMk/>
          <pc:sldMk cId="2194511247" sldId="4362"/>
        </pc:sldMkLst>
        <pc:spChg chg="mod">
          <ac:chgData name="Bob Ward" userId="6da7c2dd-8e2e-469f-a216-c384312e2a2d" providerId="ADAL" clId="{CC07BEAC-85A7-44E0-BC28-578FC3DF3703}" dt="2019-02-14T00:15:30.215" v="6090" actId="20577"/>
          <ac:spMkLst>
            <pc:docMk/>
            <pc:sldMk cId="2194511247" sldId="4362"/>
            <ac:spMk id="2" creationId="{77A5CF3B-983E-CA45-AB7C-45DFEE004F70}"/>
          </ac:spMkLst>
        </pc:spChg>
      </pc:sldChg>
      <pc:sldChg chg="del ord">
        <pc:chgData name="Bob Ward" userId="6da7c2dd-8e2e-469f-a216-c384312e2a2d" providerId="ADAL" clId="{CC07BEAC-85A7-44E0-BC28-578FC3DF3703}" dt="2019-02-13T21:41:47.376" v="3754" actId="2696"/>
        <pc:sldMkLst>
          <pc:docMk/>
          <pc:sldMk cId="2497121907" sldId="4363"/>
        </pc:sldMkLst>
      </pc:sldChg>
      <pc:sldChg chg="del ord">
        <pc:chgData name="Bob Ward" userId="6da7c2dd-8e2e-469f-a216-c384312e2a2d" providerId="ADAL" clId="{CC07BEAC-85A7-44E0-BC28-578FC3DF3703}" dt="2019-02-19T20:52:21.816" v="6370" actId="2696"/>
        <pc:sldMkLst>
          <pc:docMk/>
          <pc:sldMk cId="3562836415" sldId="4366"/>
        </pc:sldMkLst>
      </pc:sldChg>
      <pc:sldChg chg="addSp delSp modSp modAnim modNotesTx">
        <pc:chgData name="Bob Ward" userId="6da7c2dd-8e2e-469f-a216-c384312e2a2d" providerId="ADAL" clId="{CC07BEAC-85A7-44E0-BC28-578FC3DF3703}" dt="2019-02-23T19:55:31.916" v="18397"/>
        <pc:sldMkLst>
          <pc:docMk/>
          <pc:sldMk cId="276576014" sldId="4367"/>
        </pc:sldMkLst>
        <pc:spChg chg="mod">
          <ac:chgData name="Bob Ward" userId="6da7c2dd-8e2e-469f-a216-c384312e2a2d" providerId="ADAL" clId="{CC07BEAC-85A7-44E0-BC28-578FC3DF3703}" dt="2019-02-21T14:54:30.143" v="16575" actId="1076"/>
          <ac:spMkLst>
            <pc:docMk/>
            <pc:sldMk cId="276576014" sldId="4367"/>
            <ac:spMk id="2" creationId="{A1EB1587-9469-4418-8271-9C10B5FA0FFB}"/>
          </ac:spMkLst>
        </pc:spChg>
        <pc:spChg chg="del">
          <ac:chgData name="Bob Ward" userId="6da7c2dd-8e2e-469f-a216-c384312e2a2d" providerId="ADAL" clId="{CC07BEAC-85A7-44E0-BC28-578FC3DF3703}" dt="2019-02-21T14:42:48.437" v="15916" actId="478"/>
          <ac:spMkLst>
            <pc:docMk/>
            <pc:sldMk cId="276576014" sldId="4367"/>
            <ac:spMk id="3" creationId="{C0749521-6EDD-4067-B1EC-0DEDEB339E91}"/>
          </ac:spMkLst>
        </pc:spChg>
        <pc:spChg chg="add del mod">
          <ac:chgData name="Bob Ward" userId="6da7c2dd-8e2e-469f-a216-c384312e2a2d" providerId="ADAL" clId="{CC07BEAC-85A7-44E0-BC28-578FC3DF3703}" dt="2019-02-21T14:42:51.617" v="15917" actId="478"/>
          <ac:spMkLst>
            <pc:docMk/>
            <pc:sldMk cId="276576014" sldId="4367"/>
            <ac:spMk id="5" creationId="{733AA8E8-705F-4C74-8DA2-7B82FE9B37DB}"/>
          </ac:spMkLst>
        </pc:spChg>
        <pc:spChg chg="add mod">
          <ac:chgData name="Bob Ward" userId="6da7c2dd-8e2e-469f-a216-c384312e2a2d" providerId="ADAL" clId="{CC07BEAC-85A7-44E0-BC28-578FC3DF3703}" dt="2019-02-23T18:01:16.574" v="17635" actId="1076"/>
          <ac:spMkLst>
            <pc:docMk/>
            <pc:sldMk cId="276576014" sldId="4367"/>
            <ac:spMk id="6" creationId="{2C034511-7D8A-42B3-BD88-891A463E54EA}"/>
          </ac:spMkLst>
        </pc:spChg>
        <pc:spChg chg="del">
          <ac:chgData name="Bob Ward" userId="6da7c2dd-8e2e-469f-a216-c384312e2a2d" providerId="ADAL" clId="{CC07BEAC-85A7-44E0-BC28-578FC3DF3703}" dt="2019-02-21T14:42:48.437" v="15916" actId="478"/>
          <ac:spMkLst>
            <pc:docMk/>
            <pc:sldMk cId="276576014" sldId="4367"/>
            <ac:spMk id="7" creationId="{DB971EA3-9242-4CD2-860D-91D53C7F33FC}"/>
          </ac:spMkLst>
        </pc:spChg>
        <pc:spChg chg="del">
          <ac:chgData name="Bob Ward" userId="6da7c2dd-8e2e-469f-a216-c384312e2a2d" providerId="ADAL" clId="{CC07BEAC-85A7-44E0-BC28-578FC3DF3703}" dt="2019-02-21T14:42:48.437" v="15916" actId="478"/>
          <ac:spMkLst>
            <pc:docMk/>
            <pc:sldMk cId="276576014" sldId="4367"/>
            <ac:spMk id="9" creationId="{3141DD79-26B4-4ABA-8383-735F107CD87A}"/>
          </ac:spMkLst>
        </pc:spChg>
        <pc:spChg chg="mod">
          <ac:chgData name="Bob Ward" userId="6da7c2dd-8e2e-469f-a216-c384312e2a2d" providerId="ADAL" clId="{CC07BEAC-85A7-44E0-BC28-578FC3DF3703}" dt="2019-02-21T14:42:56.044" v="15918" actId="1076"/>
          <ac:spMkLst>
            <pc:docMk/>
            <pc:sldMk cId="276576014" sldId="4367"/>
            <ac:spMk id="10" creationId="{3F0FF318-DC7F-48E5-A671-424D48FC4818}"/>
          </ac:spMkLst>
        </pc:spChg>
        <pc:spChg chg="add mod">
          <ac:chgData name="Bob Ward" userId="6da7c2dd-8e2e-469f-a216-c384312e2a2d" providerId="ADAL" clId="{CC07BEAC-85A7-44E0-BC28-578FC3DF3703}" dt="2019-02-23T18:01:09.323" v="17633" actId="255"/>
          <ac:spMkLst>
            <pc:docMk/>
            <pc:sldMk cId="276576014" sldId="4367"/>
            <ac:spMk id="11" creationId="{957A48FD-0AA2-4348-8B19-70D665187B38}"/>
          </ac:spMkLst>
        </pc:spChg>
        <pc:spChg chg="add mod">
          <ac:chgData name="Bob Ward" userId="6da7c2dd-8e2e-469f-a216-c384312e2a2d" providerId="ADAL" clId="{CC07BEAC-85A7-44E0-BC28-578FC3DF3703}" dt="2019-02-23T18:01:13.769" v="17634" actId="1076"/>
          <ac:spMkLst>
            <pc:docMk/>
            <pc:sldMk cId="276576014" sldId="4367"/>
            <ac:spMk id="12" creationId="{9C415EE5-18A9-4C31-A1DB-D80DE0D4EEA7}"/>
          </ac:spMkLst>
        </pc:spChg>
        <pc:spChg chg="add del">
          <ac:chgData name="Bob Ward" userId="6da7c2dd-8e2e-469f-a216-c384312e2a2d" providerId="ADAL" clId="{CC07BEAC-85A7-44E0-BC28-578FC3DF3703}" dt="2019-02-21T14:48:32.023" v="16198"/>
          <ac:spMkLst>
            <pc:docMk/>
            <pc:sldMk cId="276576014" sldId="4367"/>
            <ac:spMk id="13" creationId="{44F25271-99DF-4BFC-965B-BEEE8D3F655E}"/>
          </ac:spMkLst>
        </pc:spChg>
      </pc:sldChg>
      <pc:sldChg chg="modSp add">
        <pc:chgData name="Bob Ward" userId="6da7c2dd-8e2e-469f-a216-c384312e2a2d" providerId="ADAL" clId="{CC07BEAC-85A7-44E0-BC28-578FC3DF3703}" dt="2019-02-14T00:10:56.599" v="5975" actId="1076"/>
        <pc:sldMkLst>
          <pc:docMk/>
          <pc:sldMk cId="4134612233" sldId="4375"/>
        </pc:sldMkLst>
        <pc:spChg chg="mod">
          <ac:chgData name="Bob Ward" userId="6da7c2dd-8e2e-469f-a216-c384312e2a2d" providerId="ADAL" clId="{CC07BEAC-85A7-44E0-BC28-578FC3DF3703}" dt="2019-02-14T00:10:56.599" v="5975" actId="1076"/>
          <ac:spMkLst>
            <pc:docMk/>
            <pc:sldMk cId="4134612233" sldId="4375"/>
            <ac:spMk id="6" creationId="{00000000-0000-0000-0000-000000000000}"/>
          </ac:spMkLst>
        </pc:spChg>
      </pc:sldChg>
      <pc:sldChg chg="add del modNotesTx">
        <pc:chgData name="Bob Ward" userId="6da7c2dd-8e2e-469f-a216-c384312e2a2d" providerId="ADAL" clId="{CC07BEAC-85A7-44E0-BC28-578FC3DF3703}" dt="2019-02-13T21:40:02.029" v="3544" actId="20577"/>
        <pc:sldMkLst>
          <pc:docMk/>
          <pc:sldMk cId="3020045409" sldId="4378"/>
        </pc:sldMkLst>
      </pc:sldChg>
      <pc:sldChg chg="addSp modSp modAnim">
        <pc:chgData name="Bob Ward" userId="6da7c2dd-8e2e-469f-a216-c384312e2a2d" providerId="ADAL" clId="{CC07BEAC-85A7-44E0-BC28-578FC3DF3703}" dt="2019-02-25T01:21:57.240" v="19020" actId="1076"/>
        <pc:sldMkLst>
          <pc:docMk/>
          <pc:sldMk cId="1021704877" sldId="4379"/>
        </pc:sldMkLst>
        <pc:spChg chg="mod">
          <ac:chgData name="Bob Ward" userId="6da7c2dd-8e2e-469f-a216-c384312e2a2d" providerId="ADAL" clId="{CC07BEAC-85A7-44E0-BC28-578FC3DF3703}" dt="2019-02-25T01:21:32.481" v="19017" actId="6549"/>
          <ac:spMkLst>
            <pc:docMk/>
            <pc:sldMk cId="1021704877" sldId="4379"/>
            <ac:spMk id="6" creationId="{00000000-0000-0000-0000-000000000000}"/>
          </ac:spMkLst>
        </pc:spChg>
        <pc:spChg chg="add mod">
          <ac:chgData name="Bob Ward" userId="6da7c2dd-8e2e-469f-a216-c384312e2a2d" providerId="ADAL" clId="{CC07BEAC-85A7-44E0-BC28-578FC3DF3703}" dt="2019-02-25T01:21:39.631" v="19018" actId="1076"/>
          <ac:spMkLst>
            <pc:docMk/>
            <pc:sldMk cId="1021704877" sldId="4379"/>
            <ac:spMk id="9" creationId="{22157F74-64FB-4585-861A-56A0B6C60163}"/>
          </ac:spMkLst>
        </pc:spChg>
        <pc:spChg chg="add mod">
          <ac:chgData name="Bob Ward" userId="6da7c2dd-8e2e-469f-a216-c384312e2a2d" providerId="ADAL" clId="{CC07BEAC-85A7-44E0-BC28-578FC3DF3703}" dt="2019-02-25T01:21:57.240" v="19020" actId="1076"/>
          <ac:spMkLst>
            <pc:docMk/>
            <pc:sldMk cId="1021704877" sldId="4379"/>
            <ac:spMk id="10" creationId="{3A575A60-EAD8-4FD7-B2EC-487F6A119A13}"/>
          </ac:spMkLst>
        </pc:spChg>
        <pc:spChg chg="mod">
          <ac:chgData name="Bob Ward" userId="6da7c2dd-8e2e-469f-a216-c384312e2a2d" providerId="ADAL" clId="{CC07BEAC-85A7-44E0-BC28-578FC3DF3703}" dt="2019-02-25T01:18:41.722" v="18959" actId="1076"/>
          <ac:spMkLst>
            <pc:docMk/>
            <pc:sldMk cId="1021704877" sldId="4379"/>
            <ac:spMk id="56" creationId="{2F16C553-EA3D-0B4D-A558-04C3F1C6FD93}"/>
          </ac:spMkLst>
        </pc:spChg>
      </pc:sldChg>
      <pc:sldChg chg="add">
        <pc:chgData name="Bob Ward" userId="6da7c2dd-8e2e-469f-a216-c384312e2a2d" providerId="ADAL" clId="{CC07BEAC-85A7-44E0-BC28-578FC3DF3703}" dt="2019-02-13T23:55:17.367" v="5361"/>
        <pc:sldMkLst>
          <pc:docMk/>
          <pc:sldMk cId="3118443099" sldId="4387"/>
        </pc:sldMkLst>
      </pc:sldChg>
      <pc:sldChg chg="addSp modSp add modAnim">
        <pc:chgData name="Bob Ward" userId="6da7c2dd-8e2e-469f-a216-c384312e2a2d" providerId="ADAL" clId="{CC07BEAC-85A7-44E0-BC28-578FC3DF3703}" dt="2019-02-23T18:02:28.802" v="17653"/>
        <pc:sldMkLst>
          <pc:docMk/>
          <pc:sldMk cId="305593292" sldId="4389"/>
        </pc:sldMkLst>
        <pc:spChg chg="add mod">
          <ac:chgData name="Bob Ward" userId="6da7c2dd-8e2e-469f-a216-c384312e2a2d" providerId="ADAL" clId="{CC07BEAC-85A7-44E0-BC28-578FC3DF3703}" dt="2019-02-23T18:02:10.267" v="17652" actId="207"/>
          <ac:spMkLst>
            <pc:docMk/>
            <pc:sldMk cId="305593292" sldId="4389"/>
            <ac:spMk id="7" creationId="{CD9E3576-15B7-443C-9D86-128261362A25}"/>
          </ac:spMkLst>
        </pc:spChg>
      </pc:sldChg>
      <pc:sldChg chg="modSp add del">
        <pc:chgData name="Bob Ward" userId="6da7c2dd-8e2e-469f-a216-c384312e2a2d" providerId="ADAL" clId="{CC07BEAC-85A7-44E0-BC28-578FC3DF3703}" dt="2019-03-04T21:34:07.508" v="19028" actId="2696"/>
        <pc:sldMkLst>
          <pc:docMk/>
          <pc:sldMk cId="1998283561" sldId="4393"/>
        </pc:sldMkLst>
        <pc:spChg chg="mod">
          <ac:chgData name="Bob Ward" userId="6da7c2dd-8e2e-469f-a216-c384312e2a2d" providerId="ADAL" clId="{CC07BEAC-85A7-44E0-BC28-578FC3DF3703}" dt="2019-02-21T03:38:48.039" v="14548" actId="1076"/>
          <ac:spMkLst>
            <pc:docMk/>
            <pc:sldMk cId="1998283561" sldId="4393"/>
            <ac:spMk id="17" creationId="{00000000-0000-0000-0000-000000000000}"/>
          </ac:spMkLst>
        </pc:spChg>
      </pc:sldChg>
      <pc:sldChg chg="addSp delSp modSp add delAnim modAnim modNotesTx">
        <pc:chgData name="Bob Ward" userId="6da7c2dd-8e2e-469f-a216-c384312e2a2d" providerId="ADAL" clId="{CC07BEAC-85A7-44E0-BC28-578FC3DF3703}" dt="2019-02-23T18:37:55.579" v="17883"/>
        <pc:sldMkLst>
          <pc:docMk/>
          <pc:sldMk cId="2309670179" sldId="4396"/>
        </pc:sldMkLst>
        <pc:spChg chg="mod">
          <ac:chgData name="Bob Ward" userId="6da7c2dd-8e2e-469f-a216-c384312e2a2d" providerId="ADAL" clId="{CC07BEAC-85A7-44E0-BC28-578FC3DF3703}" dt="2019-02-23T18:35:03.837" v="17861" actId="1076"/>
          <ac:spMkLst>
            <pc:docMk/>
            <pc:sldMk cId="2309670179" sldId="4396"/>
            <ac:spMk id="10" creationId="{D575CECC-C32C-48CB-B2D8-2854DDC38ED0}"/>
          </ac:spMkLst>
        </pc:spChg>
        <pc:spChg chg="del mod">
          <ac:chgData name="Bob Ward" userId="6da7c2dd-8e2e-469f-a216-c384312e2a2d" providerId="ADAL" clId="{CC07BEAC-85A7-44E0-BC28-578FC3DF3703}" dt="2019-02-23T18:35:14.002" v="17863" actId="478"/>
          <ac:spMkLst>
            <pc:docMk/>
            <pc:sldMk cId="2309670179" sldId="4396"/>
            <ac:spMk id="14" creationId="{8CF97A5C-1143-48D1-8B0F-5427C65B8CC3}"/>
          </ac:spMkLst>
        </pc:spChg>
        <pc:spChg chg="del mod">
          <ac:chgData name="Bob Ward" userId="6da7c2dd-8e2e-469f-a216-c384312e2a2d" providerId="ADAL" clId="{CC07BEAC-85A7-44E0-BC28-578FC3DF3703}" dt="2019-02-23T18:35:14.002" v="17863" actId="478"/>
          <ac:spMkLst>
            <pc:docMk/>
            <pc:sldMk cId="2309670179" sldId="4396"/>
            <ac:spMk id="15" creationId="{4C60649E-92EC-4C3E-8D4E-826907181170}"/>
          </ac:spMkLst>
        </pc:spChg>
        <pc:spChg chg="mod">
          <ac:chgData name="Bob Ward" userId="6da7c2dd-8e2e-469f-a216-c384312e2a2d" providerId="ADAL" clId="{CC07BEAC-85A7-44E0-BC28-578FC3DF3703}" dt="2019-02-21T03:39:54.431" v="14568" actId="20577"/>
          <ac:spMkLst>
            <pc:docMk/>
            <pc:sldMk cId="2309670179" sldId="4396"/>
            <ac:spMk id="17" creationId="{00000000-0000-0000-0000-000000000000}"/>
          </ac:spMkLst>
        </pc:spChg>
        <pc:spChg chg="add del mod">
          <ac:chgData name="Bob Ward" userId="6da7c2dd-8e2e-469f-a216-c384312e2a2d" providerId="ADAL" clId="{CC07BEAC-85A7-44E0-BC28-578FC3DF3703}" dt="2019-02-23T18:30:15.174" v="17835" actId="478"/>
          <ac:spMkLst>
            <pc:docMk/>
            <pc:sldMk cId="2309670179" sldId="4396"/>
            <ac:spMk id="22" creationId="{9CEF12FF-07F5-486A-8B28-FEDE4158E6DB}"/>
          </ac:spMkLst>
        </pc:spChg>
        <pc:spChg chg="del">
          <ac:chgData name="Bob Ward" userId="6da7c2dd-8e2e-469f-a216-c384312e2a2d" providerId="ADAL" clId="{CC07BEAC-85A7-44E0-BC28-578FC3DF3703}" dt="2019-02-23T18:35:26.408" v="17866" actId="478"/>
          <ac:spMkLst>
            <pc:docMk/>
            <pc:sldMk cId="2309670179" sldId="4396"/>
            <ac:spMk id="28" creationId="{23093855-9DF0-42FE-8F95-E5BE70319324}"/>
          </ac:spMkLst>
        </pc:spChg>
        <pc:spChg chg="ord">
          <ac:chgData name="Bob Ward" userId="6da7c2dd-8e2e-469f-a216-c384312e2a2d" providerId="ADAL" clId="{CC07BEAC-85A7-44E0-BC28-578FC3DF3703}" dt="2019-02-21T03:42:34.064" v="14596" actId="166"/>
          <ac:spMkLst>
            <pc:docMk/>
            <pc:sldMk cId="2309670179" sldId="4396"/>
            <ac:spMk id="30" creationId="{CC027076-5734-47BA-88A5-8070398EFCDE}"/>
          </ac:spMkLst>
        </pc:spChg>
        <pc:spChg chg="add del">
          <ac:chgData name="Bob Ward" userId="6da7c2dd-8e2e-469f-a216-c384312e2a2d" providerId="ADAL" clId="{CC07BEAC-85A7-44E0-BC28-578FC3DF3703}" dt="2019-02-23T18:37:00.646" v="17876" actId="478"/>
          <ac:spMkLst>
            <pc:docMk/>
            <pc:sldMk cId="2309670179" sldId="4396"/>
            <ac:spMk id="34" creationId="{BDF09942-A5F0-4333-BD88-5581DF3D530E}"/>
          </ac:spMkLst>
        </pc:spChg>
        <pc:spChg chg="del">
          <ac:chgData name="Bob Ward" userId="6da7c2dd-8e2e-469f-a216-c384312e2a2d" providerId="ADAL" clId="{CC07BEAC-85A7-44E0-BC28-578FC3DF3703}" dt="2019-02-23T18:35:21.125" v="17865" actId="478"/>
          <ac:spMkLst>
            <pc:docMk/>
            <pc:sldMk cId="2309670179" sldId="4396"/>
            <ac:spMk id="38" creationId="{B97FC264-B006-497C-84A2-B29B73B498EE}"/>
          </ac:spMkLst>
        </pc:spChg>
        <pc:spChg chg="del">
          <ac:chgData name="Bob Ward" userId="6da7c2dd-8e2e-469f-a216-c384312e2a2d" providerId="ADAL" clId="{CC07BEAC-85A7-44E0-BC28-578FC3DF3703}" dt="2019-02-23T18:35:18.635" v="17864" actId="478"/>
          <ac:spMkLst>
            <pc:docMk/>
            <pc:sldMk cId="2309670179" sldId="4396"/>
            <ac:spMk id="39" creationId="{137BE0CE-AC4E-445E-B4DB-87BD4BA8F8BF}"/>
          </ac:spMkLst>
        </pc:spChg>
        <pc:spChg chg="ord">
          <ac:chgData name="Bob Ward" userId="6da7c2dd-8e2e-469f-a216-c384312e2a2d" providerId="ADAL" clId="{CC07BEAC-85A7-44E0-BC28-578FC3DF3703}" dt="2019-02-21T03:42:26.847" v="14595" actId="166"/>
          <ac:spMkLst>
            <pc:docMk/>
            <pc:sldMk cId="2309670179" sldId="4396"/>
            <ac:spMk id="42" creationId="{A383E645-A5D4-40E5-A485-3CEA6AF8E19B}"/>
          </ac:spMkLst>
        </pc:spChg>
        <pc:spChg chg="add mod">
          <ac:chgData name="Bob Ward" userId="6da7c2dd-8e2e-469f-a216-c384312e2a2d" providerId="ADAL" clId="{CC07BEAC-85A7-44E0-BC28-578FC3DF3703}" dt="2019-02-21T03:41:52.069" v="14591" actId="1076"/>
          <ac:spMkLst>
            <pc:docMk/>
            <pc:sldMk cId="2309670179" sldId="4396"/>
            <ac:spMk id="48" creationId="{24EF2D87-D1D7-4856-A6FC-E621F45E31A1}"/>
          </ac:spMkLst>
        </pc:spChg>
        <pc:spChg chg="add del">
          <ac:chgData name="Bob Ward" userId="6da7c2dd-8e2e-469f-a216-c384312e2a2d" providerId="ADAL" clId="{CC07BEAC-85A7-44E0-BC28-578FC3DF3703}" dt="2019-02-23T18:30:03.746" v="17830"/>
          <ac:spMkLst>
            <pc:docMk/>
            <pc:sldMk cId="2309670179" sldId="4396"/>
            <ac:spMk id="50" creationId="{FEA6C406-E109-4D63-8BF9-B4B15AE0CD8B}"/>
          </ac:spMkLst>
        </pc:spChg>
        <pc:picChg chg="add mod">
          <ac:chgData name="Bob Ward" userId="6da7c2dd-8e2e-469f-a216-c384312e2a2d" providerId="ADAL" clId="{CC07BEAC-85A7-44E0-BC28-578FC3DF3703}" dt="2019-02-23T18:30:18.437" v="17836" actId="1076"/>
          <ac:picMkLst>
            <pc:docMk/>
            <pc:sldMk cId="2309670179" sldId="4396"/>
            <ac:picMk id="6" creationId="{CC320B00-366A-486B-BA27-098F80E342E4}"/>
          </ac:picMkLst>
        </pc:picChg>
        <pc:picChg chg="add del mod">
          <ac:chgData name="Bob Ward" userId="6da7c2dd-8e2e-469f-a216-c384312e2a2d" providerId="ADAL" clId="{CC07BEAC-85A7-44E0-BC28-578FC3DF3703}" dt="2019-02-23T18:30:30.374" v="17839" actId="478"/>
          <ac:picMkLst>
            <pc:docMk/>
            <pc:sldMk cId="2309670179" sldId="4396"/>
            <ac:picMk id="13" creationId="{85E12E04-CFF7-41A6-BB61-50DDFCB43B7C}"/>
          </ac:picMkLst>
        </pc:picChg>
        <pc:picChg chg="add mod">
          <ac:chgData name="Bob Ward" userId="6da7c2dd-8e2e-469f-a216-c384312e2a2d" providerId="ADAL" clId="{CC07BEAC-85A7-44E0-BC28-578FC3DF3703}" dt="2019-02-21T03:40:29.211" v="14570" actId="1076"/>
          <ac:picMkLst>
            <pc:docMk/>
            <pc:sldMk cId="2309670179" sldId="4396"/>
            <ac:picMk id="47" creationId="{7D402E50-1024-4B1D-9254-8BE3D9BD28AC}"/>
          </ac:picMkLst>
        </pc:picChg>
        <pc:picChg chg="add mod">
          <ac:chgData name="Bob Ward" userId="6da7c2dd-8e2e-469f-a216-c384312e2a2d" providerId="ADAL" clId="{CC07BEAC-85A7-44E0-BC28-578FC3DF3703}" dt="2019-02-23T18:31:58.300" v="17844" actId="1076"/>
          <ac:picMkLst>
            <pc:docMk/>
            <pc:sldMk cId="2309670179" sldId="4396"/>
            <ac:picMk id="51" creationId="{FCF2BA87-1D7F-4231-AEE3-B2A8FF27990C}"/>
          </ac:picMkLst>
        </pc:picChg>
        <pc:picChg chg="add mod">
          <ac:chgData name="Bob Ward" userId="6da7c2dd-8e2e-469f-a216-c384312e2a2d" providerId="ADAL" clId="{CC07BEAC-85A7-44E0-BC28-578FC3DF3703}" dt="2019-02-23T18:32:03.909" v="17846" actId="1076"/>
          <ac:picMkLst>
            <pc:docMk/>
            <pc:sldMk cId="2309670179" sldId="4396"/>
            <ac:picMk id="52" creationId="{FD598B24-9BD4-4DC7-9289-8659C9C71BAB}"/>
          </ac:picMkLst>
        </pc:picChg>
        <pc:picChg chg="add mod">
          <ac:chgData name="Bob Ward" userId="6da7c2dd-8e2e-469f-a216-c384312e2a2d" providerId="ADAL" clId="{CC07BEAC-85A7-44E0-BC28-578FC3DF3703}" dt="2019-02-23T18:31:52.122" v="17842" actId="1076"/>
          <ac:picMkLst>
            <pc:docMk/>
            <pc:sldMk cId="2309670179" sldId="4396"/>
            <ac:picMk id="2050" creationId="{A105F8B1-8AD3-4229-ADD7-31E61CF69FEC}"/>
          </ac:picMkLst>
        </pc:picChg>
        <pc:cxnChg chg="mod">
          <ac:chgData name="Bob Ward" userId="6da7c2dd-8e2e-469f-a216-c384312e2a2d" providerId="ADAL" clId="{CC07BEAC-85A7-44E0-BC28-578FC3DF3703}" dt="2019-02-23T18:35:21.125" v="17865" actId="478"/>
          <ac:cxnSpMkLst>
            <pc:docMk/>
            <pc:sldMk cId="2309670179" sldId="4396"/>
            <ac:cxnSpMk id="4" creationId="{DB21E19B-99E2-449E-A489-4F14D227BE20}"/>
          </ac:cxnSpMkLst>
        </pc:cxnChg>
        <pc:cxnChg chg="mod">
          <ac:chgData name="Bob Ward" userId="6da7c2dd-8e2e-469f-a216-c384312e2a2d" providerId="ADAL" clId="{CC07BEAC-85A7-44E0-BC28-578FC3DF3703}" dt="2019-02-23T18:35:21.125" v="17865" actId="478"/>
          <ac:cxnSpMkLst>
            <pc:docMk/>
            <pc:sldMk cId="2309670179" sldId="4396"/>
            <ac:cxnSpMk id="46" creationId="{7CA20319-FA35-4F08-AD0C-2EB00ED0C958}"/>
          </ac:cxnSpMkLst>
        </pc:cxnChg>
        <pc:cxnChg chg="add mod">
          <ac:chgData name="Bob Ward" userId="6da7c2dd-8e2e-469f-a216-c384312e2a2d" providerId="ADAL" clId="{CC07BEAC-85A7-44E0-BC28-578FC3DF3703}" dt="2019-02-21T03:43:15.393" v="14598" actId="14100"/>
          <ac:cxnSpMkLst>
            <pc:docMk/>
            <pc:sldMk cId="2309670179" sldId="4396"/>
            <ac:cxnSpMk id="49" creationId="{91A964A6-FE29-479C-98F4-D2A3DB6B5E49}"/>
          </ac:cxnSpMkLst>
        </pc:cxnChg>
      </pc:sldChg>
      <pc:sldChg chg="modSp">
        <pc:chgData name="Bob Ward" userId="6da7c2dd-8e2e-469f-a216-c384312e2a2d" providerId="ADAL" clId="{CC07BEAC-85A7-44E0-BC28-578FC3DF3703}" dt="2019-01-21T15:24:34.361" v="611" actId="20577"/>
        <pc:sldMkLst>
          <pc:docMk/>
          <pc:sldMk cId="537828195" sldId="4509"/>
        </pc:sldMkLst>
        <pc:spChg chg="mod">
          <ac:chgData name="Bob Ward" userId="6da7c2dd-8e2e-469f-a216-c384312e2a2d" providerId="ADAL" clId="{CC07BEAC-85A7-44E0-BC28-578FC3DF3703}" dt="2019-01-21T15:24:34.361" v="611" actId="20577"/>
          <ac:spMkLst>
            <pc:docMk/>
            <pc:sldMk cId="537828195" sldId="4509"/>
            <ac:spMk id="85" creationId="{3D54A1AD-66A3-914A-89E4-ECF2FCCC692D}"/>
          </ac:spMkLst>
        </pc:spChg>
      </pc:sldChg>
      <pc:sldChg chg="modSp add del ord">
        <pc:chgData name="Bob Ward" userId="6da7c2dd-8e2e-469f-a216-c384312e2a2d" providerId="ADAL" clId="{CC07BEAC-85A7-44E0-BC28-578FC3DF3703}" dt="2019-02-21T03:33:02.718" v="14396"/>
        <pc:sldMkLst>
          <pc:docMk/>
          <pc:sldMk cId="3044339129" sldId="4512"/>
        </pc:sldMkLst>
        <pc:spChg chg="mod">
          <ac:chgData name="Bob Ward" userId="6da7c2dd-8e2e-469f-a216-c384312e2a2d" providerId="ADAL" clId="{CC07BEAC-85A7-44E0-BC28-578FC3DF3703}" dt="2019-02-13T23:28:41.466" v="3989" actId="6549"/>
          <ac:spMkLst>
            <pc:docMk/>
            <pc:sldMk cId="3044339129" sldId="4512"/>
            <ac:spMk id="3" creationId="{0326F37C-242E-4D5C-9985-21ADC1F94314}"/>
          </ac:spMkLst>
        </pc:spChg>
      </pc:sldChg>
      <pc:sldChg chg="del">
        <pc:chgData name="Bob Ward" userId="6da7c2dd-8e2e-469f-a216-c384312e2a2d" providerId="ADAL" clId="{CC07BEAC-85A7-44E0-BC28-578FC3DF3703}" dt="2019-02-13T21:41:15.757" v="3710" actId="2696"/>
        <pc:sldMkLst>
          <pc:docMk/>
          <pc:sldMk cId="4023305083" sldId="4524"/>
        </pc:sldMkLst>
      </pc:sldChg>
      <pc:sldChg chg="add">
        <pc:chgData name="Bob Ward" userId="6da7c2dd-8e2e-469f-a216-c384312e2a2d" providerId="ADAL" clId="{CC07BEAC-85A7-44E0-BC28-578FC3DF3703}" dt="2019-02-19T20:55:09.369" v="6376"/>
        <pc:sldMkLst>
          <pc:docMk/>
          <pc:sldMk cId="557497803" sldId="4546"/>
        </pc:sldMkLst>
      </pc:sldChg>
      <pc:sldChg chg="add del">
        <pc:chgData name="Bob Ward" userId="6da7c2dd-8e2e-469f-a216-c384312e2a2d" providerId="ADAL" clId="{CC07BEAC-85A7-44E0-BC28-578FC3DF3703}" dt="2019-02-19T20:53:59.448" v="6373"/>
        <pc:sldMkLst>
          <pc:docMk/>
          <pc:sldMk cId="2774680130" sldId="4547"/>
        </pc:sldMkLst>
      </pc:sldChg>
      <pc:sldChg chg="addSp delSp modSp addAnim delAnim modAnim modNotesTx">
        <pc:chgData name="Bob Ward" userId="6da7c2dd-8e2e-469f-a216-c384312e2a2d" providerId="ADAL" clId="{CC07BEAC-85A7-44E0-BC28-578FC3DF3703}" dt="2019-02-21T02:51:46.182" v="13075" actId="6549"/>
        <pc:sldMkLst>
          <pc:docMk/>
          <pc:sldMk cId="2849558357" sldId="4670"/>
        </pc:sldMkLst>
        <pc:spChg chg="add del">
          <ac:chgData name="Bob Ward" userId="6da7c2dd-8e2e-469f-a216-c384312e2a2d" providerId="ADAL" clId="{CC07BEAC-85A7-44E0-BC28-578FC3DF3703}" dt="2019-02-19T22:52:01.923" v="7945" actId="478"/>
          <ac:spMkLst>
            <pc:docMk/>
            <pc:sldMk cId="2849558357" sldId="4670"/>
            <ac:spMk id="4" creationId="{8A62B52D-95CB-8C4E-977F-7E0141C0C1E7}"/>
          </ac:spMkLst>
        </pc:spChg>
        <pc:spChg chg="mod">
          <ac:chgData name="Bob Ward" userId="6da7c2dd-8e2e-469f-a216-c384312e2a2d" providerId="ADAL" clId="{CC07BEAC-85A7-44E0-BC28-578FC3DF3703}" dt="2019-02-19T23:44:29.776" v="7964" actId="20577"/>
          <ac:spMkLst>
            <pc:docMk/>
            <pc:sldMk cId="2849558357" sldId="4670"/>
            <ac:spMk id="6" creationId="{00000000-0000-0000-0000-000000000000}"/>
          </ac:spMkLst>
        </pc:spChg>
        <pc:spChg chg="add del">
          <ac:chgData name="Bob Ward" userId="6da7c2dd-8e2e-469f-a216-c384312e2a2d" providerId="ADAL" clId="{CC07BEAC-85A7-44E0-BC28-578FC3DF3703}" dt="2019-02-19T22:52:02.321" v="7946" actId="478"/>
          <ac:spMkLst>
            <pc:docMk/>
            <pc:sldMk cId="2849558357" sldId="4670"/>
            <ac:spMk id="7" creationId="{A304EC1A-A7CE-2647-ABB8-844B21BB62CE}"/>
          </ac:spMkLst>
        </pc:spChg>
        <pc:spChg chg="add del">
          <ac:chgData name="Bob Ward" userId="6da7c2dd-8e2e-469f-a216-c384312e2a2d" providerId="ADAL" clId="{CC07BEAC-85A7-44E0-BC28-578FC3DF3703}" dt="2019-02-19T22:52:01.923" v="7945" actId="478"/>
          <ac:spMkLst>
            <pc:docMk/>
            <pc:sldMk cId="2849558357" sldId="4670"/>
            <ac:spMk id="8" creationId="{30479CBA-FAEE-584C-8313-E41B890A8435}"/>
          </ac:spMkLst>
        </pc:spChg>
        <pc:spChg chg="add del">
          <ac:chgData name="Bob Ward" userId="6da7c2dd-8e2e-469f-a216-c384312e2a2d" providerId="ADAL" clId="{CC07BEAC-85A7-44E0-BC28-578FC3DF3703}" dt="2019-02-19T22:52:02.321" v="7946" actId="478"/>
          <ac:spMkLst>
            <pc:docMk/>
            <pc:sldMk cId="2849558357" sldId="4670"/>
            <ac:spMk id="10" creationId="{ADE20943-3BAD-4093-967B-EAAA88156D2C}"/>
          </ac:spMkLst>
        </pc:spChg>
        <pc:spChg chg="add del">
          <ac:chgData name="Bob Ward" userId="6da7c2dd-8e2e-469f-a216-c384312e2a2d" providerId="ADAL" clId="{CC07BEAC-85A7-44E0-BC28-578FC3DF3703}" dt="2019-02-19T22:52:01.923" v="7945" actId="478"/>
          <ac:spMkLst>
            <pc:docMk/>
            <pc:sldMk cId="2849558357" sldId="4670"/>
            <ac:spMk id="18" creationId="{A52E3042-0DA3-E449-BA5C-0C794C3AFCCF}"/>
          </ac:spMkLst>
        </pc:spChg>
        <pc:spChg chg="add del">
          <ac:chgData name="Bob Ward" userId="6da7c2dd-8e2e-469f-a216-c384312e2a2d" providerId="ADAL" clId="{CC07BEAC-85A7-44E0-BC28-578FC3DF3703}" dt="2019-02-19T22:52:01.923" v="7945" actId="478"/>
          <ac:spMkLst>
            <pc:docMk/>
            <pc:sldMk cId="2849558357" sldId="4670"/>
            <ac:spMk id="19" creationId="{6BB124B6-36F8-1E4D-9984-D86DE4F3E98F}"/>
          </ac:spMkLst>
        </pc:spChg>
        <pc:spChg chg="add del">
          <ac:chgData name="Bob Ward" userId="6da7c2dd-8e2e-469f-a216-c384312e2a2d" providerId="ADAL" clId="{CC07BEAC-85A7-44E0-BC28-578FC3DF3703}" dt="2019-02-19T22:52:01.923" v="7945" actId="478"/>
          <ac:spMkLst>
            <pc:docMk/>
            <pc:sldMk cId="2849558357" sldId="4670"/>
            <ac:spMk id="20" creationId="{24019F77-40A1-DC4D-91A6-44B8AF17E1A8}"/>
          </ac:spMkLst>
        </pc:spChg>
        <pc:spChg chg="add del">
          <ac:chgData name="Bob Ward" userId="6da7c2dd-8e2e-469f-a216-c384312e2a2d" providerId="ADAL" clId="{CC07BEAC-85A7-44E0-BC28-578FC3DF3703}" dt="2019-02-19T22:52:01.923" v="7945" actId="478"/>
          <ac:spMkLst>
            <pc:docMk/>
            <pc:sldMk cId="2849558357" sldId="4670"/>
            <ac:spMk id="21" creationId="{0B892F49-BC1F-3643-8F42-F7E8365387AC}"/>
          </ac:spMkLst>
        </pc:spChg>
        <pc:spChg chg="add del">
          <ac:chgData name="Bob Ward" userId="6da7c2dd-8e2e-469f-a216-c384312e2a2d" providerId="ADAL" clId="{CC07BEAC-85A7-44E0-BC28-578FC3DF3703}" dt="2019-02-19T22:52:01.923" v="7945" actId="478"/>
          <ac:spMkLst>
            <pc:docMk/>
            <pc:sldMk cId="2849558357" sldId="4670"/>
            <ac:spMk id="22" creationId="{DF8E67FE-6F00-AB47-9499-27EB5E89D833}"/>
          </ac:spMkLst>
        </pc:spChg>
        <pc:spChg chg="add del">
          <ac:chgData name="Bob Ward" userId="6da7c2dd-8e2e-469f-a216-c384312e2a2d" providerId="ADAL" clId="{CC07BEAC-85A7-44E0-BC28-578FC3DF3703}" dt="2019-02-19T22:52:01.923" v="7945" actId="478"/>
          <ac:spMkLst>
            <pc:docMk/>
            <pc:sldMk cId="2849558357" sldId="4670"/>
            <ac:spMk id="23" creationId="{0C5A24E6-E42C-EA42-B271-60A4FBA6B135}"/>
          </ac:spMkLst>
        </pc:spChg>
        <pc:spChg chg="add del">
          <ac:chgData name="Bob Ward" userId="6da7c2dd-8e2e-469f-a216-c384312e2a2d" providerId="ADAL" clId="{CC07BEAC-85A7-44E0-BC28-578FC3DF3703}" dt="2019-02-19T22:52:01.923" v="7945" actId="478"/>
          <ac:spMkLst>
            <pc:docMk/>
            <pc:sldMk cId="2849558357" sldId="4670"/>
            <ac:spMk id="34" creationId="{9927CF62-DD5B-3C40-ACE4-60F053D1BDB1}"/>
          </ac:spMkLst>
        </pc:spChg>
        <pc:spChg chg="add del">
          <ac:chgData name="Bob Ward" userId="6da7c2dd-8e2e-469f-a216-c384312e2a2d" providerId="ADAL" clId="{CC07BEAC-85A7-44E0-BC28-578FC3DF3703}" dt="2019-02-19T22:52:01.923" v="7945" actId="478"/>
          <ac:spMkLst>
            <pc:docMk/>
            <pc:sldMk cId="2849558357" sldId="4670"/>
            <ac:spMk id="35" creationId="{87706611-4869-5947-AAB1-95FC48418440}"/>
          </ac:spMkLst>
        </pc:spChg>
        <pc:spChg chg="add del">
          <ac:chgData name="Bob Ward" userId="6da7c2dd-8e2e-469f-a216-c384312e2a2d" providerId="ADAL" clId="{CC07BEAC-85A7-44E0-BC28-578FC3DF3703}" dt="2019-02-19T22:52:01.923" v="7945" actId="478"/>
          <ac:spMkLst>
            <pc:docMk/>
            <pc:sldMk cId="2849558357" sldId="4670"/>
            <ac:spMk id="38" creationId="{6F1817F9-B4C0-BF45-AAAB-538752DA81C5}"/>
          </ac:spMkLst>
        </pc:spChg>
        <pc:spChg chg="add del">
          <ac:chgData name="Bob Ward" userId="6da7c2dd-8e2e-469f-a216-c384312e2a2d" providerId="ADAL" clId="{CC07BEAC-85A7-44E0-BC28-578FC3DF3703}" dt="2019-02-19T22:52:01.923" v="7945" actId="478"/>
          <ac:spMkLst>
            <pc:docMk/>
            <pc:sldMk cId="2849558357" sldId="4670"/>
            <ac:spMk id="39" creationId="{D34AB543-9B39-7C4F-956C-3659623C879E}"/>
          </ac:spMkLst>
        </pc:spChg>
        <pc:spChg chg="add del">
          <ac:chgData name="Bob Ward" userId="6da7c2dd-8e2e-469f-a216-c384312e2a2d" providerId="ADAL" clId="{CC07BEAC-85A7-44E0-BC28-578FC3DF3703}" dt="2019-02-19T22:52:01.923" v="7945" actId="478"/>
          <ac:spMkLst>
            <pc:docMk/>
            <pc:sldMk cId="2849558357" sldId="4670"/>
            <ac:spMk id="53" creationId="{868C1014-66C6-6F40-BA6C-FB54BFBB17EF}"/>
          </ac:spMkLst>
        </pc:spChg>
        <pc:spChg chg="add del">
          <ac:chgData name="Bob Ward" userId="6da7c2dd-8e2e-469f-a216-c384312e2a2d" providerId="ADAL" clId="{CC07BEAC-85A7-44E0-BC28-578FC3DF3703}" dt="2019-02-19T22:52:01.923" v="7945" actId="478"/>
          <ac:spMkLst>
            <pc:docMk/>
            <pc:sldMk cId="2849558357" sldId="4670"/>
            <ac:spMk id="65" creationId="{9D643444-C062-3942-B31D-995A1249D836}"/>
          </ac:spMkLst>
        </pc:spChg>
        <pc:spChg chg="add del">
          <ac:chgData name="Bob Ward" userId="6da7c2dd-8e2e-469f-a216-c384312e2a2d" providerId="ADAL" clId="{CC07BEAC-85A7-44E0-BC28-578FC3DF3703}" dt="2019-02-19T22:52:01.923" v="7945" actId="478"/>
          <ac:spMkLst>
            <pc:docMk/>
            <pc:sldMk cId="2849558357" sldId="4670"/>
            <ac:spMk id="66" creationId="{0C974F9C-50C2-F84C-BA52-9C4D10929426}"/>
          </ac:spMkLst>
        </pc:spChg>
        <pc:spChg chg="add del">
          <ac:chgData name="Bob Ward" userId="6da7c2dd-8e2e-469f-a216-c384312e2a2d" providerId="ADAL" clId="{CC07BEAC-85A7-44E0-BC28-578FC3DF3703}" dt="2019-02-19T22:52:01.923" v="7945" actId="478"/>
          <ac:spMkLst>
            <pc:docMk/>
            <pc:sldMk cId="2849558357" sldId="4670"/>
            <ac:spMk id="71" creationId="{85C93B3F-59B0-7F47-B21E-0434E54B4CDE}"/>
          </ac:spMkLst>
        </pc:spChg>
        <pc:spChg chg="add del">
          <ac:chgData name="Bob Ward" userId="6da7c2dd-8e2e-469f-a216-c384312e2a2d" providerId="ADAL" clId="{CC07BEAC-85A7-44E0-BC28-578FC3DF3703}" dt="2019-02-19T22:52:01.923" v="7945" actId="478"/>
          <ac:spMkLst>
            <pc:docMk/>
            <pc:sldMk cId="2849558357" sldId="4670"/>
            <ac:spMk id="72" creationId="{90CDF9AE-15BC-0B4E-84F6-26A71F973436}"/>
          </ac:spMkLst>
        </pc:spChg>
        <pc:spChg chg="add del">
          <ac:chgData name="Bob Ward" userId="6da7c2dd-8e2e-469f-a216-c384312e2a2d" providerId="ADAL" clId="{CC07BEAC-85A7-44E0-BC28-578FC3DF3703}" dt="2019-02-19T22:52:01.923" v="7945" actId="478"/>
          <ac:spMkLst>
            <pc:docMk/>
            <pc:sldMk cId="2849558357" sldId="4670"/>
            <ac:spMk id="73" creationId="{73302909-689D-AB48-9148-37284FF22EB8}"/>
          </ac:spMkLst>
        </pc:spChg>
        <pc:spChg chg="add del">
          <ac:chgData name="Bob Ward" userId="6da7c2dd-8e2e-469f-a216-c384312e2a2d" providerId="ADAL" clId="{CC07BEAC-85A7-44E0-BC28-578FC3DF3703}" dt="2019-02-19T22:52:01.923" v="7945" actId="478"/>
          <ac:spMkLst>
            <pc:docMk/>
            <pc:sldMk cId="2849558357" sldId="4670"/>
            <ac:spMk id="74" creationId="{599BE885-3CE4-E042-9F10-DEADD0FB7159}"/>
          </ac:spMkLst>
        </pc:spChg>
        <pc:spChg chg="add del">
          <ac:chgData name="Bob Ward" userId="6da7c2dd-8e2e-469f-a216-c384312e2a2d" providerId="ADAL" clId="{CC07BEAC-85A7-44E0-BC28-578FC3DF3703}" dt="2019-02-19T22:52:01.923" v="7945" actId="478"/>
          <ac:spMkLst>
            <pc:docMk/>
            <pc:sldMk cId="2849558357" sldId="4670"/>
            <ac:spMk id="75" creationId="{906227A3-E954-4244-BE63-3DD4E8E3464F}"/>
          </ac:spMkLst>
        </pc:spChg>
        <pc:spChg chg="add del">
          <ac:chgData name="Bob Ward" userId="6da7c2dd-8e2e-469f-a216-c384312e2a2d" providerId="ADAL" clId="{CC07BEAC-85A7-44E0-BC28-578FC3DF3703}" dt="2019-02-19T22:52:01.923" v="7945" actId="478"/>
          <ac:spMkLst>
            <pc:docMk/>
            <pc:sldMk cId="2849558357" sldId="4670"/>
            <ac:spMk id="78" creationId="{450F06FE-8FEB-FD44-9175-57533EC4B178}"/>
          </ac:spMkLst>
        </pc:spChg>
        <pc:spChg chg="add del">
          <ac:chgData name="Bob Ward" userId="6da7c2dd-8e2e-469f-a216-c384312e2a2d" providerId="ADAL" clId="{CC07BEAC-85A7-44E0-BC28-578FC3DF3703}" dt="2019-02-19T22:52:01.923" v="7945" actId="478"/>
          <ac:spMkLst>
            <pc:docMk/>
            <pc:sldMk cId="2849558357" sldId="4670"/>
            <ac:spMk id="79" creationId="{4CEF4F96-B143-1E40-9F8D-D55DE4C41A19}"/>
          </ac:spMkLst>
        </pc:spChg>
        <pc:spChg chg="add del">
          <ac:chgData name="Bob Ward" userId="6da7c2dd-8e2e-469f-a216-c384312e2a2d" providerId="ADAL" clId="{CC07BEAC-85A7-44E0-BC28-578FC3DF3703}" dt="2019-02-19T22:52:01.923" v="7945" actId="478"/>
          <ac:spMkLst>
            <pc:docMk/>
            <pc:sldMk cId="2849558357" sldId="4670"/>
            <ac:spMk id="80" creationId="{7B7153A3-CF75-DB4A-96C9-ECCAECF79530}"/>
          </ac:spMkLst>
        </pc:spChg>
        <pc:spChg chg="add del">
          <ac:chgData name="Bob Ward" userId="6da7c2dd-8e2e-469f-a216-c384312e2a2d" providerId="ADAL" clId="{CC07BEAC-85A7-44E0-BC28-578FC3DF3703}" dt="2019-02-19T22:52:01.923" v="7945" actId="478"/>
          <ac:spMkLst>
            <pc:docMk/>
            <pc:sldMk cId="2849558357" sldId="4670"/>
            <ac:spMk id="81" creationId="{C11387B4-5E8D-AC40-B606-E4B521C5F301}"/>
          </ac:spMkLst>
        </pc:spChg>
        <pc:spChg chg="add del">
          <ac:chgData name="Bob Ward" userId="6da7c2dd-8e2e-469f-a216-c384312e2a2d" providerId="ADAL" clId="{CC07BEAC-85A7-44E0-BC28-578FC3DF3703}" dt="2019-02-19T22:52:01.923" v="7945" actId="478"/>
          <ac:spMkLst>
            <pc:docMk/>
            <pc:sldMk cId="2849558357" sldId="4670"/>
            <ac:spMk id="82" creationId="{7424CBBF-DEAB-694E-AA24-3BC0689B4A47}"/>
          </ac:spMkLst>
        </pc:spChg>
        <pc:spChg chg="add del">
          <ac:chgData name="Bob Ward" userId="6da7c2dd-8e2e-469f-a216-c384312e2a2d" providerId="ADAL" clId="{CC07BEAC-85A7-44E0-BC28-578FC3DF3703}" dt="2019-02-19T22:52:01.923" v="7945" actId="478"/>
          <ac:spMkLst>
            <pc:docMk/>
            <pc:sldMk cId="2849558357" sldId="4670"/>
            <ac:spMk id="83" creationId="{566738C9-E1BD-48CB-9987-6EDE32E0C229}"/>
          </ac:spMkLst>
        </pc:spChg>
        <pc:spChg chg="add del">
          <ac:chgData name="Bob Ward" userId="6da7c2dd-8e2e-469f-a216-c384312e2a2d" providerId="ADAL" clId="{CC07BEAC-85A7-44E0-BC28-578FC3DF3703}" dt="2019-02-19T22:52:01.923" v="7945" actId="478"/>
          <ac:spMkLst>
            <pc:docMk/>
            <pc:sldMk cId="2849558357" sldId="4670"/>
            <ac:spMk id="85" creationId="{EC662379-BF93-4C2B-887E-1EB0293C0DAE}"/>
          </ac:spMkLst>
        </pc:spChg>
        <pc:spChg chg="add del">
          <ac:chgData name="Bob Ward" userId="6da7c2dd-8e2e-469f-a216-c384312e2a2d" providerId="ADAL" clId="{CC07BEAC-85A7-44E0-BC28-578FC3DF3703}" dt="2019-02-19T22:52:01.923" v="7945" actId="478"/>
          <ac:spMkLst>
            <pc:docMk/>
            <pc:sldMk cId="2849558357" sldId="4670"/>
            <ac:spMk id="89" creationId="{41AF4ABE-F05A-4693-A474-D881230B68F0}"/>
          </ac:spMkLst>
        </pc:spChg>
        <pc:grpChg chg="add del">
          <ac:chgData name="Bob Ward" userId="6da7c2dd-8e2e-469f-a216-c384312e2a2d" providerId="ADAL" clId="{CC07BEAC-85A7-44E0-BC28-578FC3DF3703}" dt="2019-02-19T22:52:01.923" v="7945" actId="478"/>
          <ac:grpSpMkLst>
            <pc:docMk/>
            <pc:sldMk cId="2849558357" sldId="4670"/>
            <ac:grpSpMk id="57" creationId="{9E6DDDEF-F4F0-BD4E-9C19-8E856A54DBCD}"/>
          </ac:grpSpMkLst>
        </pc:grpChg>
        <pc:grpChg chg="add del">
          <ac:chgData name="Bob Ward" userId="6da7c2dd-8e2e-469f-a216-c384312e2a2d" providerId="ADAL" clId="{CC07BEAC-85A7-44E0-BC28-578FC3DF3703}" dt="2019-02-19T22:52:01.923" v="7945" actId="478"/>
          <ac:grpSpMkLst>
            <pc:docMk/>
            <pc:sldMk cId="2849558357" sldId="4670"/>
            <ac:grpSpMk id="58" creationId="{602F9412-A8A4-4510-8D0F-8A770C952F79}"/>
          </ac:grpSpMkLst>
        </pc:grpChg>
        <pc:grpChg chg="add del">
          <ac:chgData name="Bob Ward" userId="6da7c2dd-8e2e-469f-a216-c384312e2a2d" providerId="ADAL" clId="{CC07BEAC-85A7-44E0-BC28-578FC3DF3703}" dt="2019-02-19T22:52:01.923" v="7945" actId="478"/>
          <ac:grpSpMkLst>
            <pc:docMk/>
            <pc:sldMk cId="2849558357" sldId="4670"/>
            <ac:grpSpMk id="70" creationId="{916411EB-E209-4DBD-A89C-2D1443FADC11}"/>
          </ac:grpSpMkLst>
        </pc:grpChg>
        <pc:grpChg chg="add del">
          <ac:chgData name="Bob Ward" userId="6da7c2dd-8e2e-469f-a216-c384312e2a2d" providerId="ADAL" clId="{CC07BEAC-85A7-44E0-BC28-578FC3DF3703}" dt="2019-02-19T22:52:01.923" v="7945" actId="478"/>
          <ac:grpSpMkLst>
            <pc:docMk/>
            <pc:sldMk cId="2849558357" sldId="4670"/>
            <ac:grpSpMk id="141" creationId="{39AEC6FD-3DA7-43D2-A757-0FE4DC11CB37}"/>
          </ac:grpSpMkLst>
        </pc:grpChg>
        <pc:grpChg chg="add del">
          <ac:chgData name="Bob Ward" userId="6da7c2dd-8e2e-469f-a216-c384312e2a2d" providerId="ADAL" clId="{CC07BEAC-85A7-44E0-BC28-578FC3DF3703}" dt="2019-02-19T22:52:01.923" v="7945" actId="478"/>
          <ac:grpSpMkLst>
            <pc:docMk/>
            <pc:sldMk cId="2849558357" sldId="4670"/>
            <ac:grpSpMk id="142" creationId="{B2D4E7EF-FF68-461C-9664-A153C298CC21}"/>
          </ac:grpSpMkLst>
        </pc:grpChg>
        <pc:cxnChg chg="add del mod">
          <ac:chgData name="Bob Ward" userId="6da7c2dd-8e2e-469f-a216-c384312e2a2d" providerId="ADAL" clId="{CC07BEAC-85A7-44E0-BC28-578FC3DF3703}" dt="2019-02-19T22:52:01.923" v="7945" actId="478"/>
          <ac:cxnSpMkLst>
            <pc:docMk/>
            <pc:sldMk cId="2849558357" sldId="4670"/>
            <ac:cxnSpMk id="25" creationId="{1A42EA53-AD29-4FFB-ACFF-58C8A657938F}"/>
          </ac:cxnSpMkLst>
        </pc:cxnChg>
        <pc:cxnChg chg="add del mod">
          <ac:chgData name="Bob Ward" userId="6da7c2dd-8e2e-469f-a216-c384312e2a2d" providerId="ADAL" clId="{CC07BEAC-85A7-44E0-BC28-578FC3DF3703}" dt="2019-02-19T22:52:01.923" v="7945" actId="478"/>
          <ac:cxnSpMkLst>
            <pc:docMk/>
            <pc:sldMk cId="2849558357" sldId="4670"/>
            <ac:cxnSpMk id="40" creationId="{F2CEFD97-E100-2344-8D11-ED84C72D9AF4}"/>
          </ac:cxnSpMkLst>
        </pc:cxnChg>
        <pc:cxnChg chg="add del">
          <ac:chgData name="Bob Ward" userId="6da7c2dd-8e2e-469f-a216-c384312e2a2d" providerId="ADAL" clId="{CC07BEAC-85A7-44E0-BC28-578FC3DF3703}" dt="2019-02-19T22:52:01.923" v="7945" actId="478"/>
          <ac:cxnSpMkLst>
            <pc:docMk/>
            <pc:sldMk cId="2849558357" sldId="4670"/>
            <ac:cxnSpMk id="42" creationId="{BD72A5ED-6366-D54F-AFCC-D1E91173A896}"/>
          </ac:cxnSpMkLst>
        </pc:cxnChg>
        <pc:cxnChg chg="add del">
          <ac:chgData name="Bob Ward" userId="6da7c2dd-8e2e-469f-a216-c384312e2a2d" providerId="ADAL" clId="{CC07BEAC-85A7-44E0-BC28-578FC3DF3703}" dt="2019-02-19T22:52:01.923" v="7945" actId="478"/>
          <ac:cxnSpMkLst>
            <pc:docMk/>
            <pc:sldMk cId="2849558357" sldId="4670"/>
            <ac:cxnSpMk id="44" creationId="{8B580124-ECA6-9349-A9E9-C1A5233E3184}"/>
          </ac:cxnSpMkLst>
        </pc:cxnChg>
        <pc:cxnChg chg="add del mod">
          <ac:chgData name="Bob Ward" userId="6da7c2dd-8e2e-469f-a216-c384312e2a2d" providerId="ADAL" clId="{CC07BEAC-85A7-44E0-BC28-578FC3DF3703}" dt="2019-02-19T22:52:01.923" v="7945" actId="478"/>
          <ac:cxnSpMkLst>
            <pc:docMk/>
            <pc:sldMk cId="2849558357" sldId="4670"/>
            <ac:cxnSpMk id="45" creationId="{71BB703E-EBB5-9D44-B0EC-054915C2FE64}"/>
          </ac:cxnSpMkLst>
        </pc:cxnChg>
        <pc:cxnChg chg="add del mod">
          <ac:chgData name="Bob Ward" userId="6da7c2dd-8e2e-469f-a216-c384312e2a2d" providerId="ADAL" clId="{CC07BEAC-85A7-44E0-BC28-578FC3DF3703}" dt="2019-02-19T22:52:01.923" v="7945" actId="478"/>
          <ac:cxnSpMkLst>
            <pc:docMk/>
            <pc:sldMk cId="2849558357" sldId="4670"/>
            <ac:cxnSpMk id="59" creationId="{4298A196-1D94-4F61-BC74-8A41809BA852}"/>
          </ac:cxnSpMkLst>
        </pc:cxnChg>
        <pc:cxnChg chg="add del mod">
          <ac:chgData name="Bob Ward" userId="6da7c2dd-8e2e-469f-a216-c384312e2a2d" providerId="ADAL" clId="{CC07BEAC-85A7-44E0-BC28-578FC3DF3703}" dt="2019-02-19T22:52:01.923" v="7945" actId="478"/>
          <ac:cxnSpMkLst>
            <pc:docMk/>
            <pc:sldMk cId="2849558357" sldId="4670"/>
            <ac:cxnSpMk id="76" creationId="{EDB4966A-25C5-4B5C-8174-E7E23A83CA92}"/>
          </ac:cxnSpMkLst>
        </pc:cxnChg>
        <pc:cxnChg chg="add del mod">
          <ac:chgData name="Bob Ward" userId="6da7c2dd-8e2e-469f-a216-c384312e2a2d" providerId="ADAL" clId="{CC07BEAC-85A7-44E0-BC28-578FC3DF3703}" dt="2019-02-19T22:52:01.923" v="7945" actId="478"/>
          <ac:cxnSpMkLst>
            <pc:docMk/>
            <pc:sldMk cId="2849558357" sldId="4670"/>
            <ac:cxnSpMk id="97" creationId="{29CE2F97-D213-C440-92EE-EA41762568CD}"/>
          </ac:cxnSpMkLst>
        </pc:cxnChg>
        <pc:cxnChg chg="mod">
          <ac:chgData name="Bob Ward" userId="6da7c2dd-8e2e-469f-a216-c384312e2a2d" providerId="ADAL" clId="{CC07BEAC-85A7-44E0-BC28-578FC3DF3703}" dt="2019-02-19T22:52:01.923" v="7945" actId="478"/>
          <ac:cxnSpMkLst>
            <pc:docMk/>
            <pc:sldMk cId="2849558357" sldId="4670"/>
            <ac:cxnSpMk id="114" creationId="{CBC3401E-A63A-4E8A-8745-2D93F37AFF0D}"/>
          </ac:cxnSpMkLst>
        </pc:cxnChg>
      </pc:sldChg>
      <pc:sldChg chg="modSp add del modNotesTx">
        <pc:chgData name="Bob Ward" userId="6da7c2dd-8e2e-469f-a216-c384312e2a2d" providerId="ADAL" clId="{CC07BEAC-85A7-44E0-BC28-578FC3DF3703}" dt="2019-02-21T19:26:09.796" v="17069" actId="20577"/>
        <pc:sldMkLst>
          <pc:docMk/>
          <pc:sldMk cId="462353666" sldId="4671"/>
        </pc:sldMkLst>
        <pc:spChg chg="mod">
          <ac:chgData name="Bob Ward" userId="6da7c2dd-8e2e-469f-a216-c384312e2a2d" providerId="ADAL" clId="{CC07BEAC-85A7-44E0-BC28-578FC3DF3703}" dt="2019-02-13T20:39:54.393" v="2911" actId="20577"/>
          <ac:spMkLst>
            <pc:docMk/>
            <pc:sldMk cId="462353666" sldId="4671"/>
            <ac:spMk id="4" creationId="{3FD460F1-8934-4D85-9E6B-F2F97B124D32}"/>
          </ac:spMkLst>
        </pc:spChg>
      </pc:sldChg>
      <pc:sldChg chg="modNotesTx">
        <pc:chgData name="Bob Ward" userId="6da7c2dd-8e2e-469f-a216-c384312e2a2d" providerId="ADAL" clId="{CC07BEAC-85A7-44E0-BC28-578FC3DF3703}" dt="2019-02-21T19:20:01.380" v="16637" actId="6549"/>
        <pc:sldMkLst>
          <pc:docMk/>
          <pc:sldMk cId="3986034393" sldId="4672"/>
        </pc:sldMkLst>
      </pc:sldChg>
      <pc:sldChg chg="modSp ord modNotesTx">
        <pc:chgData name="Bob Ward" userId="6da7c2dd-8e2e-469f-a216-c384312e2a2d" providerId="ADAL" clId="{CC07BEAC-85A7-44E0-BC28-578FC3DF3703}" dt="2019-02-21T03:05:13.899" v="13429" actId="6549"/>
        <pc:sldMkLst>
          <pc:docMk/>
          <pc:sldMk cId="4126442811" sldId="4673"/>
        </pc:sldMkLst>
        <pc:spChg chg="mod">
          <ac:chgData name="Bob Ward" userId="6da7c2dd-8e2e-469f-a216-c384312e2a2d" providerId="ADAL" clId="{CC07BEAC-85A7-44E0-BC28-578FC3DF3703}" dt="2019-02-13T21:41:42.287" v="3753" actId="20577"/>
          <ac:spMkLst>
            <pc:docMk/>
            <pc:sldMk cId="4126442811" sldId="4673"/>
            <ac:spMk id="2" creationId="{131DE104-D85B-43D4-AC99-58903696A798}"/>
          </ac:spMkLst>
        </pc:spChg>
      </pc:sldChg>
      <pc:sldChg chg="modSp">
        <pc:chgData name="Bob Ward" userId="6da7c2dd-8e2e-469f-a216-c384312e2a2d" providerId="ADAL" clId="{CC07BEAC-85A7-44E0-BC28-578FC3DF3703}" dt="2019-02-13T20:42:25.648" v="2915" actId="20577"/>
        <pc:sldMkLst>
          <pc:docMk/>
          <pc:sldMk cId="1126219469" sldId="4674"/>
        </pc:sldMkLst>
        <pc:spChg chg="mod">
          <ac:chgData name="Bob Ward" userId="6da7c2dd-8e2e-469f-a216-c384312e2a2d" providerId="ADAL" clId="{CC07BEAC-85A7-44E0-BC28-578FC3DF3703}" dt="2019-02-13T20:42:25.648" v="2915" actId="20577"/>
          <ac:spMkLst>
            <pc:docMk/>
            <pc:sldMk cId="1126219469" sldId="4674"/>
            <ac:spMk id="2" creationId="{131DE104-D85B-43D4-AC99-58903696A798}"/>
          </ac:spMkLst>
        </pc:spChg>
      </pc:sldChg>
      <pc:sldChg chg="modSp">
        <pc:chgData name="Bob Ward" userId="6da7c2dd-8e2e-469f-a216-c384312e2a2d" providerId="ADAL" clId="{CC07BEAC-85A7-44E0-BC28-578FC3DF3703}" dt="2019-02-13T21:30:10.196" v="2996" actId="6549"/>
        <pc:sldMkLst>
          <pc:docMk/>
          <pc:sldMk cId="1489928992" sldId="4675"/>
        </pc:sldMkLst>
        <pc:spChg chg="mod">
          <ac:chgData name="Bob Ward" userId="6da7c2dd-8e2e-469f-a216-c384312e2a2d" providerId="ADAL" clId="{CC07BEAC-85A7-44E0-BC28-578FC3DF3703}" dt="2019-02-13T21:30:10.196" v="2996" actId="6549"/>
          <ac:spMkLst>
            <pc:docMk/>
            <pc:sldMk cId="1489928992" sldId="4675"/>
            <ac:spMk id="2" creationId="{131DE104-D85B-43D4-AC99-58903696A798}"/>
          </ac:spMkLst>
        </pc:spChg>
      </pc:sldChg>
      <pc:sldChg chg="modSp">
        <pc:chgData name="Bob Ward" userId="6da7c2dd-8e2e-469f-a216-c384312e2a2d" providerId="ADAL" clId="{CC07BEAC-85A7-44E0-BC28-578FC3DF3703}" dt="2019-02-13T21:37:02.869" v="3120" actId="20577"/>
        <pc:sldMkLst>
          <pc:docMk/>
          <pc:sldMk cId="2723179339" sldId="4676"/>
        </pc:sldMkLst>
        <pc:spChg chg="mod">
          <ac:chgData name="Bob Ward" userId="6da7c2dd-8e2e-469f-a216-c384312e2a2d" providerId="ADAL" clId="{CC07BEAC-85A7-44E0-BC28-578FC3DF3703}" dt="2019-02-13T21:37:02.869" v="3120" actId="20577"/>
          <ac:spMkLst>
            <pc:docMk/>
            <pc:sldMk cId="2723179339" sldId="4676"/>
            <ac:spMk id="2" creationId="{131DE104-D85B-43D4-AC99-58903696A798}"/>
          </ac:spMkLst>
        </pc:spChg>
      </pc:sldChg>
      <pc:sldChg chg="modSp">
        <pc:chgData name="Bob Ward" userId="6da7c2dd-8e2e-469f-a216-c384312e2a2d" providerId="ADAL" clId="{CC07BEAC-85A7-44E0-BC28-578FC3DF3703}" dt="2019-02-13T21:39:18.808" v="3460" actId="20577"/>
        <pc:sldMkLst>
          <pc:docMk/>
          <pc:sldMk cId="3139904282" sldId="4677"/>
        </pc:sldMkLst>
        <pc:spChg chg="mod">
          <ac:chgData name="Bob Ward" userId="6da7c2dd-8e2e-469f-a216-c384312e2a2d" providerId="ADAL" clId="{CC07BEAC-85A7-44E0-BC28-578FC3DF3703}" dt="2019-02-13T21:39:18.808" v="3460" actId="20577"/>
          <ac:spMkLst>
            <pc:docMk/>
            <pc:sldMk cId="3139904282" sldId="4677"/>
            <ac:spMk id="2" creationId="{131DE104-D85B-43D4-AC99-58903696A798}"/>
          </ac:spMkLst>
        </pc:spChg>
      </pc:sldChg>
      <pc:sldChg chg="modSp">
        <pc:chgData name="Bob Ward" userId="6da7c2dd-8e2e-469f-a216-c384312e2a2d" providerId="ADAL" clId="{CC07BEAC-85A7-44E0-BC28-578FC3DF3703}" dt="2019-02-13T21:41:11.269" v="3709" actId="6549"/>
        <pc:sldMkLst>
          <pc:docMk/>
          <pc:sldMk cId="2957100619" sldId="4678"/>
        </pc:sldMkLst>
        <pc:spChg chg="mod">
          <ac:chgData name="Bob Ward" userId="6da7c2dd-8e2e-469f-a216-c384312e2a2d" providerId="ADAL" clId="{CC07BEAC-85A7-44E0-BC28-578FC3DF3703}" dt="2019-02-13T21:41:11.269" v="3709" actId="6549"/>
          <ac:spMkLst>
            <pc:docMk/>
            <pc:sldMk cId="2957100619" sldId="4678"/>
            <ac:spMk id="2" creationId="{131DE104-D85B-43D4-AC99-58903696A798}"/>
          </ac:spMkLst>
        </pc:spChg>
      </pc:sldChg>
      <pc:sldChg chg="modSp">
        <pc:chgData name="Bob Ward" userId="6da7c2dd-8e2e-469f-a216-c384312e2a2d" providerId="ADAL" clId="{CC07BEAC-85A7-44E0-BC28-578FC3DF3703}" dt="2019-02-14T00:01:06.219" v="5854" actId="20577"/>
        <pc:sldMkLst>
          <pc:docMk/>
          <pc:sldMk cId="1195019611" sldId="4679"/>
        </pc:sldMkLst>
        <pc:spChg chg="mod">
          <ac:chgData name="Bob Ward" userId="6da7c2dd-8e2e-469f-a216-c384312e2a2d" providerId="ADAL" clId="{CC07BEAC-85A7-44E0-BC28-578FC3DF3703}" dt="2019-02-14T00:01:06.219" v="5854" actId="20577"/>
          <ac:spMkLst>
            <pc:docMk/>
            <pc:sldMk cId="1195019611" sldId="4679"/>
            <ac:spMk id="2" creationId="{131DE104-D85B-43D4-AC99-58903696A798}"/>
          </ac:spMkLst>
        </pc:spChg>
      </pc:sldChg>
      <pc:sldChg chg="modSp modNotesTx">
        <pc:chgData name="Bob Ward" userId="6da7c2dd-8e2e-469f-a216-c384312e2a2d" providerId="ADAL" clId="{CC07BEAC-85A7-44E0-BC28-578FC3DF3703}" dt="2019-02-23T19:57:56.676" v="18464" actId="20577"/>
        <pc:sldMkLst>
          <pc:docMk/>
          <pc:sldMk cId="737723831" sldId="4680"/>
        </pc:sldMkLst>
        <pc:spChg chg="mod">
          <ac:chgData name="Bob Ward" userId="6da7c2dd-8e2e-469f-a216-c384312e2a2d" providerId="ADAL" clId="{CC07BEAC-85A7-44E0-BC28-578FC3DF3703}" dt="2019-02-22T01:45:35.867" v="17121" actId="20577"/>
          <ac:spMkLst>
            <pc:docMk/>
            <pc:sldMk cId="737723831" sldId="4680"/>
            <ac:spMk id="3" creationId="{00000000-0000-0000-0000-000000000000}"/>
          </ac:spMkLst>
        </pc:spChg>
        <pc:spChg chg="mod">
          <ac:chgData name="Bob Ward" userId="6da7c2dd-8e2e-469f-a216-c384312e2a2d" providerId="ADAL" clId="{CC07BEAC-85A7-44E0-BC28-578FC3DF3703}" dt="2019-02-19T22:24:33.710" v="7448" actId="20577"/>
          <ac:spMkLst>
            <pc:docMk/>
            <pc:sldMk cId="737723831" sldId="4680"/>
            <ac:spMk id="4" creationId="{00000000-0000-0000-0000-000000000000}"/>
          </ac:spMkLst>
        </pc:spChg>
      </pc:sldChg>
      <pc:sldChg chg="modSp modNotesTx">
        <pc:chgData name="Bob Ward" userId="6da7c2dd-8e2e-469f-a216-c384312e2a2d" providerId="ADAL" clId="{CC07BEAC-85A7-44E0-BC28-578FC3DF3703}" dt="2019-02-23T19:58:20.702" v="18491" actId="20577"/>
        <pc:sldMkLst>
          <pc:docMk/>
          <pc:sldMk cId="3844499360" sldId="4681"/>
        </pc:sldMkLst>
        <pc:spChg chg="mod">
          <ac:chgData name="Bob Ward" userId="6da7c2dd-8e2e-469f-a216-c384312e2a2d" providerId="ADAL" clId="{CC07BEAC-85A7-44E0-BC28-578FC3DF3703}" dt="2019-02-22T02:04:43.321" v="17150" actId="20577"/>
          <ac:spMkLst>
            <pc:docMk/>
            <pc:sldMk cId="3844499360" sldId="4681"/>
            <ac:spMk id="3" creationId="{00000000-0000-0000-0000-000000000000}"/>
          </ac:spMkLst>
        </pc:spChg>
        <pc:spChg chg="mod">
          <ac:chgData name="Bob Ward" userId="6da7c2dd-8e2e-469f-a216-c384312e2a2d" providerId="ADAL" clId="{CC07BEAC-85A7-44E0-BC28-578FC3DF3703}" dt="2019-02-21T04:32:20.215" v="15177" actId="20577"/>
          <ac:spMkLst>
            <pc:docMk/>
            <pc:sldMk cId="3844499360" sldId="4681"/>
            <ac:spMk id="4" creationId="{00000000-0000-0000-0000-000000000000}"/>
          </ac:spMkLst>
        </pc:spChg>
      </pc:sldChg>
      <pc:sldChg chg="modSp ord modNotesTx">
        <pc:chgData name="Bob Ward" userId="6da7c2dd-8e2e-469f-a216-c384312e2a2d" providerId="ADAL" clId="{CC07BEAC-85A7-44E0-BC28-578FC3DF3703}" dt="2019-02-23T19:59:11.562" v="18550" actId="20577"/>
        <pc:sldMkLst>
          <pc:docMk/>
          <pc:sldMk cId="1846894708" sldId="4682"/>
        </pc:sldMkLst>
        <pc:spChg chg="mod">
          <ac:chgData name="Bob Ward" userId="6da7c2dd-8e2e-469f-a216-c384312e2a2d" providerId="ADAL" clId="{CC07BEAC-85A7-44E0-BC28-578FC3DF3703}" dt="2019-02-21T03:09:33.786" v="13529" actId="20577"/>
          <ac:spMkLst>
            <pc:docMk/>
            <pc:sldMk cId="1846894708" sldId="4682"/>
            <ac:spMk id="3" creationId="{00000000-0000-0000-0000-000000000000}"/>
          </ac:spMkLst>
        </pc:spChg>
        <pc:spChg chg="mod">
          <ac:chgData name="Bob Ward" userId="6da7c2dd-8e2e-469f-a216-c384312e2a2d" providerId="ADAL" clId="{CC07BEAC-85A7-44E0-BC28-578FC3DF3703}" dt="2019-02-23T19:53:17.722" v="18394" actId="20577"/>
          <ac:spMkLst>
            <pc:docMk/>
            <pc:sldMk cId="1846894708" sldId="4682"/>
            <ac:spMk id="4" creationId="{00000000-0000-0000-0000-000000000000}"/>
          </ac:spMkLst>
        </pc:spChg>
      </pc:sldChg>
      <pc:sldChg chg="modSp ord modNotesTx">
        <pc:chgData name="Bob Ward" userId="6da7c2dd-8e2e-469f-a216-c384312e2a2d" providerId="ADAL" clId="{CC07BEAC-85A7-44E0-BC28-578FC3DF3703}" dt="2019-02-23T19:59:31.340" v="18580" actId="20577"/>
        <pc:sldMkLst>
          <pc:docMk/>
          <pc:sldMk cId="3046267396" sldId="4683"/>
        </pc:sldMkLst>
        <pc:spChg chg="mod">
          <ac:chgData name="Bob Ward" userId="6da7c2dd-8e2e-469f-a216-c384312e2a2d" providerId="ADAL" clId="{CC07BEAC-85A7-44E0-BC28-578FC3DF3703}" dt="2019-02-21T03:09:49.947" v="13544" actId="20577"/>
          <ac:spMkLst>
            <pc:docMk/>
            <pc:sldMk cId="3046267396" sldId="4683"/>
            <ac:spMk id="3" creationId="{00000000-0000-0000-0000-000000000000}"/>
          </ac:spMkLst>
        </pc:spChg>
        <pc:spChg chg="mod">
          <ac:chgData name="Bob Ward" userId="6da7c2dd-8e2e-469f-a216-c384312e2a2d" providerId="ADAL" clId="{CC07BEAC-85A7-44E0-BC28-578FC3DF3703}" dt="2019-02-13T23:57:38.809" v="5592" actId="20577"/>
          <ac:spMkLst>
            <pc:docMk/>
            <pc:sldMk cId="3046267396" sldId="4683"/>
            <ac:spMk id="4" creationId="{00000000-0000-0000-0000-000000000000}"/>
          </ac:spMkLst>
        </pc:spChg>
      </pc:sldChg>
      <pc:sldChg chg="modSp add">
        <pc:chgData name="Bob Ward" userId="6da7c2dd-8e2e-469f-a216-c384312e2a2d" providerId="ADAL" clId="{CC07BEAC-85A7-44E0-BC28-578FC3DF3703}" dt="2019-01-21T15:20:50.133" v="358" actId="20577"/>
        <pc:sldMkLst>
          <pc:docMk/>
          <pc:sldMk cId="1938735402" sldId="4684"/>
        </pc:sldMkLst>
        <pc:spChg chg="mod">
          <ac:chgData name="Bob Ward" userId="6da7c2dd-8e2e-469f-a216-c384312e2a2d" providerId="ADAL" clId="{CC07BEAC-85A7-44E0-BC28-578FC3DF3703}" dt="2019-01-21T15:20:50.133" v="358" actId="20577"/>
          <ac:spMkLst>
            <pc:docMk/>
            <pc:sldMk cId="1938735402" sldId="4684"/>
            <ac:spMk id="2" creationId="{B2BC7EC9-D939-4A1B-B4EB-4B343A2F07A8}"/>
          </ac:spMkLst>
        </pc:spChg>
      </pc:sldChg>
      <pc:sldChg chg="add del">
        <pc:chgData name="Bob Ward" userId="6da7c2dd-8e2e-469f-a216-c384312e2a2d" providerId="ADAL" clId="{CC07BEAC-85A7-44E0-BC28-578FC3DF3703}" dt="2019-01-21T15:11:29.853" v="199" actId="2696"/>
        <pc:sldMkLst>
          <pc:docMk/>
          <pc:sldMk cId="2459847397" sldId="4684"/>
        </pc:sldMkLst>
      </pc:sldChg>
      <pc:sldChg chg="addSp modSp add">
        <pc:chgData name="Bob Ward" userId="6da7c2dd-8e2e-469f-a216-c384312e2a2d" providerId="ADAL" clId="{CC07BEAC-85A7-44E0-BC28-578FC3DF3703}" dt="2019-02-19T21:14:02.719" v="7142" actId="1076"/>
        <pc:sldMkLst>
          <pc:docMk/>
          <pc:sldMk cId="863116531" sldId="4685"/>
        </pc:sldMkLst>
        <pc:spChg chg="mod">
          <ac:chgData name="Bob Ward" userId="6da7c2dd-8e2e-469f-a216-c384312e2a2d" providerId="ADAL" clId="{CC07BEAC-85A7-44E0-BC28-578FC3DF3703}" dt="2019-02-19T21:14:02.719" v="7142" actId="1076"/>
          <ac:spMkLst>
            <pc:docMk/>
            <pc:sldMk cId="863116531" sldId="4685"/>
            <ac:spMk id="2" creationId="{39DC31C2-8E64-4E6B-BEF4-5E8D510C4D6F}"/>
          </ac:spMkLst>
        </pc:spChg>
        <pc:graphicFrameChg chg="add mod">
          <ac:chgData name="Bob Ward" userId="6da7c2dd-8e2e-469f-a216-c384312e2a2d" providerId="ADAL" clId="{CC07BEAC-85A7-44E0-BC28-578FC3DF3703}" dt="2019-01-21T23:20:08.377" v="1116"/>
          <ac:graphicFrameMkLst>
            <pc:docMk/>
            <pc:sldMk cId="863116531" sldId="4685"/>
            <ac:graphicFrameMk id="4" creationId="{EA9A1CEE-F5DA-407A-8579-C1702D65B552}"/>
          </ac:graphicFrameMkLst>
        </pc:graphicFrameChg>
      </pc:sldChg>
      <pc:sldChg chg="addSp delSp modSp add modAnim">
        <pc:chgData name="Bob Ward" userId="6da7c2dd-8e2e-469f-a216-c384312e2a2d" providerId="ADAL" clId="{CC07BEAC-85A7-44E0-BC28-578FC3DF3703}" dt="2019-02-23T19:47:56.299" v="18322"/>
        <pc:sldMkLst>
          <pc:docMk/>
          <pc:sldMk cId="3314051149" sldId="4686"/>
        </pc:sldMkLst>
        <pc:spChg chg="mod">
          <ac:chgData name="Bob Ward" userId="6da7c2dd-8e2e-469f-a216-c384312e2a2d" providerId="ADAL" clId="{CC07BEAC-85A7-44E0-BC28-578FC3DF3703}" dt="2019-01-22T00:04:22.313" v="1885"/>
          <ac:spMkLst>
            <pc:docMk/>
            <pc:sldMk cId="3314051149" sldId="4686"/>
            <ac:spMk id="3" creationId="{2E481EB0-37E1-4064-8040-44D1585F2EFC}"/>
          </ac:spMkLst>
        </pc:spChg>
        <pc:spChg chg="add mod">
          <ac:chgData name="Bob Ward" userId="6da7c2dd-8e2e-469f-a216-c384312e2a2d" providerId="ADAL" clId="{CC07BEAC-85A7-44E0-BC28-578FC3DF3703}" dt="2019-02-21T04:21:32.425" v="14989" actId="1076"/>
          <ac:spMkLst>
            <pc:docMk/>
            <pc:sldMk cId="3314051149" sldId="4686"/>
            <ac:spMk id="4" creationId="{7CA8DF96-DDDC-4191-80BA-36B5882A9897}"/>
          </ac:spMkLst>
        </pc:spChg>
        <pc:spChg chg="add mod">
          <ac:chgData name="Bob Ward" userId="6da7c2dd-8e2e-469f-a216-c384312e2a2d" providerId="ADAL" clId="{CC07BEAC-85A7-44E0-BC28-578FC3DF3703}" dt="2019-02-21T04:21:06.752" v="14984" actId="1076"/>
          <ac:spMkLst>
            <pc:docMk/>
            <pc:sldMk cId="3314051149" sldId="4686"/>
            <ac:spMk id="6" creationId="{E42D8F96-3F1D-49A2-8E65-4501ABAD3F0E}"/>
          </ac:spMkLst>
        </pc:spChg>
        <pc:graphicFrameChg chg="add del mod">
          <ac:chgData name="Bob Ward" userId="6da7c2dd-8e2e-469f-a216-c384312e2a2d" providerId="ADAL" clId="{CC07BEAC-85A7-44E0-BC28-578FC3DF3703}" dt="2019-02-21T03:50:33.180" v="14862" actId="478"/>
          <ac:graphicFrameMkLst>
            <pc:docMk/>
            <pc:sldMk cId="3314051149" sldId="4686"/>
            <ac:graphicFrameMk id="3" creationId="{C9DC7522-79B4-472C-9460-39A61DC4929F}"/>
          </ac:graphicFrameMkLst>
        </pc:graphicFrameChg>
        <pc:graphicFrameChg chg="add mod">
          <ac:chgData name="Bob Ward" userId="6da7c2dd-8e2e-469f-a216-c384312e2a2d" providerId="ADAL" clId="{CC07BEAC-85A7-44E0-BC28-578FC3DF3703}" dt="2019-02-21T04:21:28.313" v="14988" actId="1076"/>
          <ac:graphicFrameMkLst>
            <pc:docMk/>
            <pc:sldMk cId="3314051149" sldId="4686"/>
            <ac:graphicFrameMk id="5" creationId="{88870884-CE2E-435A-9DD6-8CFCEBE3F9B5}"/>
          </ac:graphicFrameMkLst>
        </pc:graphicFrameChg>
        <pc:graphicFrameChg chg="add del">
          <ac:chgData name="Bob Ward" userId="6da7c2dd-8e2e-469f-a216-c384312e2a2d" providerId="ADAL" clId="{CC07BEAC-85A7-44E0-BC28-578FC3DF3703}" dt="2019-01-22T00:06:08.008" v="1935"/>
          <ac:graphicFrameMkLst>
            <pc:docMk/>
            <pc:sldMk cId="3314051149" sldId="4686"/>
            <ac:graphicFrameMk id="6" creationId="{CC82DB18-A8F9-4C23-997E-D27AE5979B25}"/>
          </ac:graphicFrameMkLst>
        </pc:graphicFrameChg>
        <pc:picChg chg="add mod">
          <ac:chgData name="Bob Ward" userId="6da7c2dd-8e2e-469f-a216-c384312e2a2d" providerId="ADAL" clId="{CC07BEAC-85A7-44E0-BC28-578FC3DF3703}" dt="2019-02-21T04:11:51.033" v="14976" actId="1076"/>
          <ac:picMkLst>
            <pc:docMk/>
            <pc:sldMk cId="3314051149" sldId="4686"/>
            <ac:picMk id="7" creationId="{234D664B-741C-4BEE-9327-FE7E131D31C9}"/>
          </ac:picMkLst>
        </pc:picChg>
      </pc:sldChg>
      <pc:sldChg chg="addSp delSp modSp add modAnim">
        <pc:chgData name="Bob Ward" userId="6da7c2dd-8e2e-469f-a216-c384312e2a2d" providerId="ADAL" clId="{CC07BEAC-85A7-44E0-BC28-578FC3DF3703}" dt="2019-02-24T15:58:44.895" v="18703" actId="1582"/>
        <pc:sldMkLst>
          <pc:docMk/>
          <pc:sldMk cId="43331595" sldId="4687"/>
        </pc:sldMkLst>
        <pc:spChg chg="mod">
          <ac:chgData name="Bob Ward" userId="6da7c2dd-8e2e-469f-a216-c384312e2a2d" providerId="ADAL" clId="{CC07BEAC-85A7-44E0-BC28-578FC3DF3703}" dt="2019-02-22T22:18:40.456" v="17496" actId="1076"/>
          <ac:spMkLst>
            <pc:docMk/>
            <pc:sldMk cId="43331595" sldId="4687"/>
            <ac:spMk id="2" creationId="{3FBE4E4F-F043-4680-BF2D-3F009CF786DA}"/>
          </ac:spMkLst>
        </pc:spChg>
        <pc:spChg chg="del">
          <ac:chgData name="Bob Ward" userId="6da7c2dd-8e2e-469f-a216-c384312e2a2d" providerId="ADAL" clId="{CC07BEAC-85A7-44E0-BC28-578FC3DF3703}" dt="2019-02-21T04:22:18.396" v="15008" actId="478"/>
          <ac:spMkLst>
            <pc:docMk/>
            <pc:sldMk cId="43331595" sldId="4687"/>
            <ac:spMk id="3" creationId="{0B5BFF90-8E1C-44F0-965C-4C6961762E2A}"/>
          </ac:spMkLst>
        </pc:spChg>
        <pc:spChg chg="add del mod">
          <ac:chgData name="Bob Ward" userId="6da7c2dd-8e2e-469f-a216-c384312e2a2d" providerId="ADAL" clId="{CC07BEAC-85A7-44E0-BC28-578FC3DF3703}" dt="2019-02-21T04:22:20.781" v="15009" actId="478"/>
          <ac:spMkLst>
            <pc:docMk/>
            <pc:sldMk cId="43331595" sldId="4687"/>
            <ac:spMk id="5" creationId="{7C8A26FD-09D3-41CE-896C-A4385F222F6A}"/>
          </ac:spMkLst>
        </pc:spChg>
        <pc:spChg chg="add mod">
          <ac:chgData name="Bob Ward" userId="6da7c2dd-8e2e-469f-a216-c384312e2a2d" providerId="ADAL" clId="{CC07BEAC-85A7-44E0-BC28-578FC3DF3703}" dt="2019-02-23T17:58:54.590" v="17525" actId="1076"/>
          <ac:spMkLst>
            <pc:docMk/>
            <pc:sldMk cId="43331595" sldId="4687"/>
            <ac:spMk id="6" creationId="{DFA8BC7B-07E0-46E4-89D7-1D0002121CDC}"/>
          </ac:spMkLst>
        </pc:spChg>
        <pc:spChg chg="add mod">
          <ac:chgData name="Bob Ward" userId="6da7c2dd-8e2e-469f-a216-c384312e2a2d" providerId="ADAL" clId="{CC07BEAC-85A7-44E0-BC28-578FC3DF3703}" dt="2019-02-23T17:57:24.429" v="17507" actId="1076"/>
          <ac:spMkLst>
            <pc:docMk/>
            <pc:sldMk cId="43331595" sldId="4687"/>
            <ac:spMk id="7" creationId="{69F8221C-BE4C-4E6A-B3D4-894DFA162F05}"/>
          </ac:spMkLst>
        </pc:spChg>
        <pc:spChg chg="add mod">
          <ac:chgData name="Bob Ward" userId="6da7c2dd-8e2e-469f-a216-c384312e2a2d" providerId="ADAL" clId="{CC07BEAC-85A7-44E0-BC28-578FC3DF3703}" dt="2019-02-23T17:57:51.114" v="17516" actId="1076"/>
          <ac:spMkLst>
            <pc:docMk/>
            <pc:sldMk cId="43331595" sldId="4687"/>
            <ac:spMk id="8" creationId="{4E217E1E-C86C-49ED-85AF-EC8CB66290DE}"/>
          </ac:spMkLst>
        </pc:spChg>
        <pc:spChg chg="add mod">
          <ac:chgData name="Bob Ward" userId="6da7c2dd-8e2e-469f-a216-c384312e2a2d" providerId="ADAL" clId="{CC07BEAC-85A7-44E0-BC28-578FC3DF3703}" dt="2019-02-23T17:59:31.349" v="17527" actId="207"/>
          <ac:spMkLst>
            <pc:docMk/>
            <pc:sldMk cId="43331595" sldId="4687"/>
            <ac:spMk id="9" creationId="{BB76824A-34D0-4E04-81C2-C9CF52EE5496}"/>
          </ac:spMkLst>
        </pc:spChg>
        <pc:spChg chg="add mod">
          <ac:chgData name="Bob Ward" userId="6da7c2dd-8e2e-469f-a216-c384312e2a2d" providerId="ADAL" clId="{CC07BEAC-85A7-44E0-BC28-578FC3DF3703}" dt="2019-02-23T17:59:31.349" v="17527" actId="207"/>
          <ac:spMkLst>
            <pc:docMk/>
            <pc:sldMk cId="43331595" sldId="4687"/>
            <ac:spMk id="11" creationId="{2878DF6D-3469-424E-B0EA-349C753B684F}"/>
          </ac:spMkLst>
        </pc:spChg>
        <pc:spChg chg="add mod">
          <ac:chgData name="Bob Ward" userId="6da7c2dd-8e2e-469f-a216-c384312e2a2d" providerId="ADAL" clId="{CC07BEAC-85A7-44E0-BC28-578FC3DF3703}" dt="2019-02-22T22:13:47.231" v="17293" actId="20577"/>
          <ac:spMkLst>
            <pc:docMk/>
            <pc:sldMk cId="43331595" sldId="4687"/>
            <ac:spMk id="12" creationId="{338163E6-7809-4A78-BFED-C749FFA4254C}"/>
          </ac:spMkLst>
        </pc:spChg>
        <pc:spChg chg="add mod">
          <ac:chgData name="Bob Ward" userId="6da7c2dd-8e2e-469f-a216-c384312e2a2d" providerId="ADAL" clId="{CC07BEAC-85A7-44E0-BC28-578FC3DF3703}" dt="2019-02-23T18:00:05.047" v="17531" actId="208"/>
          <ac:spMkLst>
            <pc:docMk/>
            <pc:sldMk cId="43331595" sldId="4687"/>
            <ac:spMk id="17" creationId="{87BCCC90-CA43-4303-89C6-DA22DC59C3EB}"/>
          </ac:spMkLst>
        </pc:spChg>
        <pc:spChg chg="add mod">
          <ac:chgData name="Bob Ward" userId="6da7c2dd-8e2e-469f-a216-c384312e2a2d" providerId="ADAL" clId="{CC07BEAC-85A7-44E0-BC28-578FC3DF3703}" dt="2019-02-23T18:00:08.812" v="17532" actId="208"/>
          <ac:spMkLst>
            <pc:docMk/>
            <pc:sldMk cId="43331595" sldId="4687"/>
            <ac:spMk id="18" creationId="{6F9992A8-8DED-470C-83EE-0ED241B93C74}"/>
          </ac:spMkLst>
        </pc:spChg>
        <pc:spChg chg="add mod">
          <ac:chgData name="Bob Ward" userId="6da7c2dd-8e2e-469f-a216-c384312e2a2d" providerId="ADAL" clId="{CC07BEAC-85A7-44E0-BC28-578FC3DF3703}" dt="2019-02-22T22:13:56.155" v="17309" actId="1076"/>
          <ac:spMkLst>
            <pc:docMk/>
            <pc:sldMk cId="43331595" sldId="4687"/>
            <ac:spMk id="20" creationId="{E11030E0-AE92-458D-80D7-0B92A6756540}"/>
          </ac:spMkLst>
        </pc:spChg>
        <pc:spChg chg="add mod">
          <ac:chgData name="Bob Ward" userId="6da7c2dd-8e2e-469f-a216-c384312e2a2d" providerId="ADAL" clId="{CC07BEAC-85A7-44E0-BC28-578FC3DF3703}" dt="2019-02-23T17:59:39.869" v="17528" actId="207"/>
          <ac:spMkLst>
            <pc:docMk/>
            <pc:sldMk cId="43331595" sldId="4687"/>
            <ac:spMk id="22" creationId="{9627208B-ABC6-4545-8F9E-3AA594DAD941}"/>
          </ac:spMkLst>
        </pc:spChg>
        <pc:spChg chg="add del mod">
          <ac:chgData name="Bob Ward" userId="6da7c2dd-8e2e-469f-a216-c384312e2a2d" providerId="ADAL" clId="{CC07BEAC-85A7-44E0-BC28-578FC3DF3703}" dt="2019-02-22T22:15:43.204" v="17430" actId="478"/>
          <ac:spMkLst>
            <pc:docMk/>
            <pc:sldMk cId="43331595" sldId="4687"/>
            <ac:spMk id="23" creationId="{4D73AE4E-E901-473E-8DDE-07C1D77C76B9}"/>
          </ac:spMkLst>
        </pc:spChg>
        <pc:spChg chg="add mod">
          <ac:chgData name="Bob Ward" userId="6da7c2dd-8e2e-469f-a216-c384312e2a2d" providerId="ADAL" clId="{CC07BEAC-85A7-44E0-BC28-578FC3DF3703}" dt="2019-02-23T17:59:39.869" v="17528" actId="207"/>
          <ac:spMkLst>
            <pc:docMk/>
            <pc:sldMk cId="43331595" sldId="4687"/>
            <ac:spMk id="24" creationId="{101F376A-ED84-42CC-B886-F3FB9FF224EA}"/>
          </ac:spMkLst>
        </pc:spChg>
        <pc:spChg chg="add mod">
          <ac:chgData name="Bob Ward" userId="6da7c2dd-8e2e-469f-a216-c384312e2a2d" providerId="ADAL" clId="{CC07BEAC-85A7-44E0-BC28-578FC3DF3703}" dt="2019-02-23T17:59:58.225" v="17530" actId="208"/>
          <ac:spMkLst>
            <pc:docMk/>
            <pc:sldMk cId="43331595" sldId="4687"/>
            <ac:spMk id="38" creationId="{DB20ADF1-F6F0-48C9-91EE-8BFF893BCB5F}"/>
          </ac:spMkLst>
        </pc:spChg>
        <pc:spChg chg="add del mod">
          <ac:chgData name="Bob Ward" userId="6da7c2dd-8e2e-469f-a216-c384312e2a2d" providerId="ADAL" clId="{CC07BEAC-85A7-44E0-BC28-578FC3DF3703}" dt="2019-02-22T22:17:22.100" v="17451" actId="478"/>
          <ac:spMkLst>
            <pc:docMk/>
            <pc:sldMk cId="43331595" sldId="4687"/>
            <ac:spMk id="39" creationId="{F793B243-E514-426B-B29D-6807D4063EB4}"/>
          </ac:spMkLst>
        </pc:spChg>
        <pc:spChg chg="add mod">
          <ac:chgData name="Bob Ward" userId="6da7c2dd-8e2e-469f-a216-c384312e2a2d" providerId="ADAL" clId="{CC07BEAC-85A7-44E0-BC28-578FC3DF3703}" dt="2019-02-23T17:59:47.580" v="17529" actId="207"/>
          <ac:spMkLst>
            <pc:docMk/>
            <pc:sldMk cId="43331595" sldId="4687"/>
            <ac:spMk id="40" creationId="{7E3A177F-32DB-4E8E-B1C6-655819444B0B}"/>
          </ac:spMkLst>
        </pc:spChg>
        <pc:spChg chg="add mod">
          <ac:chgData name="Bob Ward" userId="6da7c2dd-8e2e-469f-a216-c384312e2a2d" providerId="ADAL" clId="{CC07BEAC-85A7-44E0-BC28-578FC3DF3703}" dt="2019-02-22T22:18:33.663" v="17495" actId="20577"/>
          <ac:spMkLst>
            <pc:docMk/>
            <pc:sldMk cId="43331595" sldId="4687"/>
            <ac:spMk id="48" creationId="{BEFC858A-5243-4DC0-B5FB-175194B6CDD6}"/>
          </ac:spMkLst>
        </pc:spChg>
        <pc:spChg chg="add mod">
          <ac:chgData name="Bob Ward" userId="6da7c2dd-8e2e-469f-a216-c384312e2a2d" providerId="ADAL" clId="{CC07BEAC-85A7-44E0-BC28-578FC3DF3703}" dt="2019-02-23T17:57:19.584" v="17505" actId="1076"/>
          <ac:spMkLst>
            <pc:docMk/>
            <pc:sldMk cId="43331595" sldId="4687"/>
            <ac:spMk id="49" creationId="{8E1D3DF0-9F59-4A93-90E2-3313C2114F52}"/>
          </ac:spMkLst>
        </pc:spChg>
        <pc:spChg chg="add mod">
          <ac:chgData name="Bob Ward" userId="6da7c2dd-8e2e-469f-a216-c384312e2a2d" providerId="ADAL" clId="{CC07BEAC-85A7-44E0-BC28-578FC3DF3703}" dt="2019-02-23T17:57:38.397" v="17511" actId="1076"/>
          <ac:spMkLst>
            <pc:docMk/>
            <pc:sldMk cId="43331595" sldId="4687"/>
            <ac:spMk id="50" creationId="{2645C459-DF5E-4603-A691-FFB676F284AC}"/>
          </ac:spMkLst>
        </pc:spChg>
        <pc:spChg chg="add mod">
          <ac:chgData name="Bob Ward" userId="6da7c2dd-8e2e-469f-a216-c384312e2a2d" providerId="ADAL" clId="{CC07BEAC-85A7-44E0-BC28-578FC3DF3703}" dt="2019-02-22T22:17:58.120" v="17457" actId="1076"/>
          <ac:spMkLst>
            <pc:docMk/>
            <pc:sldMk cId="43331595" sldId="4687"/>
            <ac:spMk id="1030" creationId="{B0273DF2-C1CD-406C-9375-CDC3CBBC5953}"/>
          </ac:spMkLst>
        </pc:spChg>
        <pc:picChg chg="add mod">
          <ac:chgData name="Bob Ward" userId="6da7c2dd-8e2e-469f-a216-c384312e2a2d" providerId="ADAL" clId="{CC07BEAC-85A7-44E0-BC28-578FC3DF3703}" dt="2019-02-22T22:11:15.398" v="17166" actId="1076"/>
          <ac:picMkLst>
            <pc:docMk/>
            <pc:sldMk cId="43331595" sldId="4687"/>
            <ac:picMk id="1026" creationId="{33036E6B-F3DA-4559-A6FC-0845399CD255}"/>
          </ac:picMkLst>
        </pc:picChg>
        <pc:cxnChg chg="add mod">
          <ac:chgData name="Bob Ward" userId="6da7c2dd-8e2e-469f-a216-c384312e2a2d" providerId="ADAL" clId="{CC07BEAC-85A7-44E0-BC28-578FC3DF3703}" dt="2019-02-23T17:57:22.625" v="17506" actId="14100"/>
          <ac:cxnSpMkLst>
            <pc:docMk/>
            <pc:sldMk cId="43331595" sldId="4687"/>
            <ac:cxnSpMk id="4" creationId="{E0E12DBF-9447-4562-9063-66E37B0BB7B7}"/>
          </ac:cxnSpMkLst>
        </pc:cxnChg>
        <pc:cxnChg chg="add mod">
          <ac:chgData name="Bob Ward" userId="6da7c2dd-8e2e-469f-a216-c384312e2a2d" providerId="ADAL" clId="{CC07BEAC-85A7-44E0-BC28-578FC3DF3703}" dt="2019-02-22T22:12:52.805" v="17245" actId="14100"/>
          <ac:cxnSpMkLst>
            <pc:docMk/>
            <pc:sldMk cId="43331595" sldId="4687"/>
            <ac:cxnSpMk id="10" creationId="{A42C07AE-BB79-485D-8FEA-667983841A86}"/>
          </ac:cxnSpMkLst>
        </pc:cxnChg>
        <pc:cxnChg chg="add mod">
          <ac:chgData name="Bob Ward" userId="6da7c2dd-8e2e-469f-a216-c384312e2a2d" providerId="ADAL" clId="{CC07BEAC-85A7-44E0-BC28-578FC3DF3703}" dt="2019-02-22T22:13:20.520" v="17253" actId="14100"/>
          <ac:cxnSpMkLst>
            <pc:docMk/>
            <pc:sldMk cId="43331595" sldId="4687"/>
            <ac:cxnSpMk id="19" creationId="{B12BFF7E-BD53-4B20-A78C-E55B181FF1B1}"/>
          </ac:cxnSpMkLst>
        </pc:cxnChg>
        <pc:cxnChg chg="add del mod">
          <ac:chgData name="Bob Ward" userId="6da7c2dd-8e2e-469f-a216-c384312e2a2d" providerId="ADAL" clId="{CC07BEAC-85A7-44E0-BC28-578FC3DF3703}" dt="2019-02-22T22:16:40.789" v="17437" actId="478"/>
          <ac:cxnSpMkLst>
            <pc:docMk/>
            <pc:sldMk cId="43331595" sldId="4687"/>
            <ac:cxnSpMk id="26" creationId="{5C825B91-2809-41EA-B5AA-81FC16560FF5}"/>
          </ac:cxnSpMkLst>
        </pc:cxnChg>
        <pc:cxnChg chg="add del mod">
          <ac:chgData name="Bob Ward" userId="6da7c2dd-8e2e-469f-a216-c384312e2a2d" providerId="ADAL" clId="{CC07BEAC-85A7-44E0-BC28-578FC3DF3703}" dt="2019-02-22T22:17:26.496" v="17452" actId="478"/>
          <ac:cxnSpMkLst>
            <pc:docMk/>
            <pc:sldMk cId="43331595" sldId="4687"/>
            <ac:cxnSpMk id="28" creationId="{F2C1844F-6D35-46FA-BD56-0EF40B5AAAAE}"/>
          </ac:cxnSpMkLst>
        </pc:cxnChg>
        <pc:cxnChg chg="add mod">
          <ac:chgData name="Bob Ward" userId="6da7c2dd-8e2e-469f-a216-c384312e2a2d" providerId="ADAL" clId="{CC07BEAC-85A7-44E0-BC28-578FC3DF3703}" dt="2019-02-22T22:16:13.352" v="17433" actId="11529"/>
          <ac:cxnSpMkLst>
            <pc:docMk/>
            <pc:sldMk cId="43331595" sldId="4687"/>
            <ac:cxnSpMk id="30" creationId="{0EEC5918-006F-4BB4-A587-7A94F4D46FF8}"/>
          </ac:cxnSpMkLst>
        </pc:cxnChg>
        <pc:cxnChg chg="add mod">
          <ac:chgData name="Bob Ward" userId="6da7c2dd-8e2e-469f-a216-c384312e2a2d" providerId="ADAL" clId="{CC07BEAC-85A7-44E0-BC28-578FC3DF3703}" dt="2019-02-22T22:17:40.922" v="17454" actId="14100"/>
          <ac:cxnSpMkLst>
            <pc:docMk/>
            <pc:sldMk cId="43331595" sldId="4687"/>
            <ac:cxnSpMk id="36" creationId="{4D18C3C9-E473-46EE-A081-AD99E2FD2C4E}"/>
          </ac:cxnSpMkLst>
        </pc:cxnChg>
        <pc:cxnChg chg="add mod">
          <ac:chgData name="Bob Ward" userId="6da7c2dd-8e2e-469f-a216-c384312e2a2d" providerId="ADAL" clId="{CC07BEAC-85A7-44E0-BC28-578FC3DF3703}" dt="2019-02-24T15:58:44.895" v="18703" actId="1582"/>
          <ac:cxnSpMkLst>
            <pc:docMk/>
            <pc:sldMk cId="43331595" sldId="4687"/>
            <ac:cxnSpMk id="46" creationId="{26084345-1D4B-40D5-BC02-8B7F75354668}"/>
          </ac:cxnSpMkLst>
        </pc:cxnChg>
        <pc:cxnChg chg="add mod">
          <ac:chgData name="Bob Ward" userId="6da7c2dd-8e2e-469f-a216-c384312e2a2d" providerId="ADAL" clId="{CC07BEAC-85A7-44E0-BC28-578FC3DF3703}" dt="2019-02-23T17:57:40.848" v="17512" actId="14100"/>
          <ac:cxnSpMkLst>
            <pc:docMk/>
            <pc:sldMk cId="43331595" sldId="4687"/>
            <ac:cxnSpMk id="52" creationId="{0CB6EB0C-A31A-43DF-B9C7-2E83223EA2BA}"/>
          </ac:cxnSpMkLst>
        </pc:cxnChg>
        <pc:cxnChg chg="add mod">
          <ac:chgData name="Bob Ward" userId="6da7c2dd-8e2e-469f-a216-c384312e2a2d" providerId="ADAL" clId="{CC07BEAC-85A7-44E0-BC28-578FC3DF3703}" dt="2019-02-23T17:58:58.998" v="17526" actId="14100"/>
          <ac:cxnSpMkLst>
            <pc:docMk/>
            <pc:sldMk cId="43331595" sldId="4687"/>
            <ac:cxnSpMk id="55" creationId="{43346EE2-CB19-4EE9-8D37-A02DA3996C83}"/>
          </ac:cxnSpMkLst>
        </pc:cxnChg>
        <pc:cxnChg chg="add mod">
          <ac:chgData name="Bob Ward" userId="6da7c2dd-8e2e-469f-a216-c384312e2a2d" providerId="ADAL" clId="{CC07BEAC-85A7-44E0-BC28-578FC3DF3703}" dt="2019-02-23T17:58:36.911" v="17523" actId="14100"/>
          <ac:cxnSpMkLst>
            <pc:docMk/>
            <pc:sldMk cId="43331595" sldId="4687"/>
            <ac:cxnSpMk id="57" creationId="{3AB6EBEC-BD8A-4CA1-838A-343C7F3C851D}"/>
          </ac:cxnSpMkLst>
        </pc:cxnChg>
        <pc:cxnChg chg="add del mod">
          <ac:chgData name="Bob Ward" userId="6da7c2dd-8e2e-469f-a216-c384312e2a2d" providerId="ADAL" clId="{CC07BEAC-85A7-44E0-BC28-578FC3DF3703}" dt="2019-02-22T22:16:30.265" v="17436" actId="478"/>
          <ac:cxnSpMkLst>
            <pc:docMk/>
            <pc:sldMk cId="43331595" sldId="4687"/>
            <ac:cxnSpMk id="1024" creationId="{FC537FFC-775E-4ABB-84AF-04E2E8BBF91F}"/>
          </ac:cxnSpMkLst>
        </pc:cxnChg>
        <pc:cxnChg chg="add mod">
          <ac:chgData name="Bob Ward" userId="6da7c2dd-8e2e-469f-a216-c384312e2a2d" providerId="ADAL" clId="{CC07BEAC-85A7-44E0-BC28-578FC3DF3703}" dt="2019-02-22T22:16:49.803" v="17438" actId="11529"/>
          <ac:cxnSpMkLst>
            <pc:docMk/>
            <pc:sldMk cId="43331595" sldId="4687"/>
            <ac:cxnSpMk id="1027" creationId="{A90C4B6B-303C-4034-AD65-F47F9AA45FAA}"/>
          </ac:cxnSpMkLst>
        </pc:cxnChg>
        <pc:cxnChg chg="add mod">
          <ac:chgData name="Bob Ward" userId="6da7c2dd-8e2e-469f-a216-c384312e2a2d" providerId="ADAL" clId="{CC07BEAC-85A7-44E0-BC28-578FC3DF3703}" dt="2019-02-24T15:58:44.895" v="18703" actId="1582"/>
          <ac:cxnSpMkLst>
            <pc:docMk/>
            <pc:sldMk cId="43331595" sldId="4687"/>
            <ac:cxnSpMk id="1032" creationId="{A6D55AF7-33A1-4CB9-B2F9-3A4E0AA4B09A}"/>
          </ac:cxnSpMkLst>
        </pc:cxnChg>
      </pc:sldChg>
      <pc:sldChg chg="addSp modSp add modAnim">
        <pc:chgData name="Bob Ward" userId="6da7c2dd-8e2e-469f-a216-c384312e2a2d" providerId="ADAL" clId="{CC07BEAC-85A7-44E0-BC28-578FC3DF3703}" dt="2019-02-23T19:50:19.694" v="18330"/>
        <pc:sldMkLst>
          <pc:docMk/>
          <pc:sldMk cId="1808960687" sldId="4688"/>
        </pc:sldMkLst>
        <pc:spChg chg="mod">
          <ac:chgData name="Bob Ward" userId="6da7c2dd-8e2e-469f-a216-c384312e2a2d" providerId="ADAL" clId="{CC07BEAC-85A7-44E0-BC28-578FC3DF3703}" dt="2019-02-19T21:14:46.621" v="7153" actId="1076"/>
          <ac:spMkLst>
            <pc:docMk/>
            <pc:sldMk cId="1808960687" sldId="4688"/>
            <ac:spMk id="2" creationId="{9C886538-4736-4174-9D45-00834D141968}"/>
          </ac:spMkLst>
        </pc:spChg>
        <pc:spChg chg="mod">
          <ac:chgData name="Bob Ward" userId="6da7c2dd-8e2e-469f-a216-c384312e2a2d" providerId="ADAL" clId="{CC07BEAC-85A7-44E0-BC28-578FC3DF3703}" dt="2019-02-19T22:47:13.270" v="7801" actId="207"/>
          <ac:spMkLst>
            <pc:docMk/>
            <pc:sldMk cId="1808960687" sldId="4688"/>
            <ac:spMk id="3" creationId="{39CDF79B-C37B-496F-9F6B-99A3CABC3DD9}"/>
          </ac:spMkLst>
        </pc:spChg>
        <pc:spChg chg="add mod">
          <ac:chgData name="Bob Ward" userId="6da7c2dd-8e2e-469f-a216-c384312e2a2d" providerId="ADAL" clId="{CC07BEAC-85A7-44E0-BC28-578FC3DF3703}" dt="2019-02-13T20:50:31.815" v="2935" actId="1582"/>
          <ac:spMkLst>
            <pc:docMk/>
            <pc:sldMk cId="1808960687" sldId="4688"/>
            <ac:spMk id="6" creationId="{0975F6C6-09ED-410E-9E3A-CA345BFFCBEE}"/>
          </ac:spMkLst>
        </pc:spChg>
        <pc:graphicFrameChg chg="add mod">
          <ac:chgData name="Bob Ward" userId="6da7c2dd-8e2e-469f-a216-c384312e2a2d" providerId="ADAL" clId="{CC07BEAC-85A7-44E0-BC28-578FC3DF3703}" dt="2019-01-21T23:56:54.893" v="1818" actId="1076"/>
          <ac:graphicFrameMkLst>
            <pc:docMk/>
            <pc:sldMk cId="1808960687" sldId="4688"/>
            <ac:graphicFrameMk id="4" creationId="{70D06CC2-37E7-45D1-98CE-4474C24F8CD8}"/>
          </ac:graphicFrameMkLst>
        </pc:graphicFrameChg>
        <pc:graphicFrameChg chg="add mod">
          <ac:chgData name="Bob Ward" userId="6da7c2dd-8e2e-469f-a216-c384312e2a2d" providerId="ADAL" clId="{CC07BEAC-85A7-44E0-BC28-578FC3DF3703}" dt="2019-01-22T00:03:47.657" v="1883" actId="20577"/>
          <ac:graphicFrameMkLst>
            <pc:docMk/>
            <pc:sldMk cId="1808960687" sldId="4688"/>
            <ac:graphicFrameMk id="5" creationId="{DED38AEA-3BE5-473E-80B9-40C12A91D98D}"/>
          </ac:graphicFrameMkLst>
        </pc:graphicFrameChg>
      </pc:sldChg>
      <pc:sldChg chg="addSp delSp modSp add ord delAnim modAnim">
        <pc:chgData name="Bob Ward" userId="6da7c2dd-8e2e-469f-a216-c384312e2a2d" providerId="ADAL" clId="{CC07BEAC-85A7-44E0-BC28-578FC3DF3703}" dt="2019-02-28T12:01:03.204" v="19026" actId="478"/>
        <pc:sldMkLst>
          <pc:docMk/>
          <pc:sldMk cId="2247991029" sldId="4689"/>
        </pc:sldMkLst>
        <pc:spChg chg="mod">
          <ac:chgData name="Bob Ward" userId="6da7c2dd-8e2e-469f-a216-c384312e2a2d" providerId="ADAL" clId="{CC07BEAC-85A7-44E0-BC28-578FC3DF3703}" dt="2019-02-21T01:45:03.492" v="12187" actId="1076"/>
          <ac:spMkLst>
            <pc:docMk/>
            <pc:sldMk cId="2247991029" sldId="4689"/>
            <ac:spMk id="2" creationId="{BB06D616-A928-450B-B4C1-501792403483}"/>
          </ac:spMkLst>
        </pc:spChg>
        <pc:spChg chg="mod">
          <ac:chgData name="Bob Ward" userId="6da7c2dd-8e2e-469f-a216-c384312e2a2d" providerId="ADAL" clId="{CC07BEAC-85A7-44E0-BC28-578FC3DF3703}" dt="2019-01-22T00:19:39.169" v="2307"/>
          <ac:spMkLst>
            <pc:docMk/>
            <pc:sldMk cId="2247991029" sldId="4689"/>
            <ac:spMk id="3" creationId="{2E481EB0-37E1-4064-8040-44D1585F2EFC}"/>
          </ac:spMkLst>
        </pc:spChg>
        <pc:spChg chg="add mod">
          <ac:chgData name="Bob Ward" userId="6da7c2dd-8e2e-469f-a216-c384312e2a2d" providerId="ADAL" clId="{CC07BEAC-85A7-44E0-BC28-578FC3DF3703}" dt="2019-02-21T04:22:04.086" v="15007" actId="6549"/>
          <ac:spMkLst>
            <pc:docMk/>
            <pc:sldMk cId="2247991029" sldId="4689"/>
            <ac:spMk id="4" creationId="{A8242765-A8D1-40E8-BB41-DEBF2D96353C}"/>
          </ac:spMkLst>
        </pc:spChg>
        <pc:spChg chg="add mod">
          <ac:chgData name="Bob Ward" userId="6da7c2dd-8e2e-469f-a216-c384312e2a2d" providerId="ADAL" clId="{CC07BEAC-85A7-44E0-BC28-578FC3DF3703}" dt="2019-02-13T20:48:44.884" v="2923" actId="1076"/>
          <ac:spMkLst>
            <pc:docMk/>
            <pc:sldMk cId="2247991029" sldId="4689"/>
            <ac:spMk id="17" creationId="{969B3A57-BDD7-4640-823C-EF0DA391F127}"/>
          </ac:spMkLst>
        </pc:spChg>
        <pc:spChg chg="add mod">
          <ac:chgData name="Bob Ward" userId="6da7c2dd-8e2e-469f-a216-c384312e2a2d" providerId="ADAL" clId="{CC07BEAC-85A7-44E0-BC28-578FC3DF3703}" dt="2019-02-13T20:48:44.884" v="2923" actId="1076"/>
          <ac:spMkLst>
            <pc:docMk/>
            <pc:sldMk cId="2247991029" sldId="4689"/>
            <ac:spMk id="18" creationId="{AC875067-6E5B-4BA6-9040-3C23457B4ABB}"/>
          </ac:spMkLst>
        </pc:spChg>
        <pc:spChg chg="add mod">
          <ac:chgData name="Bob Ward" userId="6da7c2dd-8e2e-469f-a216-c384312e2a2d" providerId="ADAL" clId="{CC07BEAC-85A7-44E0-BC28-578FC3DF3703}" dt="2019-02-13T20:48:44.884" v="2923" actId="1076"/>
          <ac:spMkLst>
            <pc:docMk/>
            <pc:sldMk cId="2247991029" sldId="4689"/>
            <ac:spMk id="21" creationId="{DF09DCF5-3F23-49F7-904A-D667EA341707}"/>
          </ac:spMkLst>
        </pc:spChg>
        <pc:spChg chg="add mod">
          <ac:chgData name="Bob Ward" userId="6da7c2dd-8e2e-469f-a216-c384312e2a2d" providerId="ADAL" clId="{CC07BEAC-85A7-44E0-BC28-578FC3DF3703}" dt="2019-02-13T20:48:44.884" v="2923" actId="1076"/>
          <ac:spMkLst>
            <pc:docMk/>
            <pc:sldMk cId="2247991029" sldId="4689"/>
            <ac:spMk id="23" creationId="{21C1FB8D-CC85-4C61-A913-BB9F775C631A}"/>
          </ac:spMkLst>
        </pc:spChg>
        <pc:spChg chg="add mod">
          <ac:chgData name="Bob Ward" userId="6da7c2dd-8e2e-469f-a216-c384312e2a2d" providerId="ADAL" clId="{CC07BEAC-85A7-44E0-BC28-578FC3DF3703}" dt="2019-02-13T20:48:44.884" v="2923" actId="1076"/>
          <ac:spMkLst>
            <pc:docMk/>
            <pc:sldMk cId="2247991029" sldId="4689"/>
            <ac:spMk id="24" creationId="{48126318-057D-49A7-88CA-6E6B491340DD}"/>
          </ac:spMkLst>
        </pc:spChg>
        <pc:spChg chg="add mod">
          <ac:chgData name="Bob Ward" userId="6da7c2dd-8e2e-469f-a216-c384312e2a2d" providerId="ADAL" clId="{CC07BEAC-85A7-44E0-BC28-578FC3DF3703}" dt="2019-02-13T20:48:44.884" v="2923" actId="1076"/>
          <ac:spMkLst>
            <pc:docMk/>
            <pc:sldMk cId="2247991029" sldId="4689"/>
            <ac:spMk id="25" creationId="{9D92F06B-14B4-4241-BE69-CAC742C738E5}"/>
          </ac:spMkLst>
        </pc:spChg>
        <pc:spChg chg="add mod">
          <ac:chgData name="Bob Ward" userId="6da7c2dd-8e2e-469f-a216-c384312e2a2d" providerId="ADAL" clId="{CC07BEAC-85A7-44E0-BC28-578FC3DF3703}" dt="2019-02-13T20:48:44.884" v="2923" actId="1076"/>
          <ac:spMkLst>
            <pc:docMk/>
            <pc:sldMk cId="2247991029" sldId="4689"/>
            <ac:spMk id="30" creationId="{8009D427-6E19-4E93-AA37-AD1B922BFBDC}"/>
          </ac:spMkLst>
        </pc:spChg>
        <pc:spChg chg="add mod">
          <ac:chgData name="Bob Ward" userId="6da7c2dd-8e2e-469f-a216-c384312e2a2d" providerId="ADAL" clId="{CC07BEAC-85A7-44E0-BC28-578FC3DF3703}" dt="2019-02-13T20:48:44.884" v="2923" actId="1076"/>
          <ac:spMkLst>
            <pc:docMk/>
            <pc:sldMk cId="2247991029" sldId="4689"/>
            <ac:spMk id="31" creationId="{9F9B9F62-1FCA-4AC7-8EE1-A13E400B4C04}"/>
          </ac:spMkLst>
        </pc:spChg>
        <pc:spChg chg="add mod">
          <ac:chgData name="Bob Ward" userId="6da7c2dd-8e2e-469f-a216-c384312e2a2d" providerId="ADAL" clId="{CC07BEAC-85A7-44E0-BC28-578FC3DF3703}" dt="2019-02-13T20:48:44.884" v="2923" actId="1076"/>
          <ac:spMkLst>
            <pc:docMk/>
            <pc:sldMk cId="2247991029" sldId="4689"/>
            <ac:spMk id="32" creationId="{EBA399C5-500D-45E4-B85A-CE7B7501A1DF}"/>
          </ac:spMkLst>
        </pc:spChg>
        <pc:spChg chg="add mod">
          <ac:chgData name="Bob Ward" userId="6da7c2dd-8e2e-469f-a216-c384312e2a2d" providerId="ADAL" clId="{CC07BEAC-85A7-44E0-BC28-578FC3DF3703}" dt="2019-02-13T20:48:44.884" v="2923" actId="1076"/>
          <ac:spMkLst>
            <pc:docMk/>
            <pc:sldMk cId="2247991029" sldId="4689"/>
            <ac:spMk id="33" creationId="{52892F0B-8C0E-4F91-80ED-A49DB1FBBE21}"/>
          </ac:spMkLst>
        </pc:spChg>
        <pc:spChg chg="add mod">
          <ac:chgData name="Bob Ward" userId="6da7c2dd-8e2e-469f-a216-c384312e2a2d" providerId="ADAL" clId="{CC07BEAC-85A7-44E0-BC28-578FC3DF3703}" dt="2019-02-13T20:48:44.884" v="2923" actId="1076"/>
          <ac:spMkLst>
            <pc:docMk/>
            <pc:sldMk cId="2247991029" sldId="4689"/>
            <ac:spMk id="34" creationId="{81C84B40-1FB7-4CD7-B118-E115CE2DE3F7}"/>
          </ac:spMkLst>
        </pc:spChg>
        <pc:spChg chg="add mod">
          <ac:chgData name="Bob Ward" userId="6da7c2dd-8e2e-469f-a216-c384312e2a2d" providerId="ADAL" clId="{CC07BEAC-85A7-44E0-BC28-578FC3DF3703}" dt="2019-02-13T20:48:44.884" v="2923" actId="1076"/>
          <ac:spMkLst>
            <pc:docMk/>
            <pc:sldMk cId="2247991029" sldId="4689"/>
            <ac:spMk id="35" creationId="{B57F6A72-5D52-4AB8-965D-87DBE00DABCA}"/>
          </ac:spMkLst>
        </pc:spChg>
        <pc:spChg chg="add mod">
          <ac:chgData name="Bob Ward" userId="6da7c2dd-8e2e-469f-a216-c384312e2a2d" providerId="ADAL" clId="{CC07BEAC-85A7-44E0-BC28-578FC3DF3703}" dt="2019-02-13T20:48:44.884" v="2923" actId="1076"/>
          <ac:spMkLst>
            <pc:docMk/>
            <pc:sldMk cId="2247991029" sldId="4689"/>
            <ac:spMk id="36" creationId="{283BE658-19C0-4208-97EB-1923FDCD387B}"/>
          </ac:spMkLst>
        </pc:spChg>
        <pc:spChg chg="add mod">
          <ac:chgData name="Bob Ward" userId="6da7c2dd-8e2e-469f-a216-c384312e2a2d" providerId="ADAL" clId="{CC07BEAC-85A7-44E0-BC28-578FC3DF3703}" dt="2019-02-13T20:48:44.884" v="2923" actId="1076"/>
          <ac:spMkLst>
            <pc:docMk/>
            <pc:sldMk cId="2247991029" sldId="4689"/>
            <ac:spMk id="37" creationId="{419C65B1-FAC1-4E7A-A373-157143274046}"/>
          </ac:spMkLst>
        </pc:spChg>
        <pc:spChg chg="add mod">
          <ac:chgData name="Bob Ward" userId="6da7c2dd-8e2e-469f-a216-c384312e2a2d" providerId="ADAL" clId="{CC07BEAC-85A7-44E0-BC28-578FC3DF3703}" dt="2019-02-13T20:48:44.884" v="2923" actId="1076"/>
          <ac:spMkLst>
            <pc:docMk/>
            <pc:sldMk cId="2247991029" sldId="4689"/>
            <ac:spMk id="38" creationId="{13064CB9-93B4-411F-8D13-74D0B25D4A46}"/>
          </ac:spMkLst>
        </pc:spChg>
        <pc:spChg chg="add mod">
          <ac:chgData name="Bob Ward" userId="6da7c2dd-8e2e-469f-a216-c384312e2a2d" providerId="ADAL" clId="{CC07BEAC-85A7-44E0-BC28-578FC3DF3703}" dt="2019-02-13T20:48:44.884" v="2923" actId="1076"/>
          <ac:spMkLst>
            <pc:docMk/>
            <pc:sldMk cId="2247991029" sldId="4689"/>
            <ac:spMk id="39" creationId="{9D9AF2FB-AF0C-47A1-A9FF-1212B6CAA38C}"/>
          </ac:spMkLst>
        </pc:spChg>
        <pc:spChg chg="add mod">
          <ac:chgData name="Bob Ward" userId="6da7c2dd-8e2e-469f-a216-c384312e2a2d" providerId="ADAL" clId="{CC07BEAC-85A7-44E0-BC28-578FC3DF3703}" dt="2019-02-13T20:48:44.884" v="2923" actId="1076"/>
          <ac:spMkLst>
            <pc:docMk/>
            <pc:sldMk cId="2247991029" sldId="4689"/>
            <ac:spMk id="40" creationId="{F95BF0E3-2795-48AC-AE4C-611F5633A1D8}"/>
          </ac:spMkLst>
        </pc:spChg>
        <pc:spChg chg="add del mod">
          <ac:chgData name="Bob Ward" userId="6da7c2dd-8e2e-469f-a216-c384312e2a2d" providerId="ADAL" clId="{CC07BEAC-85A7-44E0-BC28-578FC3DF3703}" dt="2019-02-28T12:01:03.204" v="19026" actId="478"/>
          <ac:spMkLst>
            <pc:docMk/>
            <pc:sldMk cId="2247991029" sldId="4689"/>
            <ac:spMk id="41" creationId="{E768ECB5-0F17-4735-B1B0-B16476213E6E}"/>
          </ac:spMkLst>
        </pc:spChg>
        <pc:spChg chg="add mod">
          <ac:chgData name="Bob Ward" userId="6da7c2dd-8e2e-469f-a216-c384312e2a2d" providerId="ADAL" clId="{CC07BEAC-85A7-44E0-BC28-578FC3DF3703}" dt="2019-02-13T20:48:44.884" v="2923" actId="1076"/>
          <ac:spMkLst>
            <pc:docMk/>
            <pc:sldMk cId="2247991029" sldId="4689"/>
            <ac:spMk id="42" creationId="{8B512D7B-9306-4F6F-9F64-DF5ADEB58CF0}"/>
          </ac:spMkLst>
        </pc:spChg>
        <pc:spChg chg="add">
          <ac:chgData name="Bob Ward" userId="6da7c2dd-8e2e-469f-a216-c384312e2a2d" providerId="ADAL" clId="{CC07BEAC-85A7-44E0-BC28-578FC3DF3703}" dt="2019-01-22T00:49:27.258" v="2340"/>
          <ac:spMkLst>
            <pc:docMk/>
            <pc:sldMk cId="2247991029" sldId="4689"/>
            <ac:spMk id="43" creationId="{524FD455-A37A-48D7-8A64-14C71197BBB3}"/>
          </ac:spMkLst>
        </pc:spChg>
        <pc:spChg chg="add">
          <ac:chgData name="Bob Ward" userId="6da7c2dd-8e2e-469f-a216-c384312e2a2d" providerId="ADAL" clId="{CC07BEAC-85A7-44E0-BC28-578FC3DF3703}" dt="2019-01-22T00:49:35.792" v="2341"/>
          <ac:spMkLst>
            <pc:docMk/>
            <pc:sldMk cId="2247991029" sldId="4689"/>
            <ac:spMk id="44" creationId="{83D9F334-D29A-413F-8FD7-3F158075AC55}"/>
          </ac:spMkLst>
        </pc:spChg>
        <pc:spChg chg="add mod">
          <ac:chgData name="Bob Ward" userId="6da7c2dd-8e2e-469f-a216-c384312e2a2d" providerId="ADAL" clId="{CC07BEAC-85A7-44E0-BC28-578FC3DF3703}" dt="2019-01-22T00:49:56.221" v="2342" actId="767"/>
          <ac:spMkLst>
            <pc:docMk/>
            <pc:sldMk cId="2247991029" sldId="4689"/>
            <ac:spMk id="45" creationId="{603C6775-9AF7-4597-A378-B59A5673DE22}"/>
          </ac:spMkLst>
        </pc:spChg>
        <pc:graphicFrameChg chg="add mod">
          <ac:chgData name="Bob Ward" userId="6da7c2dd-8e2e-469f-a216-c384312e2a2d" providerId="ADAL" clId="{CC07BEAC-85A7-44E0-BC28-578FC3DF3703}" dt="2019-02-13T20:48:52.521" v="2926" actId="14100"/>
          <ac:graphicFrameMkLst>
            <pc:docMk/>
            <pc:sldMk cId="2247991029" sldId="4689"/>
            <ac:graphicFrameMk id="5" creationId="{756C5AFB-B734-48DD-BDAD-9BE26E0E25D8}"/>
          </ac:graphicFrameMkLst>
        </pc:graphicFrameChg>
        <pc:graphicFrameChg chg="add mod">
          <ac:chgData name="Bob Ward" userId="6da7c2dd-8e2e-469f-a216-c384312e2a2d" providerId="ADAL" clId="{CC07BEAC-85A7-44E0-BC28-578FC3DF3703}" dt="2019-01-22T00:50:46.660" v="2343" actId="3680"/>
          <ac:graphicFrameMkLst>
            <pc:docMk/>
            <pc:sldMk cId="2247991029" sldId="4689"/>
            <ac:graphicFrameMk id="46" creationId="{FA3B5E3C-0698-4C15-9506-499D2C9678B3}"/>
          </ac:graphicFrameMkLst>
        </pc:graphicFrameChg>
        <pc:cxnChg chg="add mod">
          <ac:chgData name="Bob Ward" userId="6da7c2dd-8e2e-469f-a216-c384312e2a2d" providerId="ADAL" clId="{CC07BEAC-85A7-44E0-BC28-578FC3DF3703}" dt="2019-01-22T00:19:07.802" v="2304" actId="11529"/>
          <ac:cxnSpMkLst>
            <pc:docMk/>
            <pc:sldMk cId="2247991029" sldId="4689"/>
            <ac:cxnSpMk id="7" creationId="{F5D7AE05-8048-4169-A3FC-39F025C8EA16}"/>
          </ac:cxnSpMkLst>
        </pc:cxnChg>
        <pc:cxnChg chg="add mod">
          <ac:chgData name="Bob Ward" userId="6da7c2dd-8e2e-469f-a216-c384312e2a2d" providerId="ADAL" clId="{CC07BEAC-85A7-44E0-BC28-578FC3DF3703}" dt="2019-01-22T00:19:17.739" v="2305" actId="11529"/>
          <ac:cxnSpMkLst>
            <pc:docMk/>
            <pc:sldMk cId="2247991029" sldId="4689"/>
            <ac:cxnSpMk id="9" creationId="{10963254-15A6-4827-9F2F-1CEDAE17A561}"/>
          </ac:cxnSpMkLst>
        </pc:cxnChg>
        <pc:cxnChg chg="add">
          <ac:chgData name="Bob Ward" userId="6da7c2dd-8e2e-469f-a216-c384312e2a2d" providerId="ADAL" clId="{CC07BEAC-85A7-44E0-BC28-578FC3DF3703}" dt="2019-01-22T00:19:43.296" v="2308"/>
          <ac:cxnSpMkLst>
            <pc:docMk/>
            <pc:sldMk cId="2247991029" sldId="4689"/>
            <ac:cxnSpMk id="11" creationId="{E7F482CB-F3E4-4236-9E73-C86FD6743216}"/>
          </ac:cxnSpMkLst>
        </pc:cxnChg>
        <pc:cxnChg chg="add">
          <ac:chgData name="Bob Ward" userId="6da7c2dd-8e2e-469f-a216-c384312e2a2d" providerId="ADAL" clId="{CC07BEAC-85A7-44E0-BC28-578FC3DF3703}" dt="2019-01-22T00:20:01.498" v="2309"/>
          <ac:cxnSpMkLst>
            <pc:docMk/>
            <pc:sldMk cId="2247991029" sldId="4689"/>
            <ac:cxnSpMk id="13" creationId="{B6FB266E-2E2B-4C52-B3E2-280B798F9A48}"/>
          </ac:cxnSpMkLst>
        </pc:cxnChg>
        <pc:cxnChg chg="add">
          <ac:chgData name="Bob Ward" userId="6da7c2dd-8e2e-469f-a216-c384312e2a2d" providerId="ADAL" clId="{CC07BEAC-85A7-44E0-BC28-578FC3DF3703}" dt="2019-01-22T00:20:17.408" v="2310"/>
          <ac:cxnSpMkLst>
            <pc:docMk/>
            <pc:sldMk cId="2247991029" sldId="4689"/>
            <ac:cxnSpMk id="15" creationId="{7525601E-3CB8-4B6F-819F-5D53817C721A}"/>
          </ac:cxnSpMkLst>
        </pc:cxnChg>
        <pc:cxnChg chg="add">
          <ac:chgData name="Bob Ward" userId="6da7c2dd-8e2e-469f-a216-c384312e2a2d" providerId="ADAL" clId="{CC07BEAC-85A7-44E0-BC28-578FC3DF3703}" dt="2019-01-22T00:39:18.400" v="2314"/>
          <ac:cxnSpMkLst>
            <pc:docMk/>
            <pc:sldMk cId="2247991029" sldId="4689"/>
            <ac:cxnSpMk id="19" creationId="{8692834E-EF19-437D-946A-4D1B7A9A4E76}"/>
          </ac:cxnSpMkLst>
        </pc:cxnChg>
        <pc:cxnChg chg="add">
          <ac:chgData name="Bob Ward" userId="6da7c2dd-8e2e-469f-a216-c384312e2a2d" providerId="ADAL" clId="{CC07BEAC-85A7-44E0-BC28-578FC3DF3703}" dt="2019-01-22T00:39:54.535" v="2316"/>
          <ac:cxnSpMkLst>
            <pc:docMk/>
            <pc:sldMk cId="2247991029" sldId="4689"/>
            <ac:cxnSpMk id="22" creationId="{E41E546D-044D-4D03-A70D-A22005D2FB96}"/>
          </ac:cxnSpMkLst>
        </pc:cxnChg>
        <pc:cxnChg chg="add">
          <ac:chgData name="Bob Ward" userId="6da7c2dd-8e2e-469f-a216-c384312e2a2d" providerId="ADAL" clId="{CC07BEAC-85A7-44E0-BC28-578FC3DF3703}" dt="2019-01-22T00:41:05.607" v="2319"/>
          <ac:cxnSpMkLst>
            <pc:docMk/>
            <pc:sldMk cId="2247991029" sldId="4689"/>
            <ac:cxnSpMk id="25" creationId="{CA602F55-53A9-44FE-9A3A-0E3E25A0EEE5}"/>
          </ac:cxnSpMkLst>
        </pc:cxnChg>
        <pc:cxnChg chg="add">
          <ac:chgData name="Bob Ward" userId="6da7c2dd-8e2e-469f-a216-c384312e2a2d" providerId="ADAL" clId="{CC07BEAC-85A7-44E0-BC28-578FC3DF3703}" dt="2019-01-22T00:41:11.257" v="2320"/>
          <ac:cxnSpMkLst>
            <pc:docMk/>
            <pc:sldMk cId="2247991029" sldId="4689"/>
            <ac:cxnSpMk id="26" creationId="{7F4F147E-92B0-481B-8F9C-1408D2CB2E2D}"/>
          </ac:cxnSpMkLst>
        </pc:cxnChg>
      </pc:sldChg>
      <pc:sldChg chg="add del">
        <pc:chgData name="Bob Ward" userId="6da7c2dd-8e2e-469f-a216-c384312e2a2d" providerId="ADAL" clId="{CC07BEAC-85A7-44E0-BC28-578FC3DF3703}" dt="2019-02-13T20:39:42.186" v="2853" actId="2696"/>
        <pc:sldMkLst>
          <pc:docMk/>
          <pc:sldMk cId="2107212312" sldId="4690"/>
        </pc:sldMkLst>
      </pc:sldChg>
      <pc:sldChg chg="add ord">
        <pc:chgData name="Bob Ward" userId="6da7c2dd-8e2e-469f-a216-c384312e2a2d" providerId="ADAL" clId="{CC07BEAC-85A7-44E0-BC28-578FC3DF3703}" dt="2019-02-13T20:52:56.714" v="2958"/>
        <pc:sldMkLst>
          <pc:docMk/>
          <pc:sldMk cId="4086452743" sldId="4690"/>
        </pc:sldMkLst>
      </pc:sldChg>
      <pc:sldChg chg="modSp add del">
        <pc:chgData name="Bob Ward" userId="6da7c2dd-8e2e-469f-a216-c384312e2a2d" providerId="ADAL" clId="{CC07BEAC-85A7-44E0-BC28-578FC3DF3703}" dt="2019-02-19T21:15:30.988" v="7157" actId="2696"/>
        <pc:sldMkLst>
          <pc:docMk/>
          <pc:sldMk cId="1178434722" sldId="4691"/>
        </pc:sldMkLst>
        <pc:spChg chg="mod">
          <ac:chgData name="Bob Ward" userId="6da7c2dd-8e2e-469f-a216-c384312e2a2d" providerId="ADAL" clId="{CC07BEAC-85A7-44E0-BC28-578FC3DF3703}" dt="2019-02-13T21:33:48.994" v="3061" actId="20577"/>
          <ac:spMkLst>
            <pc:docMk/>
            <pc:sldMk cId="1178434722" sldId="4691"/>
            <ac:spMk id="2" creationId="{483ACC7E-3464-43A0-9B77-A63D1077980B}"/>
          </ac:spMkLst>
        </pc:spChg>
      </pc:sldChg>
      <pc:sldChg chg="addSp delSp modSp add modAnim">
        <pc:chgData name="Bob Ward" userId="6da7c2dd-8e2e-469f-a216-c384312e2a2d" providerId="ADAL" clId="{CC07BEAC-85A7-44E0-BC28-578FC3DF3703}" dt="2019-02-19T22:50:30.311" v="7936"/>
        <pc:sldMkLst>
          <pc:docMk/>
          <pc:sldMk cId="3228137073" sldId="4692"/>
        </pc:sldMkLst>
        <pc:spChg chg="mod">
          <ac:chgData name="Bob Ward" userId="6da7c2dd-8e2e-469f-a216-c384312e2a2d" providerId="ADAL" clId="{CC07BEAC-85A7-44E0-BC28-578FC3DF3703}" dt="2019-02-19T22:46:36.086" v="7797" actId="1076"/>
          <ac:spMkLst>
            <pc:docMk/>
            <pc:sldMk cId="3228137073" sldId="4692"/>
            <ac:spMk id="2" creationId="{483ACC7E-3464-43A0-9B77-A63D1077980B}"/>
          </ac:spMkLst>
        </pc:spChg>
        <pc:spChg chg="del">
          <ac:chgData name="Bob Ward" userId="6da7c2dd-8e2e-469f-a216-c384312e2a2d" providerId="ADAL" clId="{CC07BEAC-85A7-44E0-BC28-578FC3DF3703}" dt="2019-02-19T22:24:38.957" v="7449" actId="478"/>
          <ac:spMkLst>
            <pc:docMk/>
            <pc:sldMk cId="3228137073" sldId="4692"/>
            <ac:spMk id="3" creationId="{CEE323B6-CDFE-4734-ADE6-5C94D1DCA8E9}"/>
          </ac:spMkLst>
        </pc:spChg>
        <pc:spChg chg="add mod">
          <ac:chgData name="Bob Ward" userId="6da7c2dd-8e2e-469f-a216-c384312e2a2d" providerId="ADAL" clId="{CC07BEAC-85A7-44E0-BC28-578FC3DF3703}" dt="2019-02-19T22:45:37.309" v="7774" actId="1076"/>
          <ac:spMkLst>
            <pc:docMk/>
            <pc:sldMk cId="3228137073" sldId="4692"/>
            <ac:spMk id="6" creationId="{A21289FC-8B65-482A-BDED-67EBEB96D433}"/>
          </ac:spMkLst>
        </pc:spChg>
        <pc:spChg chg="add mod">
          <ac:chgData name="Bob Ward" userId="6da7c2dd-8e2e-469f-a216-c384312e2a2d" providerId="ADAL" clId="{CC07BEAC-85A7-44E0-BC28-578FC3DF3703}" dt="2019-02-19T22:45:02.545" v="7651" actId="1076"/>
          <ac:spMkLst>
            <pc:docMk/>
            <pc:sldMk cId="3228137073" sldId="4692"/>
            <ac:spMk id="7" creationId="{48BE313C-E370-460E-8929-9B419CB6C4E2}"/>
          </ac:spMkLst>
        </pc:spChg>
        <pc:spChg chg="add mod">
          <ac:chgData name="Bob Ward" userId="6da7c2dd-8e2e-469f-a216-c384312e2a2d" providerId="ADAL" clId="{CC07BEAC-85A7-44E0-BC28-578FC3DF3703}" dt="2019-02-19T22:49:56.255" v="7932" actId="113"/>
          <ac:spMkLst>
            <pc:docMk/>
            <pc:sldMk cId="3228137073" sldId="4692"/>
            <ac:spMk id="8" creationId="{6D7515E9-1671-44DD-9EB5-983BC81CD3AE}"/>
          </ac:spMkLst>
        </pc:spChg>
        <pc:spChg chg="add mod">
          <ac:chgData name="Bob Ward" userId="6da7c2dd-8e2e-469f-a216-c384312e2a2d" providerId="ADAL" clId="{CC07BEAC-85A7-44E0-BC28-578FC3DF3703}" dt="2019-02-19T22:50:00.123" v="7933" actId="113"/>
          <ac:spMkLst>
            <pc:docMk/>
            <pc:sldMk cId="3228137073" sldId="4692"/>
            <ac:spMk id="9" creationId="{2EA4C099-3C82-4188-9922-9A9FFBEC13C7}"/>
          </ac:spMkLst>
        </pc:spChg>
        <pc:spChg chg="add mod">
          <ac:chgData name="Bob Ward" userId="6da7c2dd-8e2e-469f-a216-c384312e2a2d" providerId="ADAL" clId="{CC07BEAC-85A7-44E0-BC28-578FC3DF3703}" dt="2019-02-19T22:45:48.392" v="7777" actId="1076"/>
          <ac:spMkLst>
            <pc:docMk/>
            <pc:sldMk cId="3228137073" sldId="4692"/>
            <ac:spMk id="10" creationId="{62062057-EF7F-40EB-9743-DBC1D532F57C}"/>
          </ac:spMkLst>
        </pc:spChg>
        <pc:spChg chg="add mod">
          <ac:chgData name="Bob Ward" userId="6da7c2dd-8e2e-469f-a216-c384312e2a2d" providerId="ADAL" clId="{CC07BEAC-85A7-44E0-BC28-578FC3DF3703}" dt="2019-02-19T22:45:53.336" v="7778" actId="1076"/>
          <ac:spMkLst>
            <pc:docMk/>
            <pc:sldMk cId="3228137073" sldId="4692"/>
            <ac:spMk id="11" creationId="{2917E357-D616-4131-8A62-31992CE687BE}"/>
          </ac:spMkLst>
        </pc:spChg>
        <pc:spChg chg="add mod">
          <ac:chgData name="Bob Ward" userId="6da7c2dd-8e2e-469f-a216-c384312e2a2d" providerId="ADAL" clId="{CC07BEAC-85A7-44E0-BC28-578FC3DF3703}" dt="2019-02-19T22:49:01.217" v="7930" actId="113"/>
          <ac:spMkLst>
            <pc:docMk/>
            <pc:sldMk cId="3228137073" sldId="4692"/>
            <ac:spMk id="15" creationId="{1069F900-AD4D-4520-BF58-524280930516}"/>
          </ac:spMkLst>
        </pc:spChg>
        <pc:spChg chg="add mod">
          <ac:chgData name="Bob Ward" userId="6da7c2dd-8e2e-469f-a216-c384312e2a2d" providerId="ADAL" clId="{CC07BEAC-85A7-44E0-BC28-578FC3DF3703}" dt="2019-02-19T22:46:18.977" v="7795" actId="1076"/>
          <ac:spMkLst>
            <pc:docMk/>
            <pc:sldMk cId="3228137073" sldId="4692"/>
            <ac:spMk id="17" creationId="{3F9FA4B7-3AF2-429C-944D-A3145D988BF3}"/>
          </ac:spMkLst>
        </pc:spChg>
        <pc:picChg chg="add del mod">
          <ac:chgData name="Bob Ward" userId="6da7c2dd-8e2e-469f-a216-c384312e2a2d" providerId="ADAL" clId="{CC07BEAC-85A7-44E0-BC28-578FC3DF3703}" dt="2019-02-19T22:24:53.440" v="7453" actId="478"/>
          <ac:picMkLst>
            <pc:docMk/>
            <pc:sldMk cId="3228137073" sldId="4692"/>
            <ac:picMk id="4" creationId="{0EE48817-C2E5-46DC-82F1-EFC3455CF54E}"/>
          </ac:picMkLst>
        </pc:picChg>
        <pc:picChg chg="add mod">
          <ac:chgData name="Bob Ward" userId="6da7c2dd-8e2e-469f-a216-c384312e2a2d" providerId="ADAL" clId="{CC07BEAC-85A7-44E0-BC28-578FC3DF3703}" dt="2019-02-19T22:45:39.947" v="7775" actId="1076"/>
          <ac:picMkLst>
            <pc:docMk/>
            <pc:sldMk cId="3228137073" sldId="4692"/>
            <ac:picMk id="5" creationId="{ECEEF45B-ADF1-406C-B231-20FF9156F5A2}"/>
          </ac:picMkLst>
        </pc:picChg>
        <pc:cxnChg chg="add mod">
          <ac:chgData name="Bob Ward" userId="6da7c2dd-8e2e-469f-a216-c384312e2a2d" providerId="ADAL" clId="{CC07BEAC-85A7-44E0-BC28-578FC3DF3703}" dt="2019-02-19T22:46:26.933" v="7796" actId="693"/>
          <ac:cxnSpMkLst>
            <pc:docMk/>
            <pc:sldMk cId="3228137073" sldId="4692"/>
            <ac:cxnSpMk id="13" creationId="{84B4C49E-F9BC-45E4-A5E9-A4C0E8EC776B}"/>
          </ac:cxnSpMkLst>
        </pc:cxnChg>
      </pc:sldChg>
      <pc:sldChg chg="addSp delSp modSp add modAnim">
        <pc:chgData name="Bob Ward" userId="6da7c2dd-8e2e-469f-a216-c384312e2a2d" providerId="ADAL" clId="{CC07BEAC-85A7-44E0-BC28-578FC3DF3703}" dt="2019-02-23T19:50:51.463" v="18332"/>
        <pc:sldMkLst>
          <pc:docMk/>
          <pc:sldMk cId="2744988156" sldId="4693"/>
        </pc:sldMkLst>
        <pc:spChg chg="mod">
          <ac:chgData name="Bob Ward" userId="6da7c2dd-8e2e-469f-a216-c384312e2a2d" providerId="ADAL" clId="{CC07BEAC-85A7-44E0-BC28-578FC3DF3703}" dt="2019-02-19T21:37:35.162" v="7215" actId="1076"/>
          <ac:spMkLst>
            <pc:docMk/>
            <pc:sldMk cId="2744988156" sldId="4693"/>
            <ac:spMk id="2" creationId="{483ACC7E-3464-43A0-9B77-A63D1077980B}"/>
          </ac:spMkLst>
        </pc:spChg>
        <pc:spChg chg="del">
          <ac:chgData name="Bob Ward" userId="6da7c2dd-8e2e-469f-a216-c384312e2a2d" providerId="ADAL" clId="{CC07BEAC-85A7-44E0-BC28-578FC3DF3703}" dt="2019-02-19T21:33:16.035" v="7164" actId="478"/>
          <ac:spMkLst>
            <pc:docMk/>
            <pc:sldMk cId="2744988156" sldId="4693"/>
            <ac:spMk id="3" creationId="{CEE323B6-CDFE-4734-ADE6-5C94D1DCA8E9}"/>
          </ac:spMkLst>
        </pc:spChg>
        <pc:spChg chg="add mod">
          <ac:chgData name="Bob Ward" userId="6da7c2dd-8e2e-469f-a216-c384312e2a2d" providerId="ADAL" clId="{CC07BEAC-85A7-44E0-BC28-578FC3DF3703}" dt="2019-02-19T22:48:30.560" v="7918" actId="1076"/>
          <ac:spMkLst>
            <pc:docMk/>
            <pc:sldMk cId="2744988156" sldId="4693"/>
            <ac:spMk id="5" creationId="{18D20E96-8837-4648-9CB5-6D2124B62CE9}"/>
          </ac:spMkLst>
        </pc:spChg>
        <pc:spChg chg="add mod">
          <ac:chgData name="Bob Ward" userId="6da7c2dd-8e2e-469f-a216-c384312e2a2d" providerId="ADAL" clId="{CC07BEAC-85A7-44E0-BC28-578FC3DF3703}" dt="2019-02-19T22:48:30.560" v="7918" actId="1076"/>
          <ac:spMkLst>
            <pc:docMk/>
            <pc:sldMk cId="2744988156" sldId="4693"/>
            <ac:spMk id="11" creationId="{8875BE50-F503-4229-9BC9-E1C7B10F49AC}"/>
          </ac:spMkLst>
        </pc:spChg>
        <pc:spChg chg="add mod">
          <ac:chgData name="Bob Ward" userId="6da7c2dd-8e2e-469f-a216-c384312e2a2d" providerId="ADAL" clId="{CC07BEAC-85A7-44E0-BC28-578FC3DF3703}" dt="2019-02-19T22:48:37.656" v="7927" actId="1076"/>
          <ac:spMkLst>
            <pc:docMk/>
            <pc:sldMk cId="2744988156" sldId="4693"/>
            <ac:spMk id="14" creationId="{0082B6D1-6C31-43E6-917B-5767E3C40929}"/>
          </ac:spMkLst>
        </pc:spChg>
        <pc:spChg chg="add mod">
          <ac:chgData name="Bob Ward" userId="6da7c2dd-8e2e-469f-a216-c384312e2a2d" providerId="ADAL" clId="{CC07BEAC-85A7-44E0-BC28-578FC3DF3703}" dt="2019-02-19T22:48:20.037" v="7915" actId="1076"/>
          <ac:spMkLst>
            <pc:docMk/>
            <pc:sldMk cId="2744988156" sldId="4693"/>
            <ac:spMk id="15" creationId="{2220F019-6199-443F-ACC4-04F8DD6E24A4}"/>
          </ac:spMkLst>
        </pc:spChg>
        <pc:spChg chg="add mod">
          <ac:chgData name="Bob Ward" userId="6da7c2dd-8e2e-469f-a216-c384312e2a2d" providerId="ADAL" clId="{CC07BEAC-85A7-44E0-BC28-578FC3DF3703}" dt="2019-02-19T22:49:07.106" v="7931" actId="113"/>
          <ac:spMkLst>
            <pc:docMk/>
            <pc:sldMk cId="2744988156" sldId="4693"/>
            <ac:spMk id="17" creationId="{953E24D1-59C3-4EF9-9BB9-2EC057064A2E}"/>
          </ac:spMkLst>
        </pc:spChg>
        <pc:picChg chg="add mod">
          <ac:chgData name="Bob Ward" userId="6da7c2dd-8e2e-469f-a216-c384312e2a2d" providerId="ADAL" clId="{CC07BEAC-85A7-44E0-BC28-578FC3DF3703}" dt="2019-02-19T22:48:30.560" v="7918" actId="1076"/>
          <ac:picMkLst>
            <pc:docMk/>
            <pc:sldMk cId="2744988156" sldId="4693"/>
            <ac:picMk id="4" creationId="{D8DE14EB-90EB-4E89-B133-CD1E7777784D}"/>
          </ac:picMkLst>
        </pc:picChg>
        <pc:picChg chg="add mod">
          <ac:chgData name="Bob Ward" userId="6da7c2dd-8e2e-469f-a216-c384312e2a2d" providerId="ADAL" clId="{CC07BEAC-85A7-44E0-BC28-578FC3DF3703}" dt="2019-02-19T22:48:16.444" v="7914" actId="1076"/>
          <ac:picMkLst>
            <pc:docMk/>
            <pc:sldMk cId="2744988156" sldId="4693"/>
            <ac:picMk id="2050" creationId="{A0467D90-A83A-46C9-802F-90473448B2FF}"/>
          </ac:picMkLst>
        </pc:picChg>
        <pc:cxnChg chg="add del mod">
          <ac:chgData name="Bob Ward" userId="6da7c2dd-8e2e-469f-a216-c384312e2a2d" providerId="ADAL" clId="{CC07BEAC-85A7-44E0-BC28-578FC3DF3703}" dt="2019-02-19T21:36:36.395" v="7198" actId="478"/>
          <ac:cxnSpMkLst>
            <pc:docMk/>
            <pc:sldMk cId="2744988156" sldId="4693"/>
            <ac:cxnSpMk id="7" creationId="{66ACB842-57C9-4346-9AFC-05E276913D6D}"/>
          </ac:cxnSpMkLst>
        </pc:cxnChg>
        <pc:cxnChg chg="add mod">
          <ac:chgData name="Bob Ward" userId="6da7c2dd-8e2e-469f-a216-c384312e2a2d" providerId="ADAL" clId="{CC07BEAC-85A7-44E0-BC28-578FC3DF3703}" dt="2019-02-19T22:48:30.560" v="7918" actId="1076"/>
          <ac:cxnSpMkLst>
            <pc:docMk/>
            <pc:sldMk cId="2744988156" sldId="4693"/>
            <ac:cxnSpMk id="9" creationId="{7E1FA4AD-DE47-4FCA-A703-40954CF98E7B}"/>
          </ac:cxnSpMkLst>
        </pc:cxnChg>
        <pc:cxnChg chg="add mod">
          <ac:chgData name="Bob Ward" userId="6da7c2dd-8e2e-469f-a216-c384312e2a2d" providerId="ADAL" clId="{CC07BEAC-85A7-44E0-BC28-578FC3DF3703}" dt="2019-02-19T22:48:30.560" v="7918" actId="1076"/>
          <ac:cxnSpMkLst>
            <pc:docMk/>
            <pc:sldMk cId="2744988156" sldId="4693"/>
            <ac:cxnSpMk id="12" creationId="{E5BE3862-FD13-4964-986A-BCFB936BC0CF}"/>
          </ac:cxnSpMkLst>
        </pc:cxnChg>
      </pc:sldChg>
      <pc:sldChg chg="addSp delSp modSp add modAnim">
        <pc:chgData name="Bob Ward" userId="6da7c2dd-8e2e-469f-a216-c384312e2a2d" providerId="ADAL" clId="{CC07BEAC-85A7-44E0-BC28-578FC3DF3703}" dt="2019-02-23T19:48:20.422" v="18324"/>
        <pc:sldMkLst>
          <pc:docMk/>
          <pc:sldMk cId="2522640682" sldId="4694"/>
        </pc:sldMkLst>
        <pc:spChg chg="mod">
          <ac:chgData name="Bob Ward" userId="6da7c2dd-8e2e-469f-a216-c384312e2a2d" providerId="ADAL" clId="{CC07BEAC-85A7-44E0-BC28-578FC3DF3703}" dt="2019-02-13T21:38:22.891" v="3329" actId="20577"/>
          <ac:spMkLst>
            <pc:docMk/>
            <pc:sldMk cId="2522640682" sldId="4694"/>
            <ac:spMk id="2" creationId="{5026D575-D382-4619-BA7D-CBED1BE81195}"/>
          </ac:spMkLst>
        </pc:spChg>
        <pc:spChg chg="del">
          <ac:chgData name="Bob Ward" userId="6da7c2dd-8e2e-469f-a216-c384312e2a2d" providerId="ADAL" clId="{CC07BEAC-85A7-44E0-BC28-578FC3DF3703}" dt="2019-02-20T03:55:10.386" v="8456" actId="478"/>
          <ac:spMkLst>
            <pc:docMk/>
            <pc:sldMk cId="2522640682" sldId="4694"/>
            <ac:spMk id="3" creationId="{3495847D-8E5B-440C-95DA-7B0E318C3D2B}"/>
          </ac:spMkLst>
        </pc:spChg>
        <pc:spChg chg="add mod">
          <ac:chgData name="Bob Ward" userId="6da7c2dd-8e2e-469f-a216-c384312e2a2d" providerId="ADAL" clId="{CC07BEAC-85A7-44E0-BC28-578FC3DF3703}" dt="2019-02-20T04:27:34.755" v="9104" actId="20577"/>
          <ac:spMkLst>
            <pc:docMk/>
            <pc:sldMk cId="2522640682" sldId="4694"/>
            <ac:spMk id="4" creationId="{80857454-2958-4273-80C9-952144791BD4}"/>
          </ac:spMkLst>
        </pc:spChg>
        <pc:graphicFrameChg chg="add mod">
          <ac:chgData name="Bob Ward" userId="6da7c2dd-8e2e-469f-a216-c384312e2a2d" providerId="ADAL" clId="{CC07BEAC-85A7-44E0-BC28-578FC3DF3703}" dt="2019-02-20T17:41:18.369" v="10854" actId="20577"/>
          <ac:graphicFrameMkLst>
            <pc:docMk/>
            <pc:sldMk cId="2522640682" sldId="4694"/>
            <ac:graphicFrameMk id="5" creationId="{57E45DC9-29CD-4F31-A6F5-6DF32B7DD58C}"/>
          </ac:graphicFrameMkLst>
        </pc:graphicFrameChg>
      </pc:sldChg>
      <pc:sldChg chg="addSp delSp modSp add modAnim">
        <pc:chgData name="Bob Ward" userId="6da7c2dd-8e2e-469f-a216-c384312e2a2d" providerId="ADAL" clId="{CC07BEAC-85A7-44E0-BC28-578FC3DF3703}" dt="2019-02-23T19:51:37.038" v="18333"/>
        <pc:sldMkLst>
          <pc:docMk/>
          <pc:sldMk cId="3559102330" sldId="4695"/>
        </pc:sldMkLst>
        <pc:spChg chg="mod ord">
          <ac:chgData name="Bob Ward" userId="6da7c2dd-8e2e-469f-a216-c384312e2a2d" providerId="ADAL" clId="{CC07BEAC-85A7-44E0-BC28-578FC3DF3703}" dt="2019-02-20T04:39:08.370" v="9627" actId="14100"/>
          <ac:spMkLst>
            <pc:docMk/>
            <pc:sldMk cId="3559102330" sldId="4695"/>
            <ac:spMk id="2" creationId="{DE203A52-CFA0-4EB3-9984-22D25512BD8F}"/>
          </ac:spMkLst>
        </pc:spChg>
        <pc:spChg chg="del">
          <ac:chgData name="Bob Ward" userId="6da7c2dd-8e2e-469f-a216-c384312e2a2d" providerId="ADAL" clId="{CC07BEAC-85A7-44E0-BC28-578FC3DF3703}" dt="2019-02-20T04:38:11.561" v="9623" actId="478"/>
          <ac:spMkLst>
            <pc:docMk/>
            <pc:sldMk cId="3559102330" sldId="4695"/>
            <ac:spMk id="3" creationId="{194A7866-26AD-4C57-B848-780EC687930F}"/>
          </ac:spMkLst>
        </pc:spChg>
        <pc:spChg chg="add">
          <ac:chgData name="Bob Ward" userId="6da7c2dd-8e2e-469f-a216-c384312e2a2d" providerId="ADAL" clId="{CC07BEAC-85A7-44E0-BC28-578FC3DF3703}" dt="2019-02-20T04:38:38.354" v="9624"/>
          <ac:spMkLst>
            <pc:docMk/>
            <pc:sldMk cId="3559102330" sldId="4695"/>
            <ac:spMk id="4" creationId="{859FD69C-9B53-40D9-B71B-3BFBC9B3FF9D}"/>
          </ac:spMkLst>
        </pc:spChg>
        <pc:spChg chg="add mod">
          <ac:chgData name="Bob Ward" userId="6da7c2dd-8e2e-469f-a216-c384312e2a2d" providerId="ADAL" clId="{CC07BEAC-85A7-44E0-BC28-578FC3DF3703}" dt="2019-02-21T03:00:47.938" v="13206" actId="1076"/>
          <ac:spMkLst>
            <pc:docMk/>
            <pc:sldMk cId="3559102330" sldId="4695"/>
            <ac:spMk id="5" creationId="{968BCE12-674F-4429-A63D-DD6C84DC4519}"/>
          </ac:spMkLst>
        </pc:spChg>
        <pc:spChg chg="add">
          <ac:chgData name="Bob Ward" userId="6da7c2dd-8e2e-469f-a216-c384312e2a2d" providerId="ADAL" clId="{CC07BEAC-85A7-44E0-BC28-578FC3DF3703}" dt="2019-02-20T04:38:38.354" v="9624"/>
          <ac:spMkLst>
            <pc:docMk/>
            <pc:sldMk cId="3559102330" sldId="4695"/>
            <ac:spMk id="6" creationId="{BE36FB39-EDAD-4331-83FE-B8A1BB6F971E}"/>
          </ac:spMkLst>
        </pc:spChg>
        <pc:spChg chg="add">
          <ac:chgData name="Bob Ward" userId="6da7c2dd-8e2e-469f-a216-c384312e2a2d" providerId="ADAL" clId="{CC07BEAC-85A7-44E0-BC28-578FC3DF3703}" dt="2019-02-20T04:38:38.354" v="9624"/>
          <ac:spMkLst>
            <pc:docMk/>
            <pc:sldMk cId="3559102330" sldId="4695"/>
            <ac:spMk id="7" creationId="{303508E8-DBEB-4D6A-9D8E-A94F3CD1B222}"/>
          </ac:spMkLst>
        </pc:spChg>
        <pc:spChg chg="add">
          <ac:chgData name="Bob Ward" userId="6da7c2dd-8e2e-469f-a216-c384312e2a2d" providerId="ADAL" clId="{CC07BEAC-85A7-44E0-BC28-578FC3DF3703}" dt="2019-02-20T04:38:38.354" v="9624"/>
          <ac:spMkLst>
            <pc:docMk/>
            <pc:sldMk cId="3559102330" sldId="4695"/>
            <ac:spMk id="8" creationId="{DA6A3E16-DE4E-47BB-BDE6-537F90219FAA}"/>
          </ac:spMkLst>
        </pc:spChg>
        <pc:spChg chg="add">
          <ac:chgData name="Bob Ward" userId="6da7c2dd-8e2e-469f-a216-c384312e2a2d" providerId="ADAL" clId="{CC07BEAC-85A7-44E0-BC28-578FC3DF3703}" dt="2019-02-20T04:38:38.354" v="9624"/>
          <ac:spMkLst>
            <pc:docMk/>
            <pc:sldMk cId="3559102330" sldId="4695"/>
            <ac:spMk id="9" creationId="{701A7F62-C0CC-4E5E-94A1-73F708540AE3}"/>
          </ac:spMkLst>
        </pc:spChg>
        <pc:spChg chg="add">
          <ac:chgData name="Bob Ward" userId="6da7c2dd-8e2e-469f-a216-c384312e2a2d" providerId="ADAL" clId="{CC07BEAC-85A7-44E0-BC28-578FC3DF3703}" dt="2019-02-20T04:38:38.354" v="9624"/>
          <ac:spMkLst>
            <pc:docMk/>
            <pc:sldMk cId="3559102330" sldId="4695"/>
            <ac:spMk id="10" creationId="{55721BA1-F102-45FC-BCD0-CE684690D7D8}"/>
          </ac:spMkLst>
        </pc:spChg>
        <pc:spChg chg="add">
          <ac:chgData name="Bob Ward" userId="6da7c2dd-8e2e-469f-a216-c384312e2a2d" providerId="ADAL" clId="{CC07BEAC-85A7-44E0-BC28-578FC3DF3703}" dt="2019-02-20T04:38:38.354" v="9624"/>
          <ac:spMkLst>
            <pc:docMk/>
            <pc:sldMk cId="3559102330" sldId="4695"/>
            <ac:spMk id="14" creationId="{098FD7AA-61DB-457B-BB14-A5A9A174B6C2}"/>
          </ac:spMkLst>
        </pc:spChg>
        <pc:spChg chg="add">
          <ac:chgData name="Bob Ward" userId="6da7c2dd-8e2e-469f-a216-c384312e2a2d" providerId="ADAL" clId="{CC07BEAC-85A7-44E0-BC28-578FC3DF3703}" dt="2019-02-20T04:38:38.354" v="9624"/>
          <ac:spMkLst>
            <pc:docMk/>
            <pc:sldMk cId="3559102330" sldId="4695"/>
            <ac:spMk id="15" creationId="{493FEEF3-EE4E-4EF9-AD75-AC6CDFC8ABA0}"/>
          </ac:spMkLst>
        </pc:spChg>
        <pc:spChg chg="add">
          <ac:chgData name="Bob Ward" userId="6da7c2dd-8e2e-469f-a216-c384312e2a2d" providerId="ADAL" clId="{CC07BEAC-85A7-44E0-BC28-578FC3DF3703}" dt="2019-02-20T04:38:38.354" v="9624"/>
          <ac:spMkLst>
            <pc:docMk/>
            <pc:sldMk cId="3559102330" sldId="4695"/>
            <ac:spMk id="16" creationId="{EE5AA6CA-2F5D-4FC5-B7A2-1D07E6ACCFBB}"/>
          </ac:spMkLst>
        </pc:spChg>
        <pc:spChg chg="add">
          <ac:chgData name="Bob Ward" userId="6da7c2dd-8e2e-469f-a216-c384312e2a2d" providerId="ADAL" clId="{CC07BEAC-85A7-44E0-BC28-578FC3DF3703}" dt="2019-02-20T04:38:38.354" v="9624"/>
          <ac:spMkLst>
            <pc:docMk/>
            <pc:sldMk cId="3559102330" sldId="4695"/>
            <ac:spMk id="17" creationId="{62A1A017-354C-4D2C-BFAB-F48901F365AD}"/>
          </ac:spMkLst>
        </pc:spChg>
        <pc:spChg chg="add">
          <ac:chgData name="Bob Ward" userId="6da7c2dd-8e2e-469f-a216-c384312e2a2d" providerId="ADAL" clId="{CC07BEAC-85A7-44E0-BC28-578FC3DF3703}" dt="2019-02-20T04:38:38.354" v="9624"/>
          <ac:spMkLst>
            <pc:docMk/>
            <pc:sldMk cId="3559102330" sldId="4695"/>
            <ac:spMk id="24" creationId="{7181E347-CDB8-4009-8880-22726047A985}"/>
          </ac:spMkLst>
        </pc:spChg>
        <pc:spChg chg="add">
          <ac:chgData name="Bob Ward" userId="6da7c2dd-8e2e-469f-a216-c384312e2a2d" providerId="ADAL" clId="{CC07BEAC-85A7-44E0-BC28-578FC3DF3703}" dt="2019-02-20T04:38:38.354" v="9624"/>
          <ac:spMkLst>
            <pc:docMk/>
            <pc:sldMk cId="3559102330" sldId="4695"/>
            <ac:spMk id="25" creationId="{2630E2AB-0729-429C-8965-CD927DD702FE}"/>
          </ac:spMkLst>
        </pc:spChg>
        <pc:spChg chg="add">
          <ac:chgData name="Bob Ward" userId="6da7c2dd-8e2e-469f-a216-c384312e2a2d" providerId="ADAL" clId="{CC07BEAC-85A7-44E0-BC28-578FC3DF3703}" dt="2019-02-20T04:38:38.354" v="9624"/>
          <ac:spMkLst>
            <pc:docMk/>
            <pc:sldMk cId="3559102330" sldId="4695"/>
            <ac:spMk id="26" creationId="{E5256791-05C4-4554-B9C1-8BFD08B4DD53}"/>
          </ac:spMkLst>
        </pc:spChg>
        <pc:spChg chg="add mod">
          <ac:chgData name="Bob Ward" userId="6da7c2dd-8e2e-469f-a216-c384312e2a2d" providerId="ADAL" clId="{CC07BEAC-85A7-44E0-BC28-578FC3DF3703}" dt="2019-02-21T03:00:38.855" v="13204" actId="1076"/>
          <ac:spMkLst>
            <pc:docMk/>
            <pc:sldMk cId="3559102330" sldId="4695"/>
            <ac:spMk id="27" creationId="{4BAA8ED1-E53B-452E-85E8-C88F13A6C497}"/>
          </ac:spMkLst>
        </pc:spChg>
        <pc:grpChg chg="add">
          <ac:chgData name="Bob Ward" userId="6da7c2dd-8e2e-469f-a216-c384312e2a2d" providerId="ADAL" clId="{CC07BEAC-85A7-44E0-BC28-578FC3DF3703}" dt="2019-02-20T04:38:38.354" v="9624"/>
          <ac:grpSpMkLst>
            <pc:docMk/>
            <pc:sldMk cId="3559102330" sldId="4695"/>
            <ac:grpSpMk id="18" creationId="{666213BF-2236-4F3C-8904-EFAC181E6E2F}"/>
          </ac:grpSpMkLst>
        </pc:grpChg>
        <pc:cxnChg chg="add">
          <ac:chgData name="Bob Ward" userId="6da7c2dd-8e2e-469f-a216-c384312e2a2d" providerId="ADAL" clId="{CC07BEAC-85A7-44E0-BC28-578FC3DF3703}" dt="2019-02-20T04:38:38.354" v="9624"/>
          <ac:cxnSpMkLst>
            <pc:docMk/>
            <pc:sldMk cId="3559102330" sldId="4695"/>
            <ac:cxnSpMk id="11" creationId="{4DD38DD1-18D8-4986-856A-AF9B21EE753D}"/>
          </ac:cxnSpMkLst>
        </pc:cxnChg>
        <pc:cxnChg chg="add">
          <ac:chgData name="Bob Ward" userId="6da7c2dd-8e2e-469f-a216-c384312e2a2d" providerId="ADAL" clId="{CC07BEAC-85A7-44E0-BC28-578FC3DF3703}" dt="2019-02-20T04:38:38.354" v="9624"/>
          <ac:cxnSpMkLst>
            <pc:docMk/>
            <pc:sldMk cId="3559102330" sldId="4695"/>
            <ac:cxnSpMk id="12" creationId="{4F38DAA8-9B80-45A0-8396-6EBD55B9073E}"/>
          </ac:cxnSpMkLst>
        </pc:cxnChg>
        <pc:cxnChg chg="add">
          <ac:chgData name="Bob Ward" userId="6da7c2dd-8e2e-469f-a216-c384312e2a2d" providerId="ADAL" clId="{CC07BEAC-85A7-44E0-BC28-578FC3DF3703}" dt="2019-02-20T04:38:38.354" v="9624"/>
          <ac:cxnSpMkLst>
            <pc:docMk/>
            <pc:sldMk cId="3559102330" sldId="4695"/>
            <ac:cxnSpMk id="13" creationId="{381E25ED-9437-4F68-BF4D-5DF9E8548C64}"/>
          </ac:cxnSpMkLst>
        </pc:cxnChg>
      </pc:sldChg>
      <pc:sldChg chg="addSp delSp modSp add modAnim">
        <pc:chgData name="Bob Ward" userId="6da7c2dd-8e2e-469f-a216-c384312e2a2d" providerId="ADAL" clId="{CC07BEAC-85A7-44E0-BC28-578FC3DF3703}" dt="2019-02-25T01:05:29.280" v="18911" actId="6549"/>
        <pc:sldMkLst>
          <pc:docMk/>
          <pc:sldMk cId="4041737884" sldId="4696"/>
        </pc:sldMkLst>
        <pc:spChg chg="mod">
          <ac:chgData name="Bob Ward" userId="6da7c2dd-8e2e-469f-a216-c384312e2a2d" providerId="ADAL" clId="{CC07BEAC-85A7-44E0-BC28-578FC3DF3703}" dt="2019-02-20T17:29:05.789" v="10675" actId="20577"/>
          <ac:spMkLst>
            <pc:docMk/>
            <pc:sldMk cId="4041737884" sldId="4696"/>
            <ac:spMk id="2" creationId="{DE203A52-CFA0-4EB3-9984-22D25512BD8F}"/>
          </ac:spMkLst>
        </pc:spChg>
        <pc:spChg chg="del">
          <ac:chgData name="Bob Ward" userId="6da7c2dd-8e2e-469f-a216-c384312e2a2d" providerId="ADAL" clId="{CC07BEAC-85A7-44E0-BC28-578FC3DF3703}" dt="2019-02-19T23:45:35.862" v="7965" actId="478"/>
          <ac:spMkLst>
            <pc:docMk/>
            <pc:sldMk cId="4041737884" sldId="4696"/>
            <ac:spMk id="3" creationId="{194A7866-26AD-4C57-B848-780EC687930F}"/>
          </ac:spMkLst>
        </pc:spChg>
        <pc:spChg chg="add mod">
          <ac:chgData name="Bob Ward" userId="6da7c2dd-8e2e-469f-a216-c384312e2a2d" providerId="ADAL" clId="{CC07BEAC-85A7-44E0-BC28-578FC3DF3703}" dt="2019-02-25T01:05:29.280" v="18911" actId="6549"/>
          <ac:spMkLst>
            <pc:docMk/>
            <pc:sldMk cId="4041737884" sldId="4696"/>
            <ac:spMk id="5" creationId="{73F37F6F-4A4F-4B1B-80D8-6B6562191821}"/>
          </ac:spMkLst>
        </pc:spChg>
        <pc:graphicFrameChg chg="add mod">
          <ac:chgData name="Bob Ward" userId="6da7c2dd-8e2e-469f-a216-c384312e2a2d" providerId="ADAL" clId="{CC07BEAC-85A7-44E0-BC28-578FC3DF3703}" dt="2019-02-25T01:05:13.985" v="18910" actId="20577"/>
          <ac:graphicFrameMkLst>
            <pc:docMk/>
            <pc:sldMk cId="4041737884" sldId="4696"/>
            <ac:graphicFrameMk id="4" creationId="{4C01E803-3DFF-47DD-9C0A-331EC4DCCC32}"/>
          </ac:graphicFrameMkLst>
        </pc:graphicFrameChg>
        <pc:picChg chg="add del">
          <ac:chgData name="Bob Ward" userId="6da7c2dd-8e2e-469f-a216-c384312e2a2d" providerId="ADAL" clId="{CC07BEAC-85A7-44E0-BC28-578FC3DF3703}" dt="2019-02-19T23:46:10.139" v="8030"/>
          <ac:picMkLst>
            <pc:docMk/>
            <pc:sldMk cId="4041737884" sldId="4696"/>
            <ac:picMk id="3074" creationId="{2D35908C-8764-4492-BFD6-3C3F4FB62C78}"/>
          </ac:picMkLst>
        </pc:picChg>
        <pc:picChg chg="add mod">
          <ac:chgData name="Bob Ward" userId="6da7c2dd-8e2e-469f-a216-c384312e2a2d" providerId="ADAL" clId="{CC07BEAC-85A7-44E0-BC28-578FC3DF3703}" dt="2019-02-20T17:28:44.120" v="10640" actId="1076"/>
          <ac:picMkLst>
            <pc:docMk/>
            <pc:sldMk cId="4041737884" sldId="4696"/>
            <ac:picMk id="3076" creationId="{CE12F756-5C03-49B9-9178-D6DE3A31F24F}"/>
          </ac:picMkLst>
        </pc:picChg>
      </pc:sldChg>
      <pc:sldChg chg="addSp delSp modSp add modAnim">
        <pc:chgData name="Bob Ward" userId="6da7c2dd-8e2e-469f-a216-c384312e2a2d" providerId="ADAL" clId="{CC07BEAC-85A7-44E0-BC28-578FC3DF3703}" dt="2019-02-21T03:02:13.073" v="13284" actId="1076"/>
        <pc:sldMkLst>
          <pc:docMk/>
          <pc:sldMk cId="3477207563" sldId="4697"/>
        </pc:sldMkLst>
        <pc:spChg chg="mod">
          <ac:chgData name="Bob Ward" userId="6da7c2dd-8e2e-469f-a216-c384312e2a2d" providerId="ADAL" clId="{CC07BEAC-85A7-44E0-BC28-578FC3DF3703}" dt="2019-02-20T04:47:51.940" v="9814" actId="1076"/>
          <ac:spMkLst>
            <pc:docMk/>
            <pc:sldMk cId="3477207563" sldId="4697"/>
            <ac:spMk id="2" creationId="{F2C60B96-D19E-44AB-B183-5605F170FB0A}"/>
          </ac:spMkLst>
        </pc:spChg>
        <pc:spChg chg="del">
          <ac:chgData name="Bob Ward" userId="6da7c2dd-8e2e-469f-a216-c384312e2a2d" providerId="ADAL" clId="{CC07BEAC-85A7-44E0-BC28-578FC3DF3703}" dt="2019-02-20T04:47:44.334" v="9812" actId="478"/>
          <ac:spMkLst>
            <pc:docMk/>
            <pc:sldMk cId="3477207563" sldId="4697"/>
            <ac:spMk id="3" creationId="{22D91DC9-E42B-4A63-92CC-4F89957B0471}"/>
          </ac:spMkLst>
        </pc:spChg>
        <pc:spChg chg="add">
          <ac:chgData name="Bob Ward" userId="6da7c2dd-8e2e-469f-a216-c384312e2a2d" providerId="ADAL" clId="{CC07BEAC-85A7-44E0-BC28-578FC3DF3703}" dt="2019-02-20T04:47:45.520" v="9813"/>
          <ac:spMkLst>
            <pc:docMk/>
            <pc:sldMk cId="3477207563" sldId="4697"/>
            <ac:spMk id="6" creationId="{4B04D43F-34FC-4BBA-BB68-20DBB3818B8E}"/>
          </ac:spMkLst>
        </pc:spChg>
        <pc:spChg chg="add">
          <ac:chgData name="Bob Ward" userId="6da7c2dd-8e2e-469f-a216-c384312e2a2d" providerId="ADAL" clId="{CC07BEAC-85A7-44E0-BC28-578FC3DF3703}" dt="2019-02-20T04:47:45.520" v="9813"/>
          <ac:spMkLst>
            <pc:docMk/>
            <pc:sldMk cId="3477207563" sldId="4697"/>
            <ac:spMk id="7" creationId="{658EF6B3-37F2-4519-870E-729A0F35E41C}"/>
          </ac:spMkLst>
        </pc:spChg>
        <pc:spChg chg="add">
          <ac:chgData name="Bob Ward" userId="6da7c2dd-8e2e-469f-a216-c384312e2a2d" providerId="ADAL" clId="{CC07BEAC-85A7-44E0-BC28-578FC3DF3703}" dt="2019-02-20T04:47:45.520" v="9813"/>
          <ac:spMkLst>
            <pc:docMk/>
            <pc:sldMk cId="3477207563" sldId="4697"/>
            <ac:spMk id="8" creationId="{D32A63A4-2E3E-4DCC-95EE-FAC836A429ED}"/>
          </ac:spMkLst>
        </pc:spChg>
        <pc:spChg chg="add">
          <ac:chgData name="Bob Ward" userId="6da7c2dd-8e2e-469f-a216-c384312e2a2d" providerId="ADAL" clId="{CC07BEAC-85A7-44E0-BC28-578FC3DF3703}" dt="2019-02-20T04:47:45.520" v="9813"/>
          <ac:spMkLst>
            <pc:docMk/>
            <pc:sldMk cId="3477207563" sldId="4697"/>
            <ac:spMk id="9" creationId="{D406E5CB-7134-4797-9FE1-BAB6E8E852AE}"/>
          </ac:spMkLst>
        </pc:spChg>
        <pc:spChg chg="add">
          <ac:chgData name="Bob Ward" userId="6da7c2dd-8e2e-469f-a216-c384312e2a2d" providerId="ADAL" clId="{CC07BEAC-85A7-44E0-BC28-578FC3DF3703}" dt="2019-02-20T04:47:45.520" v="9813"/>
          <ac:spMkLst>
            <pc:docMk/>
            <pc:sldMk cId="3477207563" sldId="4697"/>
            <ac:spMk id="10" creationId="{331FF703-5649-4484-9A01-F8728ABA9618}"/>
          </ac:spMkLst>
        </pc:spChg>
        <pc:spChg chg="add mod">
          <ac:chgData name="Bob Ward" userId="6da7c2dd-8e2e-469f-a216-c384312e2a2d" providerId="ADAL" clId="{CC07BEAC-85A7-44E0-BC28-578FC3DF3703}" dt="2019-02-21T03:01:36.616" v="13207" actId="1076"/>
          <ac:spMkLst>
            <pc:docMk/>
            <pc:sldMk cId="3477207563" sldId="4697"/>
            <ac:spMk id="11" creationId="{C8AAF447-092F-4489-823C-B797B4BA7192}"/>
          </ac:spMkLst>
        </pc:spChg>
        <pc:spChg chg="add mod">
          <ac:chgData name="Bob Ward" userId="6da7c2dd-8e2e-469f-a216-c384312e2a2d" providerId="ADAL" clId="{CC07BEAC-85A7-44E0-BC28-578FC3DF3703}" dt="2019-02-21T03:01:36.616" v="13207" actId="1076"/>
          <ac:spMkLst>
            <pc:docMk/>
            <pc:sldMk cId="3477207563" sldId="4697"/>
            <ac:spMk id="12" creationId="{5FEFF80A-F35E-4FAE-85F1-66F84E9F430F}"/>
          </ac:spMkLst>
        </pc:spChg>
        <pc:spChg chg="add mod">
          <ac:chgData name="Bob Ward" userId="6da7c2dd-8e2e-469f-a216-c384312e2a2d" providerId="ADAL" clId="{CC07BEAC-85A7-44E0-BC28-578FC3DF3703}" dt="2019-02-21T03:02:05.265" v="13283" actId="1076"/>
          <ac:spMkLst>
            <pc:docMk/>
            <pc:sldMk cId="3477207563" sldId="4697"/>
            <ac:spMk id="13" creationId="{38614559-E1E3-4AD6-BF8B-60491B08DCDA}"/>
          </ac:spMkLst>
        </pc:spChg>
        <pc:graphicFrameChg chg="add mod modGraphic">
          <ac:chgData name="Bob Ward" userId="6da7c2dd-8e2e-469f-a216-c384312e2a2d" providerId="ADAL" clId="{CC07BEAC-85A7-44E0-BC28-578FC3DF3703}" dt="2019-02-21T03:02:13.073" v="13284" actId="1076"/>
          <ac:graphicFrameMkLst>
            <pc:docMk/>
            <pc:sldMk cId="3477207563" sldId="4697"/>
            <ac:graphicFrameMk id="5" creationId="{AC19318C-61DD-404D-B294-F6A10C6CE440}"/>
          </ac:graphicFrameMkLst>
        </pc:graphicFrameChg>
        <pc:picChg chg="add">
          <ac:chgData name="Bob Ward" userId="6da7c2dd-8e2e-469f-a216-c384312e2a2d" providerId="ADAL" clId="{CC07BEAC-85A7-44E0-BC28-578FC3DF3703}" dt="2019-02-20T04:47:45.520" v="9813"/>
          <ac:picMkLst>
            <pc:docMk/>
            <pc:sldMk cId="3477207563" sldId="4697"/>
            <ac:picMk id="4" creationId="{49E96EBB-8B77-46E1-8301-CD1824E1E011}"/>
          </ac:picMkLst>
        </pc:picChg>
      </pc:sldChg>
      <pc:sldChg chg="modSp add del">
        <pc:chgData name="Bob Ward" userId="6da7c2dd-8e2e-469f-a216-c384312e2a2d" providerId="ADAL" clId="{CC07BEAC-85A7-44E0-BC28-578FC3DF3703}" dt="2019-02-20T04:44:07.448" v="9725" actId="2696"/>
        <pc:sldMkLst>
          <pc:docMk/>
          <pc:sldMk cId="728811639" sldId="4698"/>
        </pc:sldMkLst>
        <pc:spChg chg="mod">
          <ac:chgData name="Bob Ward" userId="6da7c2dd-8e2e-469f-a216-c384312e2a2d" providerId="ADAL" clId="{CC07BEAC-85A7-44E0-BC28-578FC3DF3703}" dt="2019-02-13T21:40:33.199" v="3614" actId="20577"/>
          <ac:spMkLst>
            <pc:docMk/>
            <pc:sldMk cId="728811639" sldId="4698"/>
            <ac:spMk id="2" creationId="{F2C60B96-D19E-44AB-B183-5605F170FB0A}"/>
          </ac:spMkLst>
        </pc:spChg>
      </pc:sldChg>
      <pc:sldChg chg="addSp delSp modSp add modAnim">
        <pc:chgData name="Bob Ward" userId="6da7c2dd-8e2e-469f-a216-c384312e2a2d" providerId="ADAL" clId="{CC07BEAC-85A7-44E0-BC28-578FC3DF3703}" dt="2019-02-23T19:52:36.167" v="18340"/>
        <pc:sldMkLst>
          <pc:docMk/>
          <pc:sldMk cId="3319097858" sldId="4699"/>
        </pc:sldMkLst>
        <pc:spChg chg="mod">
          <ac:chgData name="Bob Ward" userId="6da7c2dd-8e2e-469f-a216-c384312e2a2d" providerId="ADAL" clId="{CC07BEAC-85A7-44E0-BC28-578FC3DF3703}" dt="2019-02-20T17:22:22.661" v="9936" actId="14100"/>
          <ac:spMkLst>
            <pc:docMk/>
            <pc:sldMk cId="3319097858" sldId="4699"/>
            <ac:spMk id="2" creationId="{F2C60B96-D19E-44AB-B183-5605F170FB0A}"/>
          </ac:spMkLst>
        </pc:spChg>
        <pc:spChg chg="del">
          <ac:chgData name="Bob Ward" userId="6da7c2dd-8e2e-469f-a216-c384312e2a2d" providerId="ADAL" clId="{CC07BEAC-85A7-44E0-BC28-578FC3DF3703}" dt="2019-02-20T17:22:02.921" v="9931" actId="478"/>
          <ac:spMkLst>
            <pc:docMk/>
            <pc:sldMk cId="3319097858" sldId="4699"/>
            <ac:spMk id="3" creationId="{22D91DC9-E42B-4A63-92CC-4F89957B0471}"/>
          </ac:spMkLst>
        </pc:spChg>
        <pc:spChg chg="add del">
          <ac:chgData name="Bob Ward" userId="6da7c2dd-8e2e-469f-a216-c384312e2a2d" providerId="ADAL" clId="{CC07BEAC-85A7-44E0-BC28-578FC3DF3703}" dt="2019-02-20T17:22:05.682" v="9933"/>
          <ac:spMkLst>
            <pc:docMk/>
            <pc:sldMk cId="3319097858" sldId="4699"/>
            <ac:spMk id="4" creationId="{D44C499B-7C09-45C0-811D-9C07ECA364D8}"/>
          </ac:spMkLst>
        </pc:spChg>
        <pc:spChg chg="add mod">
          <ac:chgData name="Bob Ward" userId="6da7c2dd-8e2e-469f-a216-c384312e2a2d" providerId="ADAL" clId="{CC07BEAC-85A7-44E0-BC28-578FC3DF3703}" dt="2019-02-21T03:03:54.440" v="13425" actId="14100"/>
          <ac:spMkLst>
            <pc:docMk/>
            <pc:sldMk cId="3319097858" sldId="4699"/>
            <ac:spMk id="5" creationId="{DC8C3A60-7C7A-4039-A048-48502A1C52E1}"/>
          </ac:spMkLst>
        </pc:spChg>
        <pc:spChg chg="add">
          <ac:chgData name="Bob Ward" userId="6da7c2dd-8e2e-469f-a216-c384312e2a2d" providerId="ADAL" clId="{CC07BEAC-85A7-44E0-BC28-578FC3DF3703}" dt="2019-02-20T17:22:15.611" v="9934"/>
          <ac:spMkLst>
            <pc:docMk/>
            <pc:sldMk cId="3319097858" sldId="4699"/>
            <ac:spMk id="7" creationId="{4F849EEC-3606-4200-8F7C-4DD34B3A6FAA}"/>
          </ac:spMkLst>
        </pc:spChg>
        <pc:spChg chg="add">
          <ac:chgData name="Bob Ward" userId="6da7c2dd-8e2e-469f-a216-c384312e2a2d" providerId="ADAL" clId="{CC07BEAC-85A7-44E0-BC28-578FC3DF3703}" dt="2019-02-20T17:22:15.611" v="9934"/>
          <ac:spMkLst>
            <pc:docMk/>
            <pc:sldMk cId="3319097858" sldId="4699"/>
            <ac:spMk id="8" creationId="{E364CB98-E470-4ABE-B0D4-4194397FE588}"/>
          </ac:spMkLst>
        </pc:spChg>
        <pc:spChg chg="add">
          <ac:chgData name="Bob Ward" userId="6da7c2dd-8e2e-469f-a216-c384312e2a2d" providerId="ADAL" clId="{CC07BEAC-85A7-44E0-BC28-578FC3DF3703}" dt="2019-02-20T17:22:15.611" v="9934"/>
          <ac:spMkLst>
            <pc:docMk/>
            <pc:sldMk cId="3319097858" sldId="4699"/>
            <ac:spMk id="9" creationId="{F29B871B-19A6-4426-8131-BCE82AACC940}"/>
          </ac:spMkLst>
        </pc:spChg>
        <pc:spChg chg="add">
          <ac:chgData name="Bob Ward" userId="6da7c2dd-8e2e-469f-a216-c384312e2a2d" providerId="ADAL" clId="{CC07BEAC-85A7-44E0-BC28-578FC3DF3703}" dt="2019-02-20T17:22:15.611" v="9934"/>
          <ac:spMkLst>
            <pc:docMk/>
            <pc:sldMk cId="3319097858" sldId="4699"/>
            <ac:spMk id="12" creationId="{FF028D60-39A9-4AF1-885A-78748BA5DCED}"/>
          </ac:spMkLst>
        </pc:spChg>
        <pc:spChg chg="add">
          <ac:chgData name="Bob Ward" userId="6da7c2dd-8e2e-469f-a216-c384312e2a2d" providerId="ADAL" clId="{CC07BEAC-85A7-44E0-BC28-578FC3DF3703}" dt="2019-02-20T17:22:15.611" v="9934"/>
          <ac:spMkLst>
            <pc:docMk/>
            <pc:sldMk cId="3319097858" sldId="4699"/>
            <ac:spMk id="13" creationId="{562A4A57-1145-49B4-AB27-0AC5DF1C8497}"/>
          </ac:spMkLst>
        </pc:spChg>
        <pc:spChg chg="add">
          <ac:chgData name="Bob Ward" userId="6da7c2dd-8e2e-469f-a216-c384312e2a2d" providerId="ADAL" clId="{CC07BEAC-85A7-44E0-BC28-578FC3DF3703}" dt="2019-02-20T17:22:15.611" v="9934"/>
          <ac:spMkLst>
            <pc:docMk/>
            <pc:sldMk cId="3319097858" sldId="4699"/>
            <ac:spMk id="33" creationId="{DEB5584F-89DE-4556-A750-6FD24046DA6B}"/>
          </ac:spMkLst>
        </pc:spChg>
        <pc:spChg chg="add">
          <ac:chgData name="Bob Ward" userId="6da7c2dd-8e2e-469f-a216-c384312e2a2d" providerId="ADAL" clId="{CC07BEAC-85A7-44E0-BC28-578FC3DF3703}" dt="2019-02-20T17:22:15.611" v="9934"/>
          <ac:spMkLst>
            <pc:docMk/>
            <pc:sldMk cId="3319097858" sldId="4699"/>
            <ac:spMk id="34" creationId="{49DF0A29-F1BE-41C2-904C-5DEB71645CFD}"/>
          </ac:spMkLst>
        </pc:spChg>
        <pc:spChg chg="add">
          <ac:chgData name="Bob Ward" userId="6da7c2dd-8e2e-469f-a216-c384312e2a2d" providerId="ADAL" clId="{CC07BEAC-85A7-44E0-BC28-578FC3DF3703}" dt="2019-02-20T17:22:15.611" v="9934"/>
          <ac:spMkLst>
            <pc:docMk/>
            <pc:sldMk cId="3319097858" sldId="4699"/>
            <ac:spMk id="59" creationId="{F154C7F8-D6CE-4A75-B383-41FCC11C11E0}"/>
          </ac:spMkLst>
        </pc:spChg>
        <pc:spChg chg="add mod">
          <ac:chgData name="Bob Ward" userId="6da7c2dd-8e2e-469f-a216-c384312e2a2d" providerId="ADAL" clId="{CC07BEAC-85A7-44E0-BC28-578FC3DF3703}" dt="2019-02-21T03:31:40.936" v="14395" actId="20577"/>
          <ac:spMkLst>
            <pc:docMk/>
            <pc:sldMk cId="3319097858" sldId="4699"/>
            <ac:spMk id="62" creationId="{90BC9079-59B9-48D8-B26B-A0E17FEB8804}"/>
          </ac:spMkLst>
        </pc:spChg>
        <pc:grpChg chg="add">
          <ac:chgData name="Bob Ward" userId="6da7c2dd-8e2e-469f-a216-c384312e2a2d" providerId="ADAL" clId="{CC07BEAC-85A7-44E0-BC28-578FC3DF3703}" dt="2019-02-20T17:22:15.611" v="9934"/>
          <ac:grpSpMkLst>
            <pc:docMk/>
            <pc:sldMk cId="3319097858" sldId="4699"/>
            <ac:grpSpMk id="14" creationId="{BDFDCDC4-CE40-4579-9AD9-0F4F7ECD4F86}"/>
          </ac:grpSpMkLst>
        </pc:grpChg>
        <pc:grpChg chg="add">
          <ac:chgData name="Bob Ward" userId="6da7c2dd-8e2e-469f-a216-c384312e2a2d" providerId="ADAL" clId="{CC07BEAC-85A7-44E0-BC28-578FC3DF3703}" dt="2019-02-20T17:22:15.611" v="9934"/>
          <ac:grpSpMkLst>
            <pc:docMk/>
            <pc:sldMk cId="3319097858" sldId="4699"/>
            <ac:grpSpMk id="23" creationId="{94845056-D33A-42C8-8B27-611611B13CCD}"/>
          </ac:grpSpMkLst>
        </pc:grpChg>
        <pc:grpChg chg="add">
          <ac:chgData name="Bob Ward" userId="6da7c2dd-8e2e-469f-a216-c384312e2a2d" providerId="ADAL" clId="{CC07BEAC-85A7-44E0-BC28-578FC3DF3703}" dt="2019-02-20T17:22:15.611" v="9934"/>
          <ac:grpSpMkLst>
            <pc:docMk/>
            <pc:sldMk cId="3319097858" sldId="4699"/>
            <ac:grpSpMk id="35" creationId="{5C90FB3D-E997-4D4B-8C31-414243E11907}"/>
          </ac:grpSpMkLst>
        </pc:grpChg>
        <pc:grpChg chg="add">
          <ac:chgData name="Bob Ward" userId="6da7c2dd-8e2e-469f-a216-c384312e2a2d" providerId="ADAL" clId="{CC07BEAC-85A7-44E0-BC28-578FC3DF3703}" dt="2019-02-20T17:22:15.611" v="9934"/>
          <ac:grpSpMkLst>
            <pc:docMk/>
            <pc:sldMk cId="3319097858" sldId="4699"/>
            <ac:grpSpMk id="44" creationId="{5F7C04BF-3304-4762-8CE9-40E5F02434E4}"/>
          </ac:grpSpMkLst>
        </pc:grpChg>
        <pc:graphicFrameChg chg="add mod">
          <ac:chgData name="Bob Ward" userId="6da7c2dd-8e2e-469f-a216-c384312e2a2d" providerId="ADAL" clId="{CC07BEAC-85A7-44E0-BC28-578FC3DF3703}" dt="2019-02-21T03:04:00.503" v="13427" actId="14100"/>
          <ac:graphicFrameMkLst>
            <pc:docMk/>
            <pc:sldMk cId="3319097858" sldId="4699"/>
            <ac:graphicFrameMk id="61" creationId="{A38647AF-5691-4866-846A-A75CB5B4DC9F}"/>
          </ac:graphicFrameMkLst>
        </pc:graphicFrameChg>
        <pc:picChg chg="add">
          <ac:chgData name="Bob Ward" userId="6da7c2dd-8e2e-469f-a216-c384312e2a2d" providerId="ADAL" clId="{CC07BEAC-85A7-44E0-BC28-578FC3DF3703}" dt="2019-02-20T17:22:15.611" v="9934"/>
          <ac:picMkLst>
            <pc:docMk/>
            <pc:sldMk cId="3319097858" sldId="4699"/>
            <ac:picMk id="60" creationId="{B679F714-FA6A-4EDA-99B5-5B3391352C97}"/>
          </ac:picMkLst>
        </pc:picChg>
        <pc:cxnChg chg="add">
          <ac:chgData name="Bob Ward" userId="6da7c2dd-8e2e-469f-a216-c384312e2a2d" providerId="ADAL" clId="{CC07BEAC-85A7-44E0-BC28-578FC3DF3703}" dt="2019-02-20T17:22:15.611" v="9934"/>
          <ac:cxnSpMkLst>
            <pc:docMk/>
            <pc:sldMk cId="3319097858" sldId="4699"/>
            <ac:cxnSpMk id="6" creationId="{E3166F12-3569-4E9B-91A0-469766B3A507}"/>
          </ac:cxnSpMkLst>
        </pc:cxnChg>
        <pc:cxnChg chg="add">
          <ac:chgData name="Bob Ward" userId="6da7c2dd-8e2e-469f-a216-c384312e2a2d" providerId="ADAL" clId="{CC07BEAC-85A7-44E0-BC28-578FC3DF3703}" dt="2019-02-20T17:22:15.611" v="9934"/>
          <ac:cxnSpMkLst>
            <pc:docMk/>
            <pc:sldMk cId="3319097858" sldId="4699"/>
            <ac:cxnSpMk id="10" creationId="{DAFFE7D5-4DB7-4297-8568-DC7F54660B43}"/>
          </ac:cxnSpMkLst>
        </pc:cxnChg>
        <pc:cxnChg chg="add">
          <ac:chgData name="Bob Ward" userId="6da7c2dd-8e2e-469f-a216-c384312e2a2d" providerId="ADAL" clId="{CC07BEAC-85A7-44E0-BC28-578FC3DF3703}" dt="2019-02-20T17:22:15.611" v="9934"/>
          <ac:cxnSpMkLst>
            <pc:docMk/>
            <pc:sldMk cId="3319097858" sldId="4699"/>
            <ac:cxnSpMk id="11" creationId="{6B3E3B6A-A676-49C9-B440-5C586392E8F6}"/>
          </ac:cxnSpMkLst>
        </pc:cxnChg>
        <pc:cxnChg chg="add">
          <ac:chgData name="Bob Ward" userId="6da7c2dd-8e2e-469f-a216-c384312e2a2d" providerId="ADAL" clId="{CC07BEAC-85A7-44E0-BC28-578FC3DF3703}" dt="2019-02-20T17:22:15.611" v="9934"/>
          <ac:cxnSpMkLst>
            <pc:docMk/>
            <pc:sldMk cId="3319097858" sldId="4699"/>
            <ac:cxnSpMk id="22" creationId="{AA6F71E1-3B65-4978-861E-BB0791C25714}"/>
          </ac:cxnSpMkLst>
        </pc:cxnChg>
      </pc:sldChg>
      <pc:sldChg chg="addSp delSp modSp add modAnim">
        <pc:chgData name="Bob Ward" userId="6da7c2dd-8e2e-469f-a216-c384312e2a2d" providerId="ADAL" clId="{CC07BEAC-85A7-44E0-BC28-578FC3DF3703}" dt="2019-02-21T03:35:55.638" v="14432"/>
        <pc:sldMkLst>
          <pc:docMk/>
          <pc:sldMk cId="2660700888" sldId="4700"/>
        </pc:sldMkLst>
        <pc:spChg chg="mod">
          <ac:chgData name="Bob Ward" userId="6da7c2dd-8e2e-469f-a216-c384312e2a2d" providerId="ADAL" clId="{CC07BEAC-85A7-44E0-BC28-578FC3DF3703}" dt="2019-02-21T02:21:18.695" v="12397" actId="14100"/>
          <ac:spMkLst>
            <pc:docMk/>
            <pc:sldMk cId="2660700888" sldId="4700"/>
            <ac:spMk id="2" creationId="{1C71C1A5-6D29-474F-9E9C-F8A34E6D6B10}"/>
          </ac:spMkLst>
        </pc:spChg>
        <pc:spChg chg="del">
          <ac:chgData name="Bob Ward" userId="6da7c2dd-8e2e-469f-a216-c384312e2a2d" providerId="ADAL" clId="{CC07BEAC-85A7-44E0-BC28-578FC3DF3703}" dt="2019-02-21T01:06:55.586" v="10855" actId="478"/>
          <ac:spMkLst>
            <pc:docMk/>
            <pc:sldMk cId="2660700888" sldId="4700"/>
            <ac:spMk id="3" creationId="{6F953EF0-0AE3-47B1-A206-5744B2667E91}"/>
          </ac:spMkLst>
        </pc:spChg>
        <pc:spChg chg="add mod">
          <ac:chgData name="Bob Ward" userId="6da7c2dd-8e2e-469f-a216-c384312e2a2d" providerId="ADAL" clId="{CC07BEAC-85A7-44E0-BC28-578FC3DF3703}" dt="2019-02-21T03:35:30.043" v="14431" actId="1076"/>
          <ac:spMkLst>
            <pc:docMk/>
            <pc:sldMk cId="2660700888" sldId="4700"/>
            <ac:spMk id="4" creationId="{1AECACE9-0776-44A2-86FC-C797B5FF49D8}"/>
          </ac:spMkLst>
        </pc:spChg>
        <pc:spChg chg="add mod">
          <ac:chgData name="Bob Ward" userId="6da7c2dd-8e2e-469f-a216-c384312e2a2d" providerId="ADAL" clId="{CC07BEAC-85A7-44E0-BC28-578FC3DF3703}" dt="2019-02-21T03:35:27.708" v="14430" actId="1076"/>
          <ac:spMkLst>
            <pc:docMk/>
            <pc:sldMk cId="2660700888" sldId="4700"/>
            <ac:spMk id="5" creationId="{70C2DC38-F32E-495E-AC42-360DC25AED55}"/>
          </ac:spMkLst>
        </pc:spChg>
        <pc:spChg chg="add">
          <ac:chgData name="Bob Ward" userId="6da7c2dd-8e2e-469f-a216-c384312e2a2d" providerId="ADAL" clId="{CC07BEAC-85A7-44E0-BC28-578FC3DF3703}" dt="2019-02-21T01:07:07.725" v="10856"/>
          <ac:spMkLst>
            <pc:docMk/>
            <pc:sldMk cId="2660700888" sldId="4700"/>
            <ac:spMk id="6" creationId="{9EE8E107-6366-4FD5-A80E-6B9370F26FC4}"/>
          </ac:spMkLst>
        </pc:spChg>
        <pc:spChg chg="add">
          <ac:chgData name="Bob Ward" userId="6da7c2dd-8e2e-469f-a216-c384312e2a2d" providerId="ADAL" clId="{CC07BEAC-85A7-44E0-BC28-578FC3DF3703}" dt="2019-02-21T01:07:07.725" v="10856"/>
          <ac:spMkLst>
            <pc:docMk/>
            <pc:sldMk cId="2660700888" sldId="4700"/>
            <ac:spMk id="9" creationId="{E9F5DB7C-C9EC-4D20-9FFB-5FBDB102AC50}"/>
          </ac:spMkLst>
        </pc:spChg>
        <pc:spChg chg="add mod">
          <ac:chgData name="Bob Ward" userId="6da7c2dd-8e2e-469f-a216-c384312e2a2d" providerId="ADAL" clId="{CC07BEAC-85A7-44E0-BC28-578FC3DF3703}" dt="2019-02-21T03:35:27.708" v="14430" actId="1076"/>
          <ac:spMkLst>
            <pc:docMk/>
            <pc:sldMk cId="2660700888" sldId="4700"/>
            <ac:spMk id="10" creationId="{D5CEF99A-E5DE-45B3-963B-E5FA223D3174}"/>
          </ac:spMkLst>
        </pc:spChg>
        <pc:spChg chg="add mod">
          <ac:chgData name="Bob Ward" userId="6da7c2dd-8e2e-469f-a216-c384312e2a2d" providerId="ADAL" clId="{CC07BEAC-85A7-44E0-BC28-578FC3DF3703}" dt="2019-02-21T03:35:27.708" v="14430" actId="1076"/>
          <ac:spMkLst>
            <pc:docMk/>
            <pc:sldMk cId="2660700888" sldId="4700"/>
            <ac:spMk id="12" creationId="{B104406C-83CD-4BB9-AE11-707D9FF38438}"/>
          </ac:spMkLst>
        </pc:spChg>
        <pc:spChg chg="add mod">
          <ac:chgData name="Bob Ward" userId="6da7c2dd-8e2e-469f-a216-c384312e2a2d" providerId="ADAL" clId="{CC07BEAC-85A7-44E0-BC28-578FC3DF3703}" dt="2019-02-21T03:35:27.708" v="14430" actId="1076"/>
          <ac:spMkLst>
            <pc:docMk/>
            <pc:sldMk cId="2660700888" sldId="4700"/>
            <ac:spMk id="13" creationId="{9A1CB678-F533-4ED5-A812-3D70C7DAB3B5}"/>
          </ac:spMkLst>
        </pc:spChg>
        <pc:spChg chg="add mod">
          <ac:chgData name="Bob Ward" userId="6da7c2dd-8e2e-469f-a216-c384312e2a2d" providerId="ADAL" clId="{CC07BEAC-85A7-44E0-BC28-578FC3DF3703}" dt="2019-02-21T03:35:27.708" v="14430" actId="1076"/>
          <ac:spMkLst>
            <pc:docMk/>
            <pc:sldMk cId="2660700888" sldId="4700"/>
            <ac:spMk id="14" creationId="{5A717E8C-8AEE-4F85-9E44-042FAB97B967}"/>
          </ac:spMkLst>
        </pc:spChg>
        <pc:spChg chg="add mod">
          <ac:chgData name="Bob Ward" userId="6da7c2dd-8e2e-469f-a216-c384312e2a2d" providerId="ADAL" clId="{CC07BEAC-85A7-44E0-BC28-578FC3DF3703}" dt="2019-02-21T03:35:27.708" v="14430" actId="1076"/>
          <ac:spMkLst>
            <pc:docMk/>
            <pc:sldMk cId="2660700888" sldId="4700"/>
            <ac:spMk id="16" creationId="{90EAB999-03AB-42F4-A9F5-038E208183F5}"/>
          </ac:spMkLst>
        </pc:spChg>
        <pc:spChg chg="add mod">
          <ac:chgData name="Bob Ward" userId="6da7c2dd-8e2e-469f-a216-c384312e2a2d" providerId="ADAL" clId="{CC07BEAC-85A7-44E0-BC28-578FC3DF3703}" dt="2019-02-21T03:35:27.708" v="14430" actId="1076"/>
          <ac:spMkLst>
            <pc:docMk/>
            <pc:sldMk cId="2660700888" sldId="4700"/>
            <ac:spMk id="106" creationId="{1CA334C6-3E23-462E-A779-08186E7C12BB}"/>
          </ac:spMkLst>
        </pc:spChg>
        <pc:spChg chg="add mod">
          <ac:chgData name="Bob Ward" userId="6da7c2dd-8e2e-469f-a216-c384312e2a2d" providerId="ADAL" clId="{CC07BEAC-85A7-44E0-BC28-578FC3DF3703}" dt="2019-02-21T03:35:27.708" v="14430" actId="1076"/>
          <ac:spMkLst>
            <pc:docMk/>
            <pc:sldMk cId="2660700888" sldId="4700"/>
            <ac:spMk id="114" creationId="{2ABDB015-C54B-4756-83C8-9AF6729C3C86}"/>
          </ac:spMkLst>
        </pc:spChg>
        <pc:spChg chg="add mod">
          <ac:chgData name="Bob Ward" userId="6da7c2dd-8e2e-469f-a216-c384312e2a2d" providerId="ADAL" clId="{CC07BEAC-85A7-44E0-BC28-578FC3DF3703}" dt="2019-02-21T03:35:27.708" v="14430" actId="1076"/>
          <ac:spMkLst>
            <pc:docMk/>
            <pc:sldMk cId="2660700888" sldId="4700"/>
            <ac:spMk id="115" creationId="{E8800EF6-0633-4E0F-8BD8-7D07FA899474}"/>
          </ac:spMkLst>
        </pc:spChg>
        <pc:grpChg chg="add">
          <ac:chgData name="Bob Ward" userId="6da7c2dd-8e2e-469f-a216-c384312e2a2d" providerId="ADAL" clId="{CC07BEAC-85A7-44E0-BC28-578FC3DF3703}" dt="2019-02-21T01:07:07.725" v="10856"/>
          <ac:grpSpMkLst>
            <pc:docMk/>
            <pc:sldMk cId="2660700888" sldId="4700"/>
            <ac:grpSpMk id="17" creationId="{144B8D75-E80E-4219-B2CD-A4F0429270D4}"/>
          </ac:grpSpMkLst>
        </pc:grpChg>
        <pc:grpChg chg="add mod">
          <ac:chgData name="Bob Ward" userId="6da7c2dd-8e2e-469f-a216-c384312e2a2d" providerId="ADAL" clId="{CC07BEAC-85A7-44E0-BC28-578FC3DF3703}" dt="2019-02-21T03:35:27.708" v="14430" actId="1076"/>
          <ac:grpSpMkLst>
            <pc:docMk/>
            <pc:sldMk cId="2660700888" sldId="4700"/>
            <ac:grpSpMk id="96" creationId="{52FBEC3F-6FAB-4323-8DF6-5990E408E4AB}"/>
          </ac:grpSpMkLst>
        </pc:grpChg>
        <pc:grpChg chg="add mod">
          <ac:chgData name="Bob Ward" userId="6da7c2dd-8e2e-469f-a216-c384312e2a2d" providerId="ADAL" clId="{CC07BEAC-85A7-44E0-BC28-578FC3DF3703}" dt="2019-02-21T03:35:27.708" v="14430" actId="1076"/>
          <ac:grpSpMkLst>
            <pc:docMk/>
            <pc:sldMk cId="2660700888" sldId="4700"/>
            <ac:grpSpMk id="99" creationId="{DF4510EC-45C5-4EAE-8640-50279B00325E}"/>
          </ac:grpSpMkLst>
        </pc:grpChg>
        <pc:grpChg chg="add mod">
          <ac:chgData name="Bob Ward" userId="6da7c2dd-8e2e-469f-a216-c384312e2a2d" providerId="ADAL" clId="{CC07BEAC-85A7-44E0-BC28-578FC3DF3703}" dt="2019-02-21T03:35:27.708" v="14430" actId="1076"/>
          <ac:grpSpMkLst>
            <pc:docMk/>
            <pc:sldMk cId="2660700888" sldId="4700"/>
            <ac:grpSpMk id="102" creationId="{3546881B-A3F7-45BA-ABA8-31EC10C12F4D}"/>
          </ac:grpSpMkLst>
        </pc:grpChg>
        <pc:grpChg chg="add mod">
          <ac:chgData name="Bob Ward" userId="6da7c2dd-8e2e-469f-a216-c384312e2a2d" providerId="ADAL" clId="{CC07BEAC-85A7-44E0-BC28-578FC3DF3703}" dt="2019-02-21T03:35:27.708" v="14430" actId="1076"/>
          <ac:grpSpMkLst>
            <pc:docMk/>
            <pc:sldMk cId="2660700888" sldId="4700"/>
            <ac:grpSpMk id="109" creationId="{EECA32FC-75A7-497B-9B5D-91044F29C379}"/>
          </ac:grpSpMkLst>
        </pc:grpChg>
        <pc:picChg chg="add del">
          <ac:chgData name="Bob Ward" userId="6da7c2dd-8e2e-469f-a216-c384312e2a2d" providerId="ADAL" clId="{CC07BEAC-85A7-44E0-BC28-578FC3DF3703}" dt="2019-02-21T02:01:19.168" v="12392"/>
          <ac:picMkLst>
            <pc:docMk/>
            <pc:sldMk cId="2660700888" sldId="4700"/>
            <ac:picMk id="1026" creationId="{BBE6C1DD-6450-4FA0-A00F-090F200D8BF5}"/>
          </ac:picMkLst>
        </pc:picChg>
        <pc:picChg chg="add mod">
          <ac:chgData name="Bob Ward" userId="6da7c2dd-8e2e-469f-a216-c384312e2a2d" providerId="ADAL" clId="{CC07BEAC-85A7-44E0-BC28-578FC3DF3703}" dt="2019-02-21T03:35:27.708" v="14430" actId="1076"/>
          <ac:picMkLst>
            <pc:docMk/>
            <pc:sldMk cId="2660700888" sldId="4700"/>
            <ac:picMk id="1028" creationId="{D95967CC-80E0-427A-8CAE-85FD16304F6C}"/>
          </ac:picMkLst>
        </pc:picChg>
        <pc:cxnChg chg="add mod">
          <ac:chgData name="Bob Ward" userId="6da7c2dd-8e2e-469f-a216-c384312e2a2d" providerId="ADAL" clId="{CC07BEAC-85A7-44E0-BC28-578FC3DF3703}" dt="2019-02-21T03:35:27.708" v="14430" actId="1076"/>
          <ac:cxnSpMkLst>
            <pc:docMk/>
            <pc:sldMk cId="2660700888" sldId="4700"/>
            <ac:cxnSpMk id="7" creationId="{EDA94D23-E56E-42C7-A16E-39F47D0264DC}"/>
          </ac:cxnSpMkLst>
        </pc:cxnChg>
        <pc:cxnChg chg="add">
          <ac:chgData name="Bob Ward" userId="6da7c2dd-8e2e-469f-a216-c384312e2a2d" providerId="ADAL" clId="{CC07BEAC-85A7-44E0-BC28-578FC3DF3703}" dt="2019-02-21T01:07:07.725" v="10856"/>
          <ac:cxnSpMkLst>
            <pc:docMk/>
            <pc:sldMk cId="2660700888" sldId="4700"/>
            <ac:cxnSpMk id="8" creationId="{5DBFFBE3-BB4B-4024-88ED-078BCE0A76FF}"/>
          </ac:cxnSpMkLst>
        </pc:cxnChg>
        <pc:cxnChg chg="add mod">
          <ac:chgData name="Bob Ward" userId="6da7c2dd-8e2e-469f-a216-c384312e2a2d" providerId="ADAL" clId="{CC07BEAC-85A7-44E0-BC28-578FC3DF3703}" dt="2019-02-21T03:35:27.708" v="14430" actId="1076"/>
          <ac:cxnSpMkLst>
            <pc:docMk/>
            <pc:sldMk cId="2660700888" sldId="4700"/>
            <ac:cxnSpMk id="11" creationId="{C4FF6645-D1F0-40B2-A81A-D95066B4D193}"/>
          </ac:cxnSpMkLst>
        </pc:cxnChg>
        <pc:cxnChg chg="add mod">
          <ac:chgData name="Bob Ward" userId="6da7c2dd-8e2e-469f-a216-c384312e2a2d" providerId="ADAL" clId="{CC07BEAC-85A7-44E0-BC28-578FC3DF3703}" dt="2019-02-21T03:35:27.708" v="14430" actId="1076"/>
          <ac:cxnSpMkLst>
            <pc:docMk/>
            <pc:sldMk cId="2660700888" sldId="4700"/>
            <ac:cxnSpMk id="15" creationId="{E866CFCD-891A-4948-842E-006AA8FA3C1B}"/>
          </ac:cxnSpMkLst>
        </pc:cxnChg>
        <pc:cxnChg chg="add mod">
          <ac:chgData name="Bob Ward" userId="6da7c2dd-8e2e-469f-a216-c384312e2a2d" providerId="ADAL" clId="{CC07BEAC-85A7-44E0-BC28-578FC3DF3703}" dt="2019-02-21T03:35:27.708" v="14430" actId="1076"/>
          <ac:cxnSpMkLst>
            <pc:docMk/>
            <pc:sldMk cId="2660700888" sldId="4700"/>
            <ac:cxnSpMk id="107" creationId="{3E102C3D-E098-483B-B094-B524CEC53E27}"/>
          </ac:cxnSpMkLst>
        </pc:cxnChg>
        <pc:cxnChg chg="add mod">
          <ac:chgData name="Bob Ward" userId="6da7c2dd-8e2e-469f-a216-c384312e2a2d" providerId="ADAL" clId="{CC07BEAC-85A7-44E0-BC28-578FC3DF3703}" dt="2019-02-21T03:35:27.708" v="14430" actId="1076"/>
          <ac:cxnSpMkLst>
            <pc:docMk/>
            <pc:sldMk cId="2660700888" sldId="4700"/>
            <ac:cxnSpMk id="108" creationId="{D3DB0522-7B68-4C23-AEB7-89033FE25637}"/>
          </ac:cxnSpMkLst>
        </pc:cxnChg>
        <pc:cxnChg chg="add mod">
          <ac:chgData name="Bob Ward" userId="6da7c2dd-8e2e-469f-a216-c384312e2a2d" providerId="ADAL" clId="{CC07BEAC-85A7-44E0-BC28-578FC3DF3703}" dt="2019-02-21T03:35:27.708" v="14430" actId="1076"/>
          <ac:cxnSpMkLst>
            <pc:docMk/>
            <pc:sldMk cId="2660700888" sldId="4700"/>
            <ac:cxnSpMk id="116" creationId="{7C841528-753C-4121-ADFE-CA05D9E1F069}"/>
          </ac:cxnSpMkLst>
        </pc:cxnChg>
      </pc:sldChg>
      <pc:sldChg chg="addSp delSp modSp add del modAnim">
        <pc:chgData name="Bob Ward" userId="6da7c2dd-8e2e-469f-a216-c384312e2a2d" providerId="ADAL" clId="{CC07BEAC-85A7-44E0-BC28-578FC3DF3703}" dt="2019-02-21T01:09:41.790" v="10915"/>
        <pc:sldMkLst>
          <pc:docMk/>
          <pc:sldMk cId="415348644" sldId="4701"/>
        </pc:sldMkLst>
        <pc:spChg chg="mod">
          <ac:chgData name="Bob Ward" userId="6da7c2dd-8e2e-469f-a216-c384312e2a2d" providerId="ADAL" clId="{CC07BEAC-85A7-44E0-BC28-578FC3DF3703}" dt="2019-02-21T01:09:38.387" v="10913" actId="20577"/>
          <ac:spMkLst>
            <pc:docMk/>
            <pc:sldMk cId="415348644" sldId="4701"/>
            <ac:spMk id="2" creationId="{DFA54100-363F-4F1C-9549-8F596C8CD245}"/>
          </ac:spMkLst>
        </pc:spChg>
        <pc:spChg chg="del">
          <ac:chgData name="Bob Ward" userId="6da7c2dd-8e2e-469f-a216-c384312e2a2d" providerId="ADAL" clId="{CC07BEAC-85A7-44E0-BC28-578FC3DF3703}" dt="2019-02-21T01:09:41.034" v="10914" actId="478"/>
          <ac:spMkLst>
            <pc:docMk/>
            <pc:sldMk cId="415348644" sldId="4701"/>
            <ac:spMk id="3" creationId="{D40BC8EE-5191-4175-9CFB-AD5CAE24C3A3}"/>
          </ac:spMkLst>
        </pc:spChg>
        <pc:spChg chg="add">
          <ac:chgData name="Bob Ward" userId="6da7c2dd-8e2e-469f-a216-c384312e2a2d" providerId="ADAL" clId="{CC07BEAC-85A7-44E0-BC28-578FC3DF3703}" dt="2019-02-21T01:09:41.790" v="10915"/>
          <ac:spMkLst>
            <pc:docMk/>
            <pc:sldMk cId="415348644" sldId="4701"/>
            <ac:spMk id="4" creationId="{50D2FFD7-06D7-4887-B1C0-598C08A59123}"/>
          </ac:spMkLst>
        </pc:spChg>
        <pc:graphicFrameChg chg="add">
          <ac:chgData name="Bob Ward" userId="6da7c2dd-8e2e-469f-a216-c384312e2a2d" providerId="ADAL" clId="{CC07BEAC-85A7-44E0-BC28-578FC3DF3703}" dt="2019-02-21T01:09:41.790" v="10915"/>
          <ac:graphicFrameMkLst>
            <pc:docMk/>
            <pc:sldMk cId="415348644" sldId="4701"/>
            <ac:graphicFrameMk id="5" creationId="{9EAB7ECD-A361-4A48-A2D8-548A8FB4721E}"/>
          </ac:graphicFrameMkLst>
        </pc:graphicFrameChg>
      </pc:sldChg>
      <pc:sldChg chg="modSp add">
        <pc:chgData name="Bob Ward" userId="6da7c2dd-8e2e-469f-a216-c384312e2a2d" providerId="ADAL" clId="{CC07BEAC-85A7-44E0-BC28-578FC3DF3703}" dt="2019-02-24T16:16:56.327" v="18902" actId="20577"/>
        <pc:sldMkLst>
          <pc:docMk/>
          <pc:sldMk cId="2634037035" sldId="4702"/>
        </pc:sldMkLst>
        <pc:spChg chg="mod">
          <ac:chgData name="Bob Ward" userId="6da7c2dd-8e2e-469f-a216-c384312e2a2d" providerId="ADAL" clId="{CC07BEAC-85A7-44E0-BC28-578FC3DF3703}" dt="2019-02-13T21:43:17.544" v="3896" actId="20577"/>
          <ac:spMkLst>
            <pc:docMk/>
            <pc:sldMk cId="2634037035" sldId="4702"/>
            <ac:spMk id="2" creationId="{35ED57D2-FC66-4021-9648-46041AF46482}"/>
          </ac:spMkLst>
        </pc:spChg>
        <pc:spChg chg="mod">
          <ac:chgData name="Bob Ward" userId="6da7c2dd-8e2e-469f-a216-c384312e2a2d" providerId="ADAL" clId="{CC07BEAC-85A7-44E0-BC28-578FC3DF3703}" dt="2019-02-24T16:16:56.327" v="18902" actId="20577"/>
          <ac:spMkLst>
            <pc:docMk/>
            <pc:sldMk cId="2634037035" sldId="4702"/>
            <ac:spMk id="3" creationId="{5229DD0A-AD1D-45C2-8341-C89FD6AC1770}"/>
          </ac:spMkLst>
        </pc:spChg>
      </pc:sldChg>
      <pc:sldChg chg="addSp delSp modSp add ord">
        <pc:chgData name="Bob Ward" userId="6da7c2dd-8e2e-469f-a216-c384312e2a2d" providerId="ADAL" clId="{CC07BEAC-85A7-44E0-BC28-578FC3DF3703}" dt="2019-02-20T17:40:36.850" v="10845" actId="1076"/>
        <pc:sldMkLst>
          <pc:docMk/>
          <pc:sldMk cId="3773627568" sldId="4703"/>
        </pc:sldMkLst>
        <pc:spChg chg="mod">
          <ac:chgData name="Bob Ward" userId="6da7c2dd-8e2e-469f-a216-c384312e2a2d" providerId="ADAL" clId="{CC07BEAC-85A7-44E0-BC28-578FC3DF3703}" dt="2019-02-20T04:34:23.147" v="9556" actId="113"/>
          <ac:spMkLst>
            <pc:docMk/>
            <pc:sldMk cId="3773627568" sldId="4703"/>
            <ac:spMk id="2" creationId="{120305A3-122E-4AE7-8BE5-10955E8B588C}"/>
          </ac:spMkLst>
        </pc:spChg>
        <pc:spChg chg="mod">
          <ac:chgData name="Bob Ward" userId="6da7c2dd-8e2e-469f-a216-c384312e2a2d" providerId="ADAL" clId="{CC07BEAC-85A7-44E0-BC28-578FC3DF3703}" dt="2019-02-20T04:33:44.797" v="9458" actId="255"/>
          <ac:spMkLst>
            <pc:docMk/>
            <pc:sldMk cId="3773627568" sldId="4703"/>
            <ac:spMk id="3" creationId="{0FEF1BF6-1C4E-41D4-9D36-E2D43971EEF5}"/>
          </ac:spMkLst>
        </pc:spChg>
        <pc:spChg chg="add mod">
          <ac:chgData name="Bob Ward" userId="6da7c2dd-8e2e-469f-a216-c384312e2a2d" providerId="ADAL" clId="{CC07BEAC-85A7-44E0-BC28-578FC3DF3703}" dt="2019-02-20T17:39:59.750" v="10831" actId="1076"/>
          <ac:spMkLst>
            <pc:docMk/>
            <pc:sldMk cId="3773627568" sldId="4703"/>
            <ac:spMk id="4" creationId="{5B79C37B-4B44-426F-80B9-79CEB9CBC692}"/>
          </ac:spMkLst>
        </pc:spChg>
        <pc:spChg chg="add mod">
          <ac:chgData name="Bob Ward" userId="6da7c2dd-8e2e-469f-a216-c384312e2a2d" providerId="ADAL" clId="{CC07BEAC-85A7-44E0-BC28-578FC3DF3703}" dt="2019-02-20T17:40:30.495" v="10843" actId="1076"/>
          <ac:spMkLst>
            <pc:docMk/>
            <pc:sldMk cId="3773627568" sldId="4703"/>
            <ac:spMk id="5" creationId="{C05745BF-36EE-4F06-88CD-150A1D4B5731}"/>
          </ac:spMkLst>
        </pc:spChg>
        <pc:spChg chg="add mod">
          <ac:chgData name="Bob Ward" userId="6da7c2dd-8e2e-469f-a216-c384312e2a2d" providerId="ADAL" clId="{CC07BEAC-85A7-44E0-BC28-578FC3DF3703}" dt="2019-02-20T17:40:18.186" v="10838" actId="1076"/>
          <ac:spMkLst>
            <pc:docMk/>
            <pc:sldMk cId="3773627568" sldId="4703"/>
            <ac:spMk id="6" creationId="{783518DE-DF0C-4C2C-B646-BD4F21A8378E}"/>
          </ac:spMkLst>
        </pc:spChg>
        <pc:spChg chg="add mod">
          <ac:chgData name="Bob Ward" userId="6da7c2dd-8e2e-469f-a216-c384312e2a2d" providerId="ADAL" clId="{CC07BEAC-85A7-44E0-BC28-578FC3DF3703}" dt="2019-02-20T17:40:04.725" v="10833" actId="1076"/>
          <ac:spMkLst>
            <pc:docMk/>
            <pc:sldMk cId="3773627568" sldId="4703"/>
            <ac:spMk id="7" creationId="{DFFD4C6A-D8FA-4384-A87E-DBB90D64CDB2}"/>
          </ac:spMkLst>
        </pc:spChg>
        <pc:spChg chg="add del">
          <ac:chgData name="Bob Ward" userId="6da7c2dd-8e2e-469f-a216-c384312e2a2d" providerId="ADAL" clId="{CC07BEAC-85A7-44E0-BC28-578FC3DF3703}" dt="2019-02-20T17:40:21.509" v="10840"/>
          <ac:spMkLst>
            <pc:docMk/>
            <pc:sldMk cId="3773627568" sldId="4703"/>
            <ac:spMk id="8" creationId="{B5E6E2D0-945F-43AF-872A-8CDF4DF5ADA8}"/>
          </ac:spMkLst>
        </pc:spChg>
        <pc:spChg chg="add mod">
          <ac:chgData name="Bob Ward" userId="6da7c2dd-8e2e-469f-a216-c384312e2a2d" providerId="ADAL" clId="{CC07BEAC-85A7-44E0-BC28-578FC3DF3703}" dt="2019-02-20T17:40:27.679" v="10842" actId="1076"/>
          <ac:spMkLst>
            <pc:docMk/>
            <pc:sldMk cId="3773627568" sldId="4703"/>
            <ac:spMk id="9" creationId="{B79339CE-D9C7-4F61-8D6B-B0CC95730B69}"/>
          </ac:spMkLst>
        </pc:spChg>
        <pc:spChg chg="add mod">
          <ac:chgData name="Bob Ward" userId="6da7c2dd-8e2e-469f-a216-c384312e2a2d" providerId="ADAL" clId="{CC07BEAC-85A7-44E0-BC28-578FC3DF3703}" dt="2019-02-20T17:40:36.850" v="10845" actId="1076"/>
          <ac:spMkLst>
            <pc:docMk/>
            <pc:sldMk cId="3773627568" sldId="4703"/>
            <ac:spMk id="10" creationId="{831F7D83-3A04-4813-9DD9-13540881DE31}"/>
          </ac:spMkLst>
        </pc:spChg>
      </pc:sldChg>
      <pc:sldChg chg="add del">
        <pc:chgData name="Bob Ward" userId="6da7c2dd-8e2e-469f-a216-c384312e2a2d" providerId="ADAL" clId="{CC07BEAC-85A7-44E0-BC28-578FC3DF3703}" dt="2019-02-13T23:33:48.072" v="4092"/>
        <pc:sldMkLst>
          <pc:docMk/>
          <pc:sldMk cId="1922874918" sldId="4704"/>
        </pc:sldMkLst>
      </pc:sldChg>
      <pc:sldChg chg="addSp modSp add ord modAnim">
        <pc:chgData name="Bob Ward" userId="6da7c2dd-8e2e-469f-a216-c384312e2a2d" providerId="ADAL" clId="{CC07BEAC-85A7-44E0-BC28-578FC3DF3703}" dt="2019-02-21T03:26:11.324" v="14174" actId="20577"/>
        <pc:sldMkLst>
          <pc:docMk/>
          <pc:sldMk cId="4292289233" sldId="4704"/>
        </pc:sldMkLst>
        <pc:spChg chg="mod">
          <ac:chgData name="Bob Ward" userId="6da7c2dd-8e2e-469f-a216-c384312e2a2d" providerId="ADAL" clId="{CC07BEAC-85A7-44E0-BC28-578FC3DF3703}" dt="2019-02-13T23:34:01.725" v="4148" actId="20577"/>
          <ac:spMkLst>
            <pc:docMk/>
            <pc:sldMk cId="4292289233" sldId="4704"/>
            <ac:spMk id="2" creationId="{BE36ECB8-5483-435C-B7BB-3DDA3BD87740}"/>
          </ac:spMkLst>
        </pc:spChg>
        <pc:spChg chg="add mod">
          <ac:chgData name="Bob Ward" userId="6da7c2dd-8e2e-469f-a216-c384312e2a2d" providerId="ADAL" clId="{CC07BEAC-85A7-44E0-BC28-578FC3DF3703}" dt="2019-02-13T23:34:34.515" v="4151" actId="1076"/>
          <ac:spMkLst>
            <pc:docMk/>
            <pc:sldMk cId="4292289233" sldId="4704"/>
            <ac:spMk id="4" creationId="{A93B48FD-2112-4015-A179-E12417F37078}"/>
          </ac:spMkLst>
        </pc:spChg>
        <pc:spChg chg="add">
          <ac:chgData name="Bob Ward" userId="6da7c2dd-8e2e-469f-a216-c384312e2a2d" providerId="ADAL" clId="{CC07BEAC-85A7-44E0-BC28-578FC3DF3703}" dt="2019-02-13T23:34:25.378" v="4149"/>
          <ac:spMkLst>
            <pc:docMk/>
            <pc:sldMk cId="4292289233" sldId="4704"/>
            <ac:spMk id="5" creationId="{4D1FDE43-E8FF-45A7-8412-22F0C4A3F6D8}"/>
          </ac:spMkLst>
        </pc:spChg>
        <pc:graphicFrameChg chg="add mod">
          <ac:chgData name="Bob Ward" userId="6da7c2dd-8e2e-469f-a216-c384312e2a2d" providerId="ADAL" clId="{CC07BEAC-85A7-44E0-BC28-578FC3DF3703}" dt="2019-02-13T23:34:30.802" v="4150" actId="1076"/>
          <ac:graphicFrameMkLst>
            <pc:docMk/>
            <pc:sldMk cId="4292289233" sldId="4704"/>
            <ac:graphicFrameMk id="3" creationId="{E283A8B8-C589-42A2-869B-E92984DC0ADC}"/>
          </ac:graphicFrameMkLst>
        </pc:graphicFrameChg>
        <pc:graphicFrameChg chg="add mod">
          <ac:chgData name="Bob Ward" userId="6da7c2dd-8e2e-469f-a216-c384312e2a2d" providerId="ADAL" clId="{CC07BEAC-85A7-44E0-BC28-578FC3DF3703}" dt="2019-02-21T03:26:11.324" v="14174" actId="20577"/>
          <ac:graphicFrameMkLst>
            <pc:docMk/>
            <pc:sldMk cId="4292289233" sldId="4704"/>
            <ac:graphicFrameMk id="6" creationId="{183EB1D9-D11D-4DAF-85B8-7B6309827E1C}"/>
          </ac:graphicFrameMkLst>
        </pc:graphicFrameChg>
        <pc:picChg chg="add mod">
          <ac:chgData name="Bob Ward" userId="6da7c2dd-8e2e-469f-a216-c384312e2a2d" providerId="ADAL" clId="{CC07BEAC-85A7-44E0-BC28-578FC3DF3703}" dt="2019-02-13T23:34:36.705" v="4152" actId="1076"/>
          <ac:picMkLst>
            <pc:docMk/>
            <pc:sldMk cId="4292289233" sldId="4704"/>
            <ac:picMk id="7" creationId="{28EE9FBF-C174-41BD-90BF-5CD6330F842C}"/>
          </ac:picMkLst>
        </pc:picChg>
        <pc:picChg chg="add mod">
          <ac:chgData name="Bob Ward" userId="6da7c2dd-8e2e-469f-a216-c384312e2a2d" providerId="ADAL" clId="{CC07BEAC-85A7-44E0-BC28-578FC3DF3703}" dt="2019-02-13T23:34:38.474" v="4153" actId="1076"/>
          <ac:picMkLst>
            <pc:docMk/>
            <pc:sldMk cId="4292289233" sldId="4704"/>
            <ac:picMk id="8" creationId="{D9D2D2E1-EBD0-4C61-BC6A-E85FC3255D42}"/>
          </ac:picMkLst>
        </pc:picChg>
        <pc:picChg chg="add mod">
          <ac:chgData name="Bob Ward" userId="6da7c2dd-8e2e-469f-a216-c384312e2a2d" providerId="ADAL" clId="{CC07BEAC-85A7-44E0-BC28-578FC3DF3703}" dt="2019-02-13T23:34:40.184" v="4154" actId="1076"/>
          <ac:picMkLst>
            <pc:docMk/>
            <pc:sldMk cId="4292289233" sldId="4704"/>
            <ac:picMk id="9" creationId="{C7C617C0-627D-4CFD-ABA4-5DAA39BD9106}"/>
          </ac:picMkLst>
        </pc:picChg>
        <pc:picChg chg="add mod">
          <ac:chgData name="Bob Ward" userId="6da7c2dd-8e2e-469f-a216-c384312e2a2d" providerId="ADAL" clId="{CC07BEAC-85A7-44E0-BC28-578FC3DF3703}" dt="2019-02-13T23:34:43.379" v="4155" actId="1076"/>
          <ac:picMkLst>
            <pc:docMk/>
            <pc:sldMk cId="4292289233" sldId="4704"/>
            <ac:picMk id="10" creationId="{C0C3B990-BD93-475C-995A-772A1A420D50}"/>
          </ac:picMkLst>
        </pc:picChg>
        <pc:picChg chg="add mod">
          <ac:chgData name="Bob Ward" userId="6da7c2dd-8e2e-469f-a216-c384312e2a2d" providerId="ADAL" clId="{CC07BEAC-85A7-44E0-BC28-578FC3DF3703}" dt="2019-02-13T23:34:45.479" v="4156" actId="1076"/>
          <ac:picMkLst>
            <pc:docMk/>
            <pc:sldMk cId="4292289233" sldId="4704"/>
            <ac:picMk id="11" creationId="{DE356F06-68FC-4E1A-8EC9-5879C64DD1F6}"/>
          </ac:picMkLst>
        </pc:picChg>
      </pc:sldChg>
      <pc:sldChg chg="addSp delSp modSp add ord delAnim modNotesTx">
        <pc:chgData name="Bob Ward" userId="6da7c2dd-8e2e-469f-a216-c384312e2a2d" providerId="ADAL" clId="{CC07BEAC-85A7-44E0-BC28-578FC3DF3703}" dt="2019-02-21T12:32:15.962" v="15654" actId="313"/>
        <pc:sldMkLst>
          <pc:docMk/>
          <pc:sldMk cId="3279942268" sldId="4705"/>
        </pc:sldMkLst>
        <pc:spChg chg="del">
          <ac:chgData name="Bob Ward" userId="6da7c2dd-8e2e-469f-a216-c384312e2a2d" providerId="ADAL" clId="{CC07BEAC-85A7-44E0-BC28-578FC3DF3703}" dt="2019-02-13T23:38:34.272" v="4213" actId="478"/>
          <ac:spMkLst>
            <pc:docMk/>
            <pc:sldMk cId="3279942268" sldId="4705"/>
            <ac:spMk id="6" creationId="{F058D8EB-6D37-48CC-ACA6-5802CE14F3A5}"/>
          </ac:spMkLst>
        </pc:spChg>
        <pc:spChg chg="mod">
          <ac:chgData name="Bob Ward" userId="6da7c2dd-8e2e-469f-a216-c384312e2a2d" providerId="ADAL" clId="{CC07BEAC-85A7-44E0-BC28-578FC3DF3703}" dt="2019-02-13T23:38:29.050" v="4212" actId="20577"/>
          <ac:spMkLst>
            <pc:docMk/>
            <pc:sldMk cId="3279942268" sldId="4705"/>
            <ac:spMk id="7" creationId="{00000000-0000-0000-0000-000000000000}"/>
          </ac:spMkLst>
        </pc:spChg>
        <pc:spChg chg="add del">
          <ac:chgData name="Bob Ward" userId="6da7c2dd-8e2e-469f-a216-c384312e2a2d" providerId="ADAL" clId="{CC07BEAC-85A7-44E0-BC28-578FC3DF3703}" dt="2019-02-13T23:39:16.468" v="4216"/>
          <ac:spMkLst>
            <pc:docMk/>
            <pc:sldMk cId="3279942268" sldId="4705"/>
            <ac:spMk id="21" creationId="{A3879491-2680-41E8-A004-015787A51B48}"/>
          </ac:spMkLst>
        </pc:spChg>
        <pc:spChg chg="add del">
          <ac:chgData name="Bob Ward" userId="6da7c2dd-8e2e-469f-a216-c384312e2a2d" providerId="ADAL" clId="{CC07BEAC-85A7-44E0-BC28-578FC3DF3703}" dt="2019-02-13T23:39:18.577" v="4218"/>
          <ac:spMkLst>
            <pc:docMk/>
            <pc:sldMk cId="3279942268" sldId="4705"/>
            <ac:spMk id="24" creationId="{39ED2AF8-9896-44A9-AF58-3D38DAE27690}"/>
          </ac:spMkLst>
        </pc:spChg>
        <pc:spChg chg="add mod">
          <ac:chgData name="Bob Ward" userId="6da7c2dd-8e2e-469f-a216-c384312e2a2d" providerId="ADAL" clId="{CC07BEAC-85A7-44E0-BC28-578FC3DF3703}" dt="2019-02-13T23:41:58.221" v="4479" actId="20577"/>
          <ac:spMkLst>
            <pc:docMk/>
            <pc:sldMk cId="3279942268" sldId="4705"/>
            <ac:spMk id="25" creationId="{FFEFC3EA-1C9B-4DE5-957E-5128F4084D11}"/>
          </ac:spMkLst>
        </pc:spChg>
        <pc:grpChg chg="del">
          <ac:chgData name="Bob Ward" userId="6da7c2dd-8e2e-469f-a216-c384312e2a2d" providerId="ADAL" clId="{CC07BEAC-85A7-44E0-BC28-578FC3DF3703}" dt="2019-02-13T23:38:34.272" v="4213" actId="478"/>
          <ac:grpSpMkLst>
            <pc:docMk/>
            <pc:sldMk cId="3279942268" sldId="4705"/>
            <ac:grpSpMk id="2" creationId="{CF1D3BF2-7A29-4B5A-B4F8-202F5B3791D7}"/>
          </ac:grpSpMkLst>
        </pc:grpChg>
        <pc:grpChg chg="del">
          <ac:chgData name="Bob Ward" userId="6da7c2dd-8e2e-469f-a216-c384312e2a2d" providerId="ADAL" clId="{CC07BEAC-85A7-44E0-BC28-578FC3DF3703}" dt="2019-02-13T23:38:34.272" v="4213" actId="478"/>
          <ac:grpSpMkLst>
            <pc:docMk/>
            <pc:sldMk cId="3279942268" sldId="4705"/>
            <ac:grpSpMk id="4" creationId="{D2E227EC-2CCA-416C-8214-28CD7C4A39D0}"/>
          </ac:grpSpMkLst>
        </pc:grpChg>
        <pc:grpChg chg="del">
          <ac:chgData name="Bob Ward" userId="6da7c2dd-8e2e-469f-a216-c384312e2a2d" providerId="ADAL" clId="{CC07BEAC-85A7-44E0-BC28-578FC3DF3703}" dt="2019-02-13T23:38:34.272" v="4213" actId="478"/>
          <ac:grpSpMkLst>
            <pc:docMk/>
            <pc:sldMk cId="3279942268" sldId="4705"/>
            <ac:grpSpMk id="5" creationId="{D026CE7C-47E7-48CD-A572-0ACC03673959}"/>
          </ac:grpSpMkLst>
        </pc:grpChg>
        <pc:grpChg chg="del">
          <ac:chgData name="Bob Ward" userId="6da7c2dd-8e2e-469f-a216-c384312e2a2d" providerId="ADAL" clId="{CC07BEAC-85A7-44E0-BC28-578FC3DF3703}" dt="2019-02-13T23:38:34.272" v="4213" actId="478"/>
          <ac:grpSpMkLst>
            <pc:docMk/>
            <pc:sldMk cId="3279942268" sldId="4705"/>
            <ac:grpSpMk id="15" creationId="{C91A72EF-8759-44B1-8FAF-1B49B54F3EDF}"/>
          </ac:grpSpMkLst>
        </pc:grpChg>
        <pc:graphicFrameChg chg="add mod">
          <ac:chgData name="Bob Ward" userId="6da7c2dd-8e2e-469f-a216-c384312e2a2d" providerId="ADAL" clId="{CC07BEAC-85A7-44E0-BC28-578FC3DF3703}" dt="2019-02-21T12:32:15.962" v="15654" actId="313"/>
          <ac:graphicFrameMkLst>
            <pc:docMk/>
            <pc:sldMk cId="3279942268" sldId="4705"/>
            <ac:graphicFrameMk id="26" creationId="{AE42AFBE-BFAA-459C-8B67-6F2F5C40DA4B}"/>
          </ac:graphicFrameMkLst>
        </pc:graphicFrameChg>
        <pc:picChg chg="add mod">
          <ac:chgData name="Bob Ward" userId="6da7c2dd-8e2e-469f-a216-c384312e2a2d" providerId="ADAL" clId="{CC07BEAC-85A7-44E0-BC28-578FC3DF3703}" dt="2019-02-13T23:40:04.958" v="4227" actId="1076"/>
          <ac:picMkLst>
            <pc:docMk/>
            <pc:sldMk cId="3279942268" sldId="4705"/>
            <ac:picMk id="27" creationId="{212F909F-0F18-4F93-93EE-D00B67BCACFD}"/>
          </ac:picMkLst>
        </pc:picChg>
        <pc:picChg chg="add mod">
          <ac:chgData name="Bob Ward" userId="6da7c2dd-8e2e-469f-a216-c384312e2a2d" providerId="ADAL" clId="{CC07BEAC-85A7-44E0-BC28-578FC3DF3703}" dt="2019-02-13T23:40:07.238" v="4228" actId="1076"/>
          <ac:picMkLst>
            <pc:docMk/>
            <pc:sldMk cId="3279942268" sldId="4705"/>
            <ac:picMk id="28" creationId="{280F5838-A872-4B02-AAB1-7CDDDFA3C9FB}"/>
          </ac:picMkLst>
        </pc:picChg>
        <pc:picChg chg="add mod">
          <ac:chgData name="Bob Ward" userId="6da7c2dd-8e2e-469f-a216-c384312e2a2d" providerId="ADAL" clId="{CC07BEAC-85A7-44E0-BC28-578FC3DF3703}" dt="2019-02-13T23:40:03.848" v="4226" actId="1076"/>
          <ac:picMkLst>
            <pc:docMk/>
            <pc:sldMk cId="3279942268" sldId="4705"/>
            <ac:picMk id="29" creationId="{9D2D1235-647B-4451-A48E-A7ACF6D7D8E2}"/>
          </ac:picMkLst>
        </pc:picChg>
      </pc:sldChg>
      <pc:sldChg chg="modSp add ord">
        <pc:chgData name="Bob Ward" userId="6da7c2dd-8e2e-469f-a216-c384312e2a2d" providerId="ADAL" clId="{CC07BEAC-85A7-44E0-BC28-578FC3DF3703}" dt="2019-02-23T19:56:23.283" v="18398" actId="313"/>
        <pc:sldMkLst>
          <pc:docMk/>
          <pc:sldMk cId="3968502340" sldId="4706"/>
        </pc:sldMkLst>
        <pc:spChg chg="mod">
          <ac:chgData name="Bob Ward" userId="6da7c2dd-8e2e-469f-a216-c384312e2a2d" providerId="ADAL" clId="{CC07BEAC-85A7-44E0-BC28-578FC3DF3703}" dt="2019-02-23T19:56:23.283" v="18398" actId="313"/>
          <ac:spMkLst>
            <pc:docMk/>
            <pc:sldMk cId="3968502340" sldId="4706"/>
            <ac:spMk id="19" creationId="{3F61591F-8CFC-BD40-83AE-C84648D2FC4F}"/>
          </ac:spMkLst>
        </pc:spChg>
      </pc:sldChg>
      <pc:sldChg chg="addSp delSp modSp add modNotesTx">
        <pc:chgData name="Bob Ward" userId="6da7c2dd-8e2e-469f-a216-c384312e2a2d" providerId="ADAL" clId="{CC07BEAC-85A7-44E0-BC28-578FC3DF3703}" dt="2019-02-21T03:25:48.655" v="14170" actId="5793"/>
        <pc:sldMkLst>
          <pc:docMk/>
          <pc:sldMk cId="1881181927" sldId="4707"/>
        </pc:sldMkLst>
        <pc:spChg chg="add mod">
          <ac:chgData name="Bob Ward" userId="6da7c2dd-8e2e-469f-a216-c384312e2a2d" providerId="ADAL" clId="{CC07BEAC-85A7-44E0-BC28-578FC3DF3703}" dt="2019-02-21T03:23:03.899" v="14078" actId="554"/>
          <ac:spMkLst>
            <pc:docMk/>
            <pc:sldMk cId="1881181927" sldId="4707"/>
            <ac:spMk id="3" creationId="{1AEC8ACB-B832-4687-81DD-DB98306BD403}"/>
          </ac:spMkLst>
        </pc:spChg>
        <pc:spChg chg="mod">
          <ac:chgData name="Bob Ward" userId="6da7c2dd-8e2e-469f-a216-c384312e2a2d" providerId="ADAL" clId="{CC07BEAC-85A7-44E0-BC28-578FC3DF3703}" dt="2019-02-21T03:22:22.165" v="14063" actId="20577"/>
          <ac:spMkLst>
            <pc:docMk/>
            <pc:sldMk cId="1881181927" sldId="4707"/>
            <ac:spMk id="7" creationId="{00000000-0000-0000-0000-000000000000}"/>
          </ac:spMkLst>
        </pc:spChg>
        <pc:spChg chg="add del mod">
          <ac:chgData name="Bob Ward" userId="6da7c2dd-8e2e-469f-a216-c384312e2a2d" providerId="ADAL" clId="{CC07BEAC-85A7-44E0-BC28-578FC3DF3703}" dt="2019-02-21T03:19:01.159" v="13628" actId="478"/>
          <ac:spMkLst>
            <pc:docMk/>
            <pc:sldMk cId="1881181927" sldId="4707"/>
            <ac:spMk id="8" creationId="{5C57CD6A-BEAB-4E8D-BCBB-CDCCA7B1B7A1}"/>
          </ac:spMkLst>
        </pc:spChg>
        <pc:spChg chg="add mod">
          <ac:chgData name="Bob Ward" userId="6da7c2dd-8e2e-469f-a216-c384312e2a2d" providerId="ADAL" clId="{CC07BEAC-85A7-44E0-BC28-578FC3DF3703}" dt="2019-02-21T03:23:03.899" v="14078" actId="554"/>
          <ac:spMkLst>
            <pc:docMk/>
            <pc:sldMk cId="1881181927" sldId="4707"/>
            <ac:spMk id="9" creationId="{F6CB614A-B469-45E5-ADCC-CE4E7D462A4A}"/>
          </ac:spMkLst>
        </pc:spChg>
        <pc:spChg chg="del mod">
          <ac:chgData name="Bob Ward" userId="6da7c2dd-8e2e-469f-a216-c384312e2a2d" providerId="ADAL" clId="{CC07BEAC-85A7-44E0-BC28-578FC3DF3703}" dt="2019-02-21T03:19:01.159" v="13628" actId="478"/>
          <ac:spMkLst>
            <pc:docMk/>
            <pc:sldMk cId="1881181927" sldId="4707"/>
            <ac:spMk id="25" creationId="{FFEFC3EA-1C9B-4DE5-957E-5128F4084D11}"/>
          </ac:spMkLst>
        </pc:spChg>
        <pc:graphicFrameChg chg="add mod">
          <ac:chgData name="Bob Ward" userId="6da7c2dd-8e2e-469f-a216-c384312e2a2d" providerId="ADAL" clId="{CC07BEAC-85A7-44E0-BC28-578FC3DF3703}" dt="2019-02-21T03:22:14.276" v="14055" actId="14100"/>
          <ac:graphicFrameMkLst>
            <pc:docMk/>
            <pc:sldMk cId="1881181927" sldId="4707"/>
            <ac:graphicFrameMk id="2" creationId="{5CD58392-0573-443B-BF77-ED172E81C9A7}"/>
          </ac:graphicFrameMkLst>
        </pc:graphicFrameChg>
        <pc:graphicFrameChg chg="add mod">
          <ac:chgData name="Bob Ward" userId="6da7c2dd-8e2e-469f-a216-c384312e2a2d" providerId="ADAL" clId="{CC07BEAC-85A7-44E0-BC28-578FC3DF3703}" dt="2019-02-21T03:23:15.306" v="14080" actId="14100"/>
          <ac:graphicFrameMkLst>
            <pc:docMk/>
            <pc:sldMk cId="1881181927" sldId="4707"/>
            <ac:graphicFrameMk id="4" creationId="{984E7BC2-1D6B-4859-A038-26D766A03495}"/>
          </ac:graphicFrameMkLst>
        </pc:graphicFrameChg>
        <pc:graphicFrameChg chg="del">
          <ac:chgData name="Bob Ward" userId="6da7c2dd-8e2e-469f-a216-c384312e2a2d" providerId="ADAL" clId="{CC07BEAC-85A7-44E0-BC28-578FC3DF3703}" dt="2019-02-13T23:42:33.212" v="4554" actId="478"/>
          <ac:graphicFrameMkLst>
            <pc:docMk/>
            <pc:sldMk cId="1881181927" sldId="4707"/>
            <ac:graphicFrameMk id="26" creationId="{AE42AFBE-BFAA-459C-8B67-6F2F5C40DA4B}"/>
          </ac:graphicFrameMkLst>
        </pc:graphicFrameChg>
        <pc:picChg chg="del mod">
          <ac:chgData name="Bob Ward" userId="6da7c2dd-8e2e-469f-a216-c384312e2a2d" providerId="ADAL" clId="{CC07BEAC-85A7-44E0-BC28-578FC3DF3703}" dt="2019-02-13T23:42:30.225" v="4553" actId="478"/>
          <ac:picMkLst>
            <pc:docMk/>
            <pc:sldMk cId="1881181927" sldId="4707"/>
            <ac:picMk id="27" creationId="{212F909F-0F18-4F93-93EE-D00B67BCACFD}"/>
          </ac:picMkLst>
        </pc:picChg>
        <pc:picChg chg="del mod">
          <ac:chgData name="Bob Ward" userId="6da7c2dd-8e2e-469f-a216-c384312e2a2d" providerId="ADAL" clId="{CC07BEAC-85A7-44E0-BC28-578FC3DF3703}" dt="2019-02-13T23:42:30.225" v="4553" actId="478"/>
          <ac:picMkLst>
            <pc:docMk/>
            <pc:sldMk cId="1881181927" sldId="4707"/>
            <ac:picMk id="28" creationId="{280F5838-A872-4B02-AAB1-7CDDDFA3C9FB}"/>
          </ac:picMkLst>
        </pc:picChg>
        <pc:picChg chg="del mod">
          <ac:chgData name="Bob Ward" userId="6da7c2dd-8e2e-469f-a216-c384312e2a2d" providerId="ADAL" clId="{CC07BEAC-85A7-44E0-BC28-578FC3DF3703}" dt="2019-02-13T23:42:30.225" v="4553" actId="478"/>
          <ac:picMkLst>
            <pc:docMk/>
            <pc:sldMk cId="1881181927" sldId="4707"/>
            <ac:picMk id="29" creationId="{9D2D1235-647B-4451-A48E-A7ACF6D7D8E2}"/>
          </ac:picMkLst>
        </pc:picChg>
      </pc:sldChg>
      <pc:sldChg chg="modSp add del">
        <pc:chgData name="Bob Ward" userId="6da7c2dd-8e2e-469f-a216-c384312e2a2d" providerId="ADAL" clId="{CC07BEAC-85A7-44E0-BC28-578FC3DF3703}" dt="2019-02-13T23:49:53.596" v="5283" actId="6549"/>
        <pc:sldMkLst>
          <pc:docMk/>
          <pc:sldMk cId="1395999484" sldId="4708"/>
        </pc:sldMkLst>
        <pc:spChg chg="mod">
          <ac:chgData name="Bob Ward" userId="6da7c2dd-8e2e-469f-a216-c384312e2a2d" providerId="ADAL" clId="{CC07BEAC-85A7-44E0-BC28-578FC3DF3703}" dt="2019-02-13T23:49:53.596" v="5283" actId="6549"/>
          <ac:spMkLst>
            <pc:docMk/>
            <pc:sldMk cId="1395999484" sldId="4708"/>
            <ac:spMk id="7" creationId="{B6C15758-2759-1249-86EB-95E395A72BC8}"/>
          </ac:spMkLst>
        </pc:spChg>
        <pc:spChg chg="mod">
          <ac:chgData name="Bob Ward" userId="6da7c2dd-8e2e-469f-a216-c384312e2a2d" providerId="ADAL" clId="{CC07BEAC-85A7-44E0-BC28-578FC3DF3703}" dt="2019-02-13T23:49:52.125" v="5282" actId="1076"/>
          <ac:spMkLst>
            <pc:docMk/>
            <pc:sldMk cId="1395999484" sldId="4708"/>
            <ac:spMk id="15" creationId="{1E47C575-2CAE-C14B-8688-E97C18C7961A}"/>
          </ac:spMkLst>
        </pc:spChg>
      </pc:sldChg>
      <pc:sldChg chg="add del ord">
        <pc:chgData name="Bob Ward" userId="6da7c2dd-8e2e-469f-a216-c384312e2a2d" providerId="ADAL" clId="{CC07BEAC-85A7-44E0-BC28-578FC3DF3703}" dt="2019-02-13T23:52:29.283" v="5296" actId="2696"/>
        <pc:sldMkLst>
          <pc:docMk/>
          <pc:sldMk cId="36372850" sldId="4709"/>
        </pc:sldMkLst>
      </pc:sldChg>
      <pc:sldChg chg="addSp delSp modSp add modAnim">
        <pc:chgData name="Bob Ward" userId="6da7c2dd-8e2e-469f-a216-c384312e2a2d" providerId="ADAL" clId="{CC07BEAC-85A7-44E0-BC28-578FC3DF3703}" dt="2019-02-13T23:53:05.973" v="5330"/>
        <pc:sldMkLst>
          <pc:docMk/>
          <pc:sldMk cId="516492955" sldId="4709"/>
        </pc:sldMkLst>
        <pc:spChg chg="mod">
          <ac:chgData name="Bob Ward" userId="6da7c2dd-8e2e-469f-a216-c384312e2a2d" providerId="ADAL" clId="{CC07BEAC-85A7-44E0-BC28-578FC3DF3703}" dt="2019-02-13T23:52:49.673" v="5328" actId="20577"/>
          <ac:spMkLst>
            <pc:docMk/>
            <pc:sldMk cId="516492955" sldId="4709"/>
            <ac:spMk id="2" creationId="{6D21BD2D-C217-4297-BE95-ED0B34225824}"/>
          </ac:spMkLst>
        </pc:spChg>
        <pc:spChg chg="del">
          <ac:chgData name="Bob Ward" userId="6da7c2dd-8e2e-469f-a216-c384312e2a2d" providerId="ADAL" clId="{CC07BEAC-85A7-44E0-BC28-578FC3DF3703}" dt="2019-02-13T23:52:53.104" v="5329" actId="478"/>
          <ac:spMkLst>
            <pc:docMk/>
            <pc:sldMk cId="516492955" sldId="4709"/>
            <ac:spMk id="3" creationId="{43349A58-96A3-40C3-95F1-0D67404589C5}"/>
          </ac:spMkLst>
        </pc:spChg>
        <pc:spChg chg="add">
          <ac:chgData name="Bob Ward" userId="6da7c2dd-8e2e-469f-a216-c384312e2a2d" providerId="ADAL" clId="{CC07BEAC-85A7-44E0-BC28-578FC3DF3703}" dt="2019-02-13T23:53:05.973" v="5330"/>
          <ac:spMkLst>
            <pc:docMk/>
            <pc:sldMk cId="516492955" sldId="4709"/>
            <ac:spMk id="23" creationId="{32169F1A-F17B-42CA-9E8D-91C696DC3BFB}"/>
          </ac:spMkLst>
        </pc:spChg>
        <pc:spChg chg="add">
          <ac:chgData name="Bob Ward" userId="6da7c2dd-8e2e-469f-a216-c384312e2a2d" providerId="ADAL" clId="{CC07BEAC-85A7-44E0-BC28-578FC3DF3703}" dt="2019-02-13T23:53:05.973" v="5330"/>
          <ac:spMkLst>
            <pc:docMk/>
            <pc:sldMk cId="516492955" sldId="4709"/>
            <ac:spMk id="24" creationId="{8B73CA59-AD0B-471A-B50B-BB6166E8D0DF}"/>
          </ac:spMkLst>
        </pc:spChg>
        <pc:spChg chg="add">
          <ac:chgData name="Bob Ward" userId="6da7c2dd-8e2e-469f-a216-c384312e2a2d" providerId="ADAL" clId="{CC07BEAC-85A7-44E0-BC28-578FC3DF3703}" dt="2019-02-13T23:53:05.973" v="5330"/>
          <ac:spMkLst>
            <pc:docMk/>
            <pc:sldMk cId="516492955" sldId="4709"/>
            <ac:spMk id="25" creationId="{3D424405-E94E-44C6-A676-5B5E90393BEB}"/>
          </ac:spMkLst>
        </pc:spChg>
        <pc:spChg chg="add">
          <ac:chgData name="Bob Ward" userId="6da7c2dd-8e2e-469f-a216-c384312e2a2d" providerId="ADAL" clId="{CC07BEAC-85A7-44E0-BC28-578FC3DF3703}" dt="2019-02-13T23:53:05.973" v="5330"/>
          <ac:spMkLst>
            <pc:docMk/>
            <pc:sldMk cId="516492955" sldId="4709"/>
            <ac:spMk id="26" creationId="{9B229649-EFED-4FC1-9C6E-F0552A6C81CC}"/>
          </ac:spMkLst>
        </pc:spChg>
        <pc:spChg chg="add">
          <ac:chgData name="Bob Ward" userId="6da7c2dd-8e2e-469f-a216-c384312e2a2d" providerId="ADAL" clId="{CC07BEAC-85A7-44E0-BC28-578FC3DF3703}" dt="2019-02-13T23:53:05.973" v="5330"/>
          <ac:spMkLst>
            <pc:docMk/>
            <pc:sldMk cId="516492955" sldId="4709"/>
            <ac:spMk id="27" creationId="{CD200F81-F71E-4CE6-8686-A44D5FD5F79D}"/>
          </ac:spMkLst>
        </pc:spChg>
        <pc:spChg chg="add">
          <ac:chgData name="Bob Ward" userId="6da7c2dd-8e2e-469f-a216-c384312e2a2d" providerId="ADAL" clId="{CC07BEAC-85A7-44E0-BC28-578FC3DF3703}" dt="2019-02-13T23:53:05.973" v="5330"/>
          <ac:spMkLst>
            <pc:docMk/>
            <pc:sldMk cId="516492955" sldId="4709"/>
            <ac:spMk id="28" creationId="{71814971-CF4F-4C21-871F-762FF8F34E14}"/>
          </ac:spMkLst>
        </pc:spChg>
        <pc:spChg chg="add">
          <ac:chgData name="Bob Ward" userId="6da7c2dd-8e2e-469f-a216-c384312e2a2d" providerId="ADAL" clId="{CC07BEAC-85A7-44E0-BC28-578FC3DF3703}" dt="2019-02-13T23:53:05.973" v="5330"/>
          <ac:spMkLst>
            <pc:docMk/>
            <pc:sldMk cId="516492955" sldId="4709"/>
            <ac:spMk id="41" creationId="{4DC6598F-C4DE-4358-B2AF-C5C002575A83}"/>
          </ac:spMkLst>
        </pc:spChg>
        <pc:grpChg chg="add">
          <ac:chgData name="Bob Ward" userId="6da7c2dd-8e2e-469f-a216-c384312e2a2d" providerId="ADAL" clId="{CC07BEAC-85A7-44E0-BC28-578FC3DF3703}" dt="2019-02-13T23:53:05.973" v="5330"/>
          <ac:grpSpMkLst>
            <pc:docMk/>
            <pc:sldMk cId="516492955" sldId="4709"/>
            <ac:grpSpMk id="4" creationId="{4913388A-BFF6-41A1-A434-5E6C87AEE646}"/>
          </ac:grpSpMkLst>
        </pc:grpChg>
        <pc:grpChg chg="add">
          <ac:chgData name="Bob Ward" userId="6da7c2dd-8e2e-469f-a216-c384312e2a2d" providerId="ADAL" clId="{CC07BEAC-85A7-44E0-BC28-578FC3DF3703}" dt="2019-02-13T23:53:05.973" v="5330"/>
          <ac:grpSpMkLst>
            <pc:docMk/>
            <pc:sldMk cId="516492955" sldId="4709"/>
            <ac:grpSpMk id="9" creationId="{0B44AEFD-AD98-463E-AC7C-8E40AC686777}"/>
          </ac:grpSpMkLst>
        </pc:grpChg>
        <pc:grpChg chg="add">
          <ac:chgData name="Bob Ward" userId="6da7c2dd-8e2e-469f-a216-c384312e2a2d" providerId="ADAL" clId="{CC07BEAC-85A7-44E0-BC28-578FC3DF3703}" dt="2019-02-13T23:53:05.973" v="5330"/>
          <ac:grpSpMkLst>
            <pc:docMk/>
            <pc:sldMk cId="516492955" sldId="4709"/>
            <ac:grpSpMk id="14" creationId="{BB34921C-724A-49AC-9294-22F993987071}"/>
          </ac:grpSpMkLst>
        </pc:grpChg>
        <pc:grpChg chg="add">
          <ac:chgData name="Bob Ward" userId="6da7c2dd-8e2e-469f-a216-c384312e2a2d" providerId="ADAL" clId="{CC07BEAC-85A7-44E0-BC28-578FC3DF3703}" dt="2019-02-13T23:53:05.973" v="5330"/>
          <ac:grpSpMkLst>
            <pc:docMk/>
            <pc:sldMk cId="516492955" sldId="4709"/>
            <ac:grpSpMk id="30" creationId="{63B9112B-860F-453F-A920-B7FB9C48F444}"/>
          </ac:grpSpMkLst>
        </pc:grpChg>
        <pc:grpChg chg="add">
          <ac:chgData name="Bob Ward" userId="6da7c2dd-8e2e-469f-a216-c384312e2a2d" providerId="ADAL" clId="{CC07BEAC-85A7-44E0-BC28-578FC3DF3703}" dt="2019-02-13T23:53:05.973" v="5330"/>
          <ac:grpSpMkLst>
            <pc:docMk/>
            <pc:sldMk cId="516492955" sldId="4709"/>
            <ac:grpSpMk id="38" creationId="{EB8D1E95-73A0-40C0-A7C0-C82FB1116A22}"/>
          </ac:grpSpMkLst>
        </pc:grpChg>
        <pc:picChg chg="add">
          <ac:chgData name="Bob Ward" userId="6da7c2dd-8e2e-469f-a216-c384312e2a2d" providerId="ADAL" clId="{CC07BEAC-85A7-44E0-BC28-578FC3DF3703}" dt="2019-02-13T23:53:05.973" v="5330"/>
          <ac:picMkLst>
            <pc:docMk/>
            <pc:sldMk cId="516492955" sldId="4709"/>
            <ac:picMk id="42" creationId="{D64FF969-E80C-4D3F-A7A1-06F05CF69A18}"/>
          </ac:picMkLst>
        </pc:picChg>
        <pc:picChg chg="add">
          <ac:chgData name="Bob Ward" userId="6da7c2dd-8e2e-469f-a216-c384312e2a2d" providerId="ADAL" clId="{CC07BEAC-85A7-44E0-BC28-578FC3DF3703}" dt="2019-02-13T23:53:05.973" v="5330"/>
          <ac:picMkLst>
            <pc:docMk/>
            <pc:sldMk cId="516492955" sldId="4709"/>
            <ac:picMk id="44" creationId="{BAE509EB-C892-4046-9EF8-ECFD565117E0}"/>
          </ac:picMkLst>
        </pc:picChg>
        <pc:cxnChg chg="add">
          <ac:chgData name="Bob Ward" userId="6da7c2dd-8e2e-469f-a216-c384312e2a2d" providerId="ADAL" clId="{CC07BEAC-85A7-44E0-BC28-578FC3DF3703}" dt="2019-02-13T23:53:05.973" v="5330"/>
          <ac:cxnSpMkLst>
            <pc:docMk/>
            <pc:sldMk cId="516492955" sldId="4709"/>
            <ac:cxnSpMk id="29" creationId="{EDCE725E-98A6-45E2-8059-2ACFC7299794}"/>
          </ac:cxnSpMkLst>
        </pc:cxnChg>
        <pc:cxnChg chg="add">
          <ac:chgData name="Bob Ward" userId="6da7c2dd-8e2e-469f-a216-c384312e2a2d" providerId="ADAL" clId="{CC07BEAC-85A7-44E0-BC28-578FC3DF3703}" dt="2019-02-13T23:53:05.973" v="5330"/>
          <ac:cxnSpMkLst>
            <pc:docMk/>
            <pc:sldMk cId="516492955" sldId="4709"/>
            <ac:cxnSpMk id="43" creationId="{86857419-694A-4F19-93A6-F7E452E9FEFE}"/>
          </ac:cxnSpMkLst>
        </pc:cxnChg>
      </pc:sldChg>
      <pc:sldChg chg="add del">
        <pc:chgData name="Bob Ward" userId="6da7c2dd-8e2e-469f-a216-c384312e2a2d" providerId="ADAL" clId="{CC07BEAC-85A7-44E0-BC28-578FC3DF3703}" dt="2019-02-13T23:51:46.307" v="5285"/>
        <pc:sldMkLst>
          <pc:docMk/>
          <pc:sldMk cId="2825804657" sldId="4709"/>
        </pc:sldMkLst>
      </pc:sldChg>
      <pc:sldChg chg="addSp delSp modSp add modAnim">
        <pc:chgData name="Bob Ward" userId="6da7c2dd-8e2e-469f-a216-c384312e2a2d" providerId="ADAL" clId="{CC07BEAC-85A7-44E0-BC28-578FC3DF3703}" dt="2019-02-13T23:54:19.806" v="5359" actId="12100"/>
        <pc:sldMkLst>
          <pc:docMk/>
          <pc:sldMk cId="1513563151" sldId="4710"/>
        </pc:sldMkLst>
        <pc:spChg chg="mod">
          <ac:chgData name="Bob Ward" userId="6da7c2dd-8e2e-469f-a216-c384312e2a2d" providerId="ADAL" clId="{CC07BEAC-85A7-44E0-BC28-578FC3DF3703}" dt="2019-02-13T23:53:44.796" v="5353" actId="20577"/>
          <ac:spMkLst>
            <pc:docMk/>
            <pc:sldMk cId="1513563151" sldId="4710"/>
            <ac:spMk id="2" creationId="{8E19A2FE-8CC5-4777-ACCD-80A364F2B966}"/>
          </ac:spMkLst>
        </pc:spChg>
        <pc:spChg chg="del">
          <ac:chgData name="Bob Ward" userId="6da7c2dd-8e2e-469f-a216-c384312e2a2d" providerId="ADAL" clId="{CC07BEAC-85A7-44E0-BC28-578FC3DF3703}" dt="2019-02-13T23:53:49.008" v="5354" actId="478"/>
          <ac:spMkLst>
            <pc:docMk/>
            <pc:sldMk cId="1513563151" sldId="4710"/>
            <ac:spMk id="3" creationId="{EDF70D0D-EAD3-477C-95D0-DF35BDFAFCC6}"/>
          </ac:spMkLst>
        </pc:spChg>
        <pc:spChg chg="add">
          <ac:chgData name="Bob Ward" userId="6da7c2dd-8e2e-469f-a216-c384312e2a2d" providerId="ADAL" clId="{CC07BEAC-85A7-44E0-BC28-578FC3DF3703}" dt="2019-02-13T23:54:04.835" v="5355"/>
          <ac:spMkLst>
            <pc:docMk/>
            <pc:sldMk cId="1513563151" sldId="4710"/>
            <ac:spMk id="6" creationId="{FE9401D3-768A-4894-9F4D-48AB264717A6}"/>
          </ac:spMkLst>
        </pc:spChg>
        <pc:graphicFrameChg chg="add mod">
          <ac:chgData name="Bob Ward" userId="6da7c2dd-8e2e-469f-a216-c384312e2a2d" providerId="ADAL" clId="{CC07BEAC-85A7-44E0-BC28-578FC3DF3703}" dt="2019-02-13T23:54:19.806" v="5359" actId="12100"/>
          <ac:graphicFrameMkLst>
            <pc:docMk/>
            <pc:sldMk cId="1513563151" sldId="4710"/>
            <ac:graphicFrameMk id="4" creationId="{58232748-CA48-44BD-810D-647BA61293B1}"/>
          </ac:graphicFrameMkLst>
        </pc:graphicFrameChg>
        <pc:graphicFrameChg chg="add">
          <ac:chgData name="Bob Ward" userId="6da7c2dd-8e2e-469f-a216-c384312e2a2d" providerId="ADAL" clId="{CC07BEAC-85A7-44E0-BC28-578FC3DF3703}" dt="2019-02-13T23:54:04.835" v="5355"/>
          <ac:graphicFrameMkLst>
            <pc:docMk/>
            <pc:sldMk cId="1513563151" sldId="4710"/>
            <ac:graphicFrameMk id="5" creationId="{28C5BCF4-F4F2-42AB-AB1D-C1EF4637206A}"/>
          </ac:graphicFrameMkLst>
        </pc:graphicFrameChg>
      </pc:sldChg>
      <pc:sldChg chg="addSp delSp modSp add modAnim">
        <pc:chgData name="Bob Ward" userId="6da7c2dd-8e2e-469f-a216-c384312e2a2d" providerId="ADAL" clId="{CC07BEAC-85A7-44E0-BC28-578FC3DF3703}" dt="2019-02-23T19:08:52.310" v="18320"/>
        <pc:sldMkLst>
          <pc:docMk/>
          <pc:sldMk cId="4057104909" sldId="4711"/>
        </pc:sldMkLst>
        <pc:spChg chg="mod">
          <ac:chgData name="Bob Ward" userId="6da7c2dd-8e2e-469f-a216-c384312e2a2d" providerId="ADAL" clId="{CC07BEAC-85A7-44E0-BC28-578FC3DF3703}" dt="2019-02-14T00:10:02.414" v="5966" actId="6549"/>
          <ac:spMkLst>
            <pc:docMk/>
            <pc:sldMk cId="4057104909" sldId="4711"/>
            <ac:spMk id="2" creationId="{865D644A-9300-46F6-9746-8A8F6FE20638}"/>
          </ac:spMkLst>
        </pc:spChg>
        <pc:spChg chg="del mod">
          <ac:chgData name="Bob Ward" userId="6da7c2dd-8e2e-469f-a216-c384312e2a2d" providerId="ADAL" clId="{CC07BEAC-85A7-44E0-BC28-578FC3DF3703}" dt="2019-02-23T18:39:14.670" v="17884" actId="12084"/>
          <ac:spMkLst>
            <pc:docMk/>
            <pc:sldMk cId="4057104909" sldId="4711"/>
            <ac:spMk id="3" creationId="{AAA88FCF-BAD2-4D51-930E-4B60FE3BDCE2}"/>
          </ac:spMkLst>
        </pc:spChg>
        <pc:spChg chg="add mod">
          <ac:chgData name="Bob Ward" userId="6da7c2dd-8e2e-469f-a216-c384312e2a2d" providerId="ADAL" clId="{CC07BEAC-85A7-44E0-BC28-578FC3DF3703}" dt="2019-02-23T18:44:08.141" v="17989" actId="207"/>
          <ac:spMkLst>
            <pc:docMk/>
            <pc:sldMk cId="4057104909" sldId="4711"/>
            <ac:spMk id="5" creationId="{A07FA8A8-28D0-4038-A3E5-23541A3326C9}"/>
          </ac:spMkLst>
        </pc:spChg>
        <pc:graphicFrameChg chg="add mod">
          <ac:chgData name="Bob Ward" userId="6da7c2dd-8e2e-469f-a216-c384312e2a2d" providerId="ADAL" clId="{CC07BEAC-85A7-44E0-BC28-578FC3DF3703}" dt="2019-02-23T19:08:22.460" v="18317" actId="20577"/>
          <ac:graphicFrameMkLst>
            <pc:docMk/>
            <pc:sldMk cId="4057104909" sldId="4711"/>
            <ac:graphicFrameMk id="4" creationId="{25BC0E79-4545-4B8E-9B34-E1DA2536C7DA}"/>
          </ac:graphicFrameMkLst>
        </pc:graphicFrameChg>
      </pc:sldChg>
      <pc:sldChg chg="modSp add del ord">
        <pc:chgData name="Bob Ward" userId="6da7c2dd-8e2e-469f-a216-c384312e2a2d" providerId="ADAL" clId="{CC07BEAC-85A7-44E0-BC28-578FC3DF3703}" dt="2019-02-21T04:23:36.889" v="15010" actId="2696"/>
        <pc:sldMkLst>
          <pc:docMk/>
          <pc:sldMk cId="3124250520" sldId="4712"/>
        </pc:sldMkLst>
        <pc:spChg chg="mod">
          <ac:chgData name="Bob Ward" userId="6da7c2dd-8e2e-469f-a216-c384312e2a2d" providerId="ADAL" clId="{CC07BEAC-85A7-44E0-BC28-578FC3DF3703}" dt="2019-02-21T03:10:07.866" v="13571" actId="20577"/>
          <ac:spMkLst>
            <pc:docMk/>
            <pc:sldMk cId="3124250520" sldId="4712"/>
            <ac:spMk id="3" creationId="{00000000-0000-0000-0000-000000000000}"/>
          </ac:spMkLst>
        </pc:spChg>
        <pc:spChg chg="mod">
          <ac:chgData name="Bob Ward" userId="6da7c2dd-8e2e-469f-a216-c384312e2a2d" providerId="ADAL" clId="{CC07BEAC-85A7-44E0-BC28-578FC3DF3703}" dt="2019-02-14T00:11:23.119" v="6040" actId="20577"/>
          <ac:spMkLst>
            <pc:docMk/>
            <pc:sldMk cId="3124250520" sldId="4712"/>
            <ac:spMk id="4" creationId="{00000000-0000-0000-0000-000000000000}"/>
          </ac:spMkLst>
        </pc:spChg>
      </pc:sldChg>
      <pc:sldChg chg="modSp add ord modNotesTx">
        <pc:chgData name="Bob Ward" userId="6da7c2dd-8e2e-469f-a216-c384312e2a2d" providerId="ADAL" clId="{CC07BEAC-85A7-44E0-BC28-578FC3DF3703}" dt="2019-02-23T19:59:56.367" v="18607" actId="20577"/>
        <pc:sldMkLst>
          <pc:docMk/>
          <pc:sldMk cId="4254963345" sldId="4713"/>
        </pc:sldMkLst>
        <pc:spChg chg="mod">
          <ac:chgData name="Bob Ward" userId="6da7c2dd-8e2e-469f-a216-c384312e2a2d" providerId="ADAL" clId="{CC07BEAC-85A7-44E0-BC28-578FC3DF3703}" dt="2019-02-21T03:10:16.844" v="13572" actId="20577"/>
          <ac:spMkLst>
            <pc:docMk/>
            <pc:sldMk cId="4254963345" sldId="4713"/>
            <ac:spMk id="3" creationId="{00000000-0000-0000-0000-000000000000}"/>
          </ac:spMkLst>
        </pc:spChg>
        <pc:spChg chg="mod">
          <ac:chgData name="Bob Ward" userId="6da7c2dd-8e2e-469f-a216-c384312e2a2d" providerId="ADAL" clId="{CC07BEAC-85A7-44E0-BC28-578FC3DF3703}" dt="2019-02-14T00:16:02.908" v="6116" actId="20577"/>
          <ac:spMkLst>
            <pc:docMk/>
            <pc:sldMk cId="4254963345" sldId="4713"/>
            <ac:spMk id="4" creationId="{19845D98-2CE9-45E6-9AA5-7DA5B4AF1C6D}"/>
          </ac:spMkLst>
        </pc:spChg>
      </pc:sldChg>
      <pc:sldChg chg="add del ord">
        <pc:chgData name="Bob Ward" userId="6da7c2dd-8e2e-469f-a216-c384312e2a2d" providerId="ADAL" clId="{CC07BEAC-85A7-44E0-BC28-578FC3DF3703}" dt="2019-02-14T00:17:06.595" v="6253" actId="2696"/>
        <pc:sldMkLst>
          <pc:docMk/>
          <pc:sldMk cId="143906084" sldId="4714"/>
        </pc:sldMkLst>
      </pc:sldChg>
      <pc:sldChg chg="modSp add ord modNotesTx">
        <pc:chgData name="Bob Ward" userId="6da7c2dd-8e2e-469f-a216-c384312e2a2d" providerId="ADAL" clId="{CC07BEAC-85A7-44E0-BC28-578FC3DF3703}" dt="2019-02-21T03:05:52.683" v="13430" actId="6549"/>
        <pc:sldMkLst>
          <pc:docMk/>
          <pc:sldMk cId="3472186479" sldId="4714"/>
        </pc:sldMkLst>
        <pc:spChg chg="mod">
          <ac:chgData name="Bob Ward" userId="6da7c2dd-8e2e-469f-a216-c384312e2a2d" providerId="ADAL" clId="{CC07BEAC-85A7-44E0-BC28-578FC3DF3703}" dt="2019-02-14T00:17:32.766" v="6297" actId="20577"/>
          <ac:spMkLst>
            <pc:docMk/>
            <pc:sldMk cId="3472186479" sldId="4714"/>
            <ac:spMk id="2" creationId="{131DE104-D85B-43D4-AC99-58903696A798}"/>
          </ac:spMkLst>
        </pc:spChg>
      </pc:sldChg>
      <pc:sldChg chg="modSp add modAnim">
        <pc:chgData name="Bob Ward" userId="6da7c2dd-8e2e-469f-a216-c384312e2a2d" providerId="ADAL" clId="{CC07BEAC-85A7-44E0-BC28-578FC3DF3703}" dt="2019-02-20T17:20:30.679" v="9930"/>
        <pc:sldMkLst>
          <pc:docMk/>
          <pc:sldMk cId="1182174229" sldId="4715"/>
        </pc:sldMkLst>
        <pc:spChg chg="mod">
          <ac:chgData name="Bob Ward" userId="6da7c2dd-8e2e-469f-a216-c384312e2a2d" providerId="ADAL" clId="{CC07BEAC-85A7-44E0-BC28-578FC3DF3703}" dt="2019-02-14T00:19:46.776" v="6334" actId="20577"/>
          <ac:spMkLst>
            <pc:docMk/>
            <pc:sldMk cId="1182174229" sldId="4715"/>
            <ac:spMk id="2" creationId="{D53BB3F0-C6E8-4B45-BF0D-A821BECF14F2}"/>
          </ac:spMkLst>
        </pc:spChg>
      </pc:sldChg>
      <pc:sldChg chg="modSp add ord modNotesTx">
        <pc:chgData name="Bob Ward" userId="6da7c2dd-8e2e-469f-a216-c384312e2a2d" providerId="ADAL" clId="{CC07BEAC-85A7-44E0-BC28-578FC3DF3703}" dt="2019-02-21T02:27:15.686" v="13048" actId="20577"/>
        <pc:sldMkLst>
          <pc:docMk/>
          <pc:sldMk cId="1039403930" sldId="4716"/>
        </pc:sldMkLst>
        <pc:spChg chg="mod">
          <ac:chgData name="Bob Ward" userId="6da7c2dd-8e2e-469f-a216-c384312e2a2d" providerId="ADAL" clId="{CC07BEAC-85A7-44E0-BC28-578FC3DF3703}" dt="2019-02-14T00:20:19.360" v="6365" actId="20577"/>
          <ac:spMkLst>
            <pc:docMk/>
            <pc:sldMk cId="1039403930" sldId="4716"/>
            <ac:spMk id="2" creationId="{131DE104-D85B-43D4-AC99-58903696A798}"/>
          </ac:spMkLst>
        </pc:spChg>
      </pc:sldChg>
      <pc:sldChg chg="modSp add del">
        <pc:chgData name="Bob Ward" userId="6da7c2dd-8e2e-469f-a216-c384312e2a2d" providerId="ADAL" clId="{CC07BEAC-85A7-44E0-BC28-578FC3DF3703}" dt="2019-02-19T21:13:29.329" v="7110" actId="2696"/>
        <pc:sldMkLst>
          <pc:docMk/>
          <pc:sldMk cId="2935238819" sldId="4717"/>
        </pc:sldMkLst>
        <pc:spChg chg="mod">
          <ac:chgData name="Bob Ward" userId="6da7c2dd-8e2e-469f-a216-c384312e2a2d" providerId="ADAL" clId="{CC07BEAC-85A7-44E0-BC28-578FC3DF3703}" dt="2019-02-19T20:56:07.654" v="6419" actId="20577"/>
          <ac:spMkLst>
            <pc:docMk/>
            <pc:sldMk cId="2935238819" sldId="4717"/>
            <ac:spMk id="2" creationId="{6D2AE171-AD94-4FF5-B0ED-99921A4D69DF}"/>
          </ac:spMkLst>
        </pc:spChg>
        <pc:spChg chg="mod">
          <ac:chgData name="Bob Ward" userId="6da7c2dd-8e2e-469f-a216-c384312e2a2d" providerId="ADAL" clId="{CC07BEAC-85A7-44E0-BC28-578FC3DF3703}" dt="2019-02-19T20:57:27.336" v="6590" actId="20577"/>
          <ac:spMkLst>
            <pc:docMk/>
            <pc:sldMk cId="2935238819" sldId="4717"/>
            <ac:spMk id="3" creationId="{B24FAB1C-C010-4E4C-B79A-38D893014754}"/>
          </ac:spMkLst>
        </pc:spChg>
      </pc:sldChg>
      <pc:sldChg chg="addSp delSp modSp add modAnim">
        <pc:chgData name="Bob Ward" userId="6da7c2dd-8e2e-469f-a216-c384312e2a2d" providerId="ADAL" clId="{CC07BEAC-85A7-44E0-BC28-578FC3DF3703}" dt="2019-02-21T14:45:19.229" v="16105" actId="6549"/>
        <pc:sldMkLst>
          <pc:docMk/>
          <pc:sldMk cId="3173525090" sldId="4718"/>
        </pc:sldMkLst>
        <pc:spChg chg="mod">
          <ac:chgData name="Bob Ward" userId="6da7c2dd-8e2e-469f-a216-c384312e2a2d" providerId="ADAL" clId="{CC07BEAC-85A7-44E0-BC28-578FC3DF3703}" dt="2019-02-19T21:13:24.034" v="7109" actId="1076"/>
          <ac:spMkLst>
            <pc:docMk/>
            <pc:sldMk cId="3173525090" sldId="4718"/>
            <ac:spMk id="2" creationId="{6D2AE171-AD94-4FF5-B0ED-99921A4D69DF}"/>
          </ac:spMkLst>
        </pc:spChg>
        <pc:spChg chg="del">
          <ac:chgData name="Bob Ward" userId="6da7c2dd-8e2e-469f-a216-c384312e2a2d" providerId="ADAL" clId="{CC07BEAC-85A7-44E0-BC28-578FC3DF3703}" dt="2019-02-19T20:58:35.342" v="6593" actId="478"/>
          <ac:spMkLst>
            <pc:docMk/>
            <pc:sldMk cId="3173525090" sldId="4718"/>
            <ac:spMk id="3" creationId="{B24FAB1C-C010-4E4C-B79A-38D893014754}"/>
          </ac:spMkLst>
        </pc:spChg>
        <pc:spChg chg="add del mod">
          <ac:chgData name="Bob Ward" userId="6da7c2dd-8e2e-469f-a216-c384312e2a2d" providerId="ADAL" clId="{CC07BEAC-85A7-44E0-BC28-578FC3DF3703}" dt="2019-02-19T20:58:37.469" v="6594" actId="478"/>
          <ac:spMkLst>
            <pc:docMk/>
            <pc:sldMk cId="3173525090" sldId="4718"/>
            <ac:spMk id="5" creationId="{05791723-C203-4AB3-AFD0-7885908D717A}"/>
          </ac:spMkLst>
        </pc:spChg>
        <pc:spChg chg="add mod">
          <ac:chgData name="Bob Ward" userId="6da7c2dd-8e2e-469f-a216-c384312e2a2d" providerId="ADAL" clId="{CC07BEAC-85A7-44E0-BC28-578FC3DF3703}" dt="2019-02-21T02:31:24.999" v="13063" actId="1076"/>
          <ac:spMkLst>
            <pc:docMk/>
            <pc:sldMk cId="3173525090" sldId="4718"/>
            <ac:spMk id="5" creationId="{8FC618D1-0564-4058-BC54-557B11D15E73}"/>
          </ac:spMkLst>
        </pc:spChg>
        <pc:spChg chg="add del">
          <ac:chgData name="Bob Ward" userId="6da7c2dd-8e2e-469f-a216-c384312e2a2d" providerId="ADAL" clId="{CC07BEAC-85A7-44E0-BC28-578FC3DF3703}" dt="2019-02-19T21:00:44.394" v="6603"/>
          <ac:spMkLst>
            <pc:docMk/>
            <pc:sldMk cId="3173525090" sldId="4718"/>
            <ac:spMk id="11" creationId="{F00988AB-6437-41C3-A82E-A49CEFFE9E56}"/>
          </ac:spMkLst>
        </pc:spChg>
        <pc:spChg chg="add del">
          <ac:chgData name="Bob Ward" userId="6da7c2dd-8e2e-469f-a216-c384312e2a2d" providerId="ADAL" clId="{CC07BEAC-85A7-44E0-BC28-578FC3DF3703}" dt="2019-02-19T21:00:47.008" v="6605" actId="478"/>
          <ac:spMkLst>
            <pc:docMk/>
            <pc:sldMk cId="3173525090" sldId="4718"/>
            <ac:spMk id="12" creationId="{DE8EADA3-88B9-44F9-A406-0AA05A37801E}"/>
          </ac:spMkLst>
        </pc:spChg>
        <pc:spChg chg="add mod">
          <ac:chgData name="Bob Ward" userId="6da7c2dd-8e2e-469f-a216-c384312e2a2d" providerId="ADAL" clId="{CC07BEAC-85A7-44E0-BC28-578FC3DF3703}" dt="2019-02-19T21:12:01.881" v="7096" actId="1076"/>
          <ac:spMkLst>
            <pc:docMk/>
            <pc:sldMk cId="3173525090" sldId="4718"/>
            <ac:spMk id="14" creationId="{D4301970-8EF5-4AED-8FB7-A51120ECD60F}"/>
          </ac:spMkLst>
        </pc:spChg>
        <pc:spChg chg="mod">
          <ac:chgData name="Bob Ward" userId="6da7c2dd-8e2e-469f-a216-c384312e2a2d" providerId="ADAL" clId="{CC07BEAC-85A7-44E0-BC28-578FC3DF3703}" dt="2019-02-21T02:29:08.739" v="13050" actId="6549"/>
          <ac:spMkLst>
            <pc:docMk/>
            <pc:sldMk cId="3173525090" sldId="4718"/>
            <ac:spMk id="16" creationId="{D677FF46-7C76-4946-95B8-FDA5112B53C5}"/>
          </ac:spMkLst>
        </pc:spChg>
        <pc:spChg chg="mod">
          <ac:chgData name="Bob Ward" userId="6da7c2dd-8e2e-469f-a216-c384312e2a2d" providerId="ADAL" clId="{CC07BEAC-85A7-44E0-BC28-578FC3DF3703}" dt="2019-02-19T21:01:46.443" v="6617" actId="255"/>
          <ac:spMkLst>
            <pc:docMk/>
            <pc:sldMk cId="3173525090" sldId="4718"/>
            <ac:spMk id="17" creationId="{95200D0A-E7AD-470C-9649-81B37C4BCE2E}"/>
          </ac:spMkLst>
        </pc:spChg>
        <pc:spChg chg="add mod">
          <ac:chgData name="Bob Ward" userId="6da7c2dd-8e2e-469f-a216-c384312e2a2d" providerId="ADAL" clId="{CC07BEAC-85A7-44E0-BC28-578FC3DF3703}" dt="2019-02-21T14:45:19.229" v="16105" actId="6549"/>
          <ac:spMkLst>
            <pc:docMk/>
            <pc:sldMk cId="3173525090" sldId="4718"/>
            <ac:spMk id="18" creationId="{D3B423A7-4BAB-40D3-9FD6-0F038240FEAF}"/>
          </ac:spMkLst>
        </pc:spChg>
        <pc:spChg chg="add mod">
          <ac:chgData name="Bob Ward" userId="6da7c2dd-8e2e-469f-a216-c384312e2a2d" providerId="ADAL" clId="{CC07BEAC-85A7-44E0-BC28-578FC3DF3703}" dt="2019-02-19T21:08:49.165" v="7071" actId="1076"/>
          <ac:spMkLst>
            <pc:docMk/>
            <pc:sldMk cId="3173525090" sldId="4718"/>
            <ac:spMk id="19" creationId="{99C21293-60A9-45E5-9AB7-65627526FC21}"/>
          </ac:spMkLst>
        </pc:spChg>
        <pc:spChg chg="mod">
          <ac:chgData name="Bob Ward" userId="6da7c2dd-8e2e-469f-a216-c384312e2a2d" providerId="ADAL" clId="{CC07BEAC-85A7-44E0-BC28-578FC3DF3703}" dt="2019-02-19T21:06:06.412" v="6805" actId="113"/>
          <ac:spMkLst>
            <pc:docMk/>
            <pc:sldMk cId="3173525090" sldId="4718"/>
            <ac:spMk id="27" creationId="{215158CC-E406-40EF-8ACA-A9C08712EE49}"/>
          </ac:spMkLst>
        </pc:spChg>
        <pc:spChg chg="mod">
          <ac:chgData name="Bob Ward" userId="6da7c2dd-8e2e-469f-a216-c384312e2a2d" providerId="ADAL" clId="{CC07BEAC-85A7-44E0-BC28-578FC3DF3703}" dt="2019-02-19T21:06:06.412" v="6805" actId="113"/>
          <ac:spMkLst>
            <pc:docMk/>
            <pc:sldMk cId="3173525090" sldId="4718"/>
            <ac:spMk id="28" creationId="{CF9CEBD2-D358-403A-AD4D-904B1F8AA0C5}"/>
          </ac:spMkLst>
        </pc:spChg>
        <pc:spChg chg="add mod">
          <ac:chgData name="Bob Ward" userId="6da7c2dd-8e2e-469f-a216-c384312e2a2d" providerId="ADAL" clId="{CC07BEAC-85A7-44E0-BC28-578FC3DF3703}" dt="2019-02-19T21:10:43.904" v="7077" actId="1076"/>
          <ac:spMkLst>
            <pc:docMk/>
            <pc:sldMk cId="3173525090" sldId="4718"/>
            <ac:spMk id="30" creationId="{2FD6E315-25EA-4D82-9B44-27928B1FA5C7}"/>
          </ac:spMkLst>
        </pc:spChg>
        <pc:spChg chg="add mod">
          <ac:chgData name="Bob Ward" userId="6da7c2dd-8e2e-469f-a216-c384312e2a2d" providerId="ADAL" clId="{CC07BEAC-85A7-44E0-BC28-578FC3DF3703}" dt="2019-02-19T21:08:24.036" v="7060" actId="20577"/>
          <ac:spMkLst>
            <pc:docMk/>
            <pc:sldMk cId="3173525090" sldId="4718"/>
            <ac:spMk id="31" creationId="{7846A372-933D-43B9-9295-24938FD821D9}"/>
          </ac:spMkLst>
        </pc:spChg>
        <pc:spChg chg="add mod">
          <ac:chgData name="Bob Ward" userId="6da7c2dd-8e2e-469f-a216-c384312e2a2d" providerId="ADAL" clId="{CC07BEAC-85A7-44E0-BC28-578FC3DF3703}" dt="2019-02-19T21:08:17.005" v="7040" actId="1076"/>
          <ac:spMkLst>
            <pc:docMk/>
            <pc:sldMk cId="3173525090" sldId="4718"/>
            <ac:spMk id="32" creationId="{573B6922-C7FD-40F5-BCC4-3C14DAB2DA3D}"/>
          </ac:spMkLst>
        </pc:spChg>
        <pc:grpChg chg="add mod">
          <ac:chgData name="Bob Ward" userId="6da7c2dd-8e2e-469f-a216-c384312e2a2d" providerId="ADAL" clId="{CC07BEAC-85A7-44E0-BC28-578FC3DF3703}" dt="2019-02-21T02:29:24.146" v="13051" actId="338"/>
          <ac:grpSpMkLst>
            <pc:docMk/>
            <pc:sldMk cId="3173525090" sldId="4718"/>
            <ac:grpSpMk id="3" creationId="{FEF7A895-B93F-4494-A2F5-A92203252510}"/>
          </ac:grpSpMkLst>
        </pc:grpChg>
        <pc:grpChg chg="add mod">
          <ac:chgData name="Bob Ward" userId="6da7c2dd-8e2e-469f-a216-c384312e2a2d" providerId="ADAL" clId="{CC07BEAC-85A7-44E0-BC28-578FC3DF3703}" dt="2019-02-21T02:31:28.065" v="13064" actId="1076"/>
          <ac:grpSpMkLst>
            <pc:docMk/>
            <pc:sldMk cId="3173525090" sldId="4718"/>
            <ac:grpSpMk id="4" creationId="{2517A6A0-F210-4B66-897A-D239B79CD65B}"/>
          </ac:grpSpMkLst>
        </pc:grpChg>
        <pc:grpChg chg="add mod">
          <ac:chgData name="Bob Ward" userId="6da7c2dd-8e2e-469f-a216-c384312e2a2d" providerId="ADAL" clId="{CC07BEAC-85A7-44E0-BC28-578FC3DF3703}" dt="2019-02-19T21:10:25.629" v="7073" actId="1076"/>
          <ac:grpSpMkLst>
            <pc:docMk/>
            <pc:sldMk cId="3173525090" sldId="4718"/>
            <ac:grpSpMk id="6" creationId="{A178F7F2-8023-494D-885E-C50430B4C846}"/>
          </ac:grpSpMkLst>
        </pc:grpChg>
        <pc:grpChg chg="add del mod">
          <ac:chgData name="Bob Ward" userId="6da7c2dd-8e2e-469f-a216-c384312e2a2d" providerId="ADAL" clId="{CC07BEAC-85A7-44E0-BC28-578FC3DF3703}" dt="2019-02-21T02:28:58.166" v="13049" actId="165"/>
          <ac:grpSpMkLst>
            <pc:docMk/>
            <pc:sldMk cId="3173525090" sldId="4718"/>
            <ac:grpSpMk id="13" creationId="{9197DF4B-F92D-4374-8BB6-830B2180C6FB}"/>
          </ac:grpSpMkLst>
        </pc:grpChg>
        <pc:grpChg chg="add mod topLvl">
          <ac:chgData name="Bob Ward" userId="6da7c2dd-8e2e-469f-a216-c384312e2a2d" providerId="ADAL" clId="{CC07BEAC-85A7-44E0-BC28-578FC3DF3703}" dt="2019-02-21T02:29:24.146" v="13051" actId="338"/>
          <ac:grpSpMkLst>
            <pc:docMk/>
            <pc:sldMk cId="3173525090" sldId="4718"/>
            <ac:grpSpMk id="15" creationId="{5ED78680-94EA-47E7-8DC6-282F8CA0C744}"/>
          </ac:grpSpMkLst>
        </pc:grpChg>
        <pc:grpChg chg="add mod">
          <ac:chgData name="Bob Ward" userId="6da7c2dd-8e2e-469f-a216-c384312e2a2d" providerId="ADAL" clId="{CC07BEAC-85A7-44E0-BC28-578FC3DF3703}" dt="2019-02-21T02:31:09.680" v="13060" actId="164"/>
          <ac:grpSpMkLst>
            <pc:docMk/>
            <pc:sldMk cId="3173525090" sldId="4718"/>
            <ac:grpSpMk id="22" creationId="{AA32D583-4349-4D4D-A1B6-AA6EA3E042A8}"/>
          </ac:grpSpMkLst>
        </pc:grpChg>
        <pc:grpChg chg="add del">
          <ac:chgData name="Bob Ward" userId="6da7c2dd-8e2e-469f-a216-c384312e2a2d" providerId="ADAL" clId="{CC07BEAC-85A7-44E0-BC28-578FC3DF3703}" dt="2019-02-19T21:06:07.728" v="6806"/>
          <ac:grpSpMkLst>
            <pc:docMk/>
            <pc:sldMk cId="3173525090" sldId="4718"/>
            <ac:grpSpMk id="26" creationId="{74026FDF-38A6-4EF6-8D98-3D6CAB3C2611}"/>
          </ac:grpSpMkLst>
        </pc:grpChg>
        <pc:picChg chg="add mod">
          <ac:chgData name="Bob Ward" userId="6da7c2dd-8e2e-469f-a216-c384312e2a2d" providerId="ADAL" clId="{CC07BEAC-85A7-44E0-BC28-578FC3DF3703}" dt="2019-02-19T21:07:02.872" v="6909" actId="1076"/>
          <ac:picMkLst>
            <pc:docMk/>
            <pc:sldMk cId="3173525090" sldId="4718"/>
            <ac:picMk id="9" creationId="{E1D1930B-C020-4A76-B80B-3B2F3DDD26B9}"/>
          </ac:picMkLst>
        </pc:picChg>
        <pc:picChg chg="add mod">
          <ac:chgData name="Bob Ward" userId="6da7c2dd-8e2e-469f-a216-c384312e2a2d" providerId="ADAL" clId="{CC07BEAC-85A7-44E0-BC28-578FC3DF3703}" dt="2019-02-19T21:07:28.852" v="6915" actId="1076"/>
          <ac:picMkLst>
            <pc:docMk/>
            <pc:sldMk cId="3173525090" sldId="4718"/>
            <ac:picMk id="10" creationId="{6F5585C5-3A18-462B-855A-E57B29DB4EDE}"/>
          </ac:picMkLst>
        </pc:picChg>
        <pc:picChg chg="add mod">
          <ac:chgData name="Bob Ward" userId="6da7c2dd-8e2e-469f-a216-c384312e2a2d" providerId="ADAL" clId="{CC07BEAC-85A7-44E0-BC28-578FC3DF3703}" dt="2019-02-21T02:31:09.680" v="13060" actId="164"/>
          <ac:picMkLst>
            <pc:docMk/>
            <pc:sldMk cId="3173525090" sldId="4718"/>
            <ac:picMk id="29" creationId="{B6C0260D-054A-478F-8995-0D4A5835DB1F}"/>
          </ac:picMkLst>
        </pc:picChg>
        <pc:picChg chg="add del">
          <ac:chgData name="Bob Ward" userId="6da7c2dd-8e2e-469f-a216-c384312e2a2d" providerId="ADAL" clId="{CC07BEAC-85A7-44E0-BC28-578FC3DF3703}" dt="2019-02-19T21:00:27.503" v="6601"/>
          <ac:picMkLst>
            <pc:docMk/>
            <pc:sldMk cId="3173525090" sldId="4718"/>
            <ac:picMk id="1026" creationId="{F548DE0C-F93D-4DAD-A282-AE291D34CC4A}"/>
          </ac:picMkLst>
        </pc:picChg>
        <pc:picChg chg="add mod topLvl">
          <ac:chgData name="Bob Ward" userId="6da7c2dd-8e2e-469f-a216-c384312e2a2d" providerId="ADAL" clId="{CC07BEAC-85A7-44E0-BC28-578FC3DF3703}" dt="2019-02-21T02:29:24.146" v="13051" actId="338"/>
          <ac:picMkLst>
            <pc:docMk/>
            <pc:sldMk cId="3173525090" sldId="4718"/>
            <ac:picMk id="1032" creationId="{611B8EA1-91C3-4EFE-A817-963D75D8841D}"/>
          </ac:picMkLst>
        </pc:picChg>
        <pc:picChg chg="add mod">
          <ac:chgData name="Bob Ward" userId="6da7c2dd-8e2e-469f-a216-c384312e2a2d" providerId="ADAL" clId="{CC07BEAC-85A7-44E0-BC28-578FC3DF3703}" dt="2019-02-19T21:10:37.387" v="7075" actId="1076"/>
          <ac:picMkLst>
            <pc:docMk/>
            <pc:sldMk cId="3173525090" sldId="4718"/>
            <ac:picMk id="1034" creationId="{7954E7A4-F30B-4139-BEFE-196931AFE921}"/>
          </ac:picMkLst>
        </pc:picChg>
        <pc:cxnChg chg="add mod">
          <ac:chgData name="Bob Ward" userId="6da7c2dd-8e2e-469f-a216-c384312e2a2d" providerId="ADAL" clId="{CC07BEAC-85A7-44E0-BC28-578FC3DF3703}" dt="2019-02-19T21:12:19.978" v="7101" actId="14100"/>
          <ac:cxnSpMkLst>
            <pc:docMk/>
            <pc:sldMk cId="3173525090" sldId="4718"/>
            <ac:cxnSpMk id="21" creationId="{61FA6561-EA1F-4B40-AFEC-5E7A0384C2DB}"/>
          </ac:cxnSpMkLst>
        </pc:cxnChg>
        <pc:cxnChg chg="add mod">
          <ac:chgData name="Bob Ward" userId="6da7c2dd-8e2e-469f-a216-c384312e2a2d" providerId="ADAL" clId="{CC07BEAC-85A7-44E0-BC28-578FC3DF3703}" dt="2019-02-19T21:12:09.900" v="7099" actId="14100"/>
          <ac:cxnSpMkLst>
            <pc:docMk/>
            <pc:sldMk cId="3173525090" sldId="4718"/>
            <ac:cxnSpMk id="36" creationId="{2878C043-297E-4E46-8EE4-6123B540474F}"/>
          </ac:cxnSpMkLst>
        </pc:cxnChg>
        <pc:cxnChg chg="add mod">
          <ac:chgData name="Bob Ward" userId="6da7c2dd-8e2e-469f-a216-c384312e2a2d" providerId="ADAL" clId="{CC07BEAC-85A7-44E0-BC28-578FC3DF3703}" dt="2019-02-19T21:12:15.636" v="7100" actId="14100"/>
          <ac:cxnSpMkLst>
            <pc:docMk/>
            <pc:sldMk cId="3173525090" sldId="4718"/>
            <ac:cxnSpMk id="38" creationId="{2DA199D8-3AB2-4504-B9C6-26E47F0D785E}"/>
          </ac:cxnSpMkLst>
        </pc:cxnChg>
        <pc:cxnChg chg="add mod">
          <ac:chgData name="Bob Ward" userId="6da7c2dd-8e2e-469f-a216-c384312e2a2d" providerId="ADAL" clId="{CC07BEAC-85A7-44E0-BC28-578FC3DF3703}" dt="2019-02-19T21:12:07.414" v="7097" actId="14100"/>
          <ac:cxnSpMkLst>
            <pc:docMk/>
            <pc:sldMk cId="3173525090" sldId="4718"/>
            <ac:cxnSpMk id="40" creationId="{35FCABA1-FA39-47C6-B00E-A7F189C7F98C}"/>
          </ac:cxnSpMkLst>
        </pc:cxnChg>
      </pc:sldChg>
      <pc:sldChg chg="addSp delSp modSp add modNotesTx">
        <pc:chgData name="Bob Ward" userId="6da7c2dd-8e2e-469f-a216-c384312e2a2d" providerId="ADAL" clId="{CC07BEAC-85A7-44E0-BC28-578FC3DF3703}" dt="2019-02-24T16:00:36.544" v="18807" actId="20577"/>
        <pc:sldMkLst>
          <pc:docMk/>
          <pc:sldMk cId="3150553957" sldId="4719"/>
        </pc:sldMkLst>
        <pc:spChg chg="mod">
          <ac:chgData name="Bob Ward" userId="6da7c2dd-8e2e-469f-a216-c384312e2a2d" providerId="ADAL" clId="{CC07BEAC-85A7-44E0-BC28-578FC3DF3703}" dt="2019-02-24T16:00:36.544" v="18807" actId="20577"/>
          <ac:spMkLst>
            <pc:docMk/>
            <pc:sldMk cId="3150553957" sldId="4719"/>
            <ac:spMk id="2" creationId="{DE203A52-CFA0-4EB3-9984-22D25512BD8F}"/>
          </ac:spMkLst>
        </pc:spChg>
        <pc:graphicFrameChg chg="add mod">
          <ac:chgData name="Bob Ward" userId="6da7c2dd-8e2e-469f-a216-c384312e2a2d" providerId="ADAL" clId="{CC07BEAC-85A7-44E0-BC28-578FC3DF3703}" dt="2019-02-19T23:49:21.587" v="8137" actId="1076"/>
          <ac:graphicFrameMkLst>
            <pc:docMk/>
            <pc:sldMk cId="3150553957" sldId="4719"/>
            <ac:graphicFrameMk id="3" creationId="{60D032D2-8571-4E52-A3AC-BBE604A7760B}"/>
          </ac:graphicFrameMkLst>
        </pc:graphicFrameChg>
        <pc:picChg chg="del">
          <ac:chgData name="Bob Ward" userId="6da7c2dd-8e2e-469f-a216-c384312e2a2d" providerId="ADAL" clId="{CC07BEAC-85A7-44E0-BC28-578FC3DF3703}" dt="2019-02-19T23:46:38.960" v="8065" actId="478"/>
          <ac:picMkLst>
            <pc:docMk/>
            <pc:sldMk cId="3150553957" sldId="4719"/>
            <ac:picMk id="3076" creationId="{CE12F756-5C03-49B9-9178-D6DE3A31F24F}"/>
          </ac:picMkLst>
        </pc:picChg>
        <pc:picChg chg="add mod">
          <ac:chgData name="Bob Ward" userId="6da7c2dd-8e2e-469f-a216-c384312e2a2d" providerId="ADAL" clId="{CC07BEAC-85A7-44E0-BC28-578FC3DF3703}" dt="2019-02-19T23:48:19.273" v="8074" actId="1076"/>
          <ac:picMkLst>
            <pc:docMk/>
            <pc:sldMk cId="3150553957" sldId="4719"/>
            <ac:picMk id="5122" creationId="{EC77D15C-D57A-4836-81D6-CDE03B49A3AF}"/>
          </ac:picMkLst>
        </pc:picChg>
      </pc:sldChg>
      <pc:sldChg chg="add del">
        <pc:chgData name="Bob Ward" userId="6da7c2dd-8e2e-469f-a216-c384312e2a2d" providerId="ADAL" clId="{CC07BEAC-85A7-44E0-BC28-578FC3DF3703}" dt="2019-02-21T01:33:52.837" v="10920" actId="2696"/>
        <pc:sldMkLst>
          <pc:docMk/>
          <pc:sldMk cId="1166251521" sldId="4720"/>
        </pc:sldMkLst>
      </pc:sldChg>
      <pc:sldChg chg="add del">
        <pc:chgData name="Bob Ward" userId="6da7c2dd-8e2e-469f-a216-c384312e2a2d" providerId="ADAL" clId="{CC07BEAC-85A7-44E0-BC28-578FC3DF3703}" dt="2019-02-21T01:12:06.295" v="10918" actId="2696"/>
        <pc:sldMkLst>
          <pc:docMk/>
          <pc:sldMk cId="3302767865" sldId="4720"/>
        </pc:sldMkLst>
      </pc:sldChg>
      <pc:sldChg chg="modSp add modNotesTx">
        <pc:chgData name="Bob Ward" userId="6da7c2dd-8e2e-469f-a216-c384312e2a2d" providerId="ADAL" clId="{CC07BEAC-85A7-44E0-BC28-578FC3DF3703}" dt="2019-02-23T20:00:21.583" v="18640" actId="20577"/>
        <pc:sldMkLst>
          <pc:docMk/>
          <pc:sldMk cId="3764378234" sldId="4720"/>
        </pc:sldMkLst>
        <pc:spChg chg="mod">
          <ac:chgData name="Bob Ward" userId="6da7c2dd-8e2e-469f-a216-c384312e2a2d" providerId="ADAL" clId="{CC07BEAC-85A7-44E0-BC28-578FC3DF3703}" dt="2019-02-21T01:34:28.135" v="10964" actId="20577"/>
          <ac:spMkLst>
            <pc:docMk/>
            <pc:sldMk cId="3764378234" sldId="4720"/>
            <ac:spMk id="3" creationId="{00000000-0000-0000-0000-000000000000}"/>
          </ac:spMkLst>
        </pc:spChg>
        <pc:spChg chg="mod">
          <ac:chgData name="Bob Ward" userId="6da7c2dd-8e2e-469f-a216-c384312e2a2d" providerId="ADAL" clId="{CC07BEAC-85A7-44E0-BC28-578FC3DF3703}" dt="2019-02-21T01:34:38.661" v="11012" actId="20577"/>
          <ac:spMkLst>
            <pc:docMk/>
            <pc:sldMk cId="3764378234" sldId="4720"/>
            <ac:spMk id="4" creationId="{19845D98-2CE9-45E6-9AA5-7DA5B4AF1C6D}"/>
          </ac:spMkLst>
        </pc:spChg>
      </pc:sldChg>
      <pc:sldChg chg="add del">
        <pc:chgData name="Bob Ward" userId="6da7c2dd-8e2e-469f-a216-c384312e2a2d" providerId="ADAL" clId="{CC07BEAC-85A7-44E0-BC28-578FC3DF3703}" dt="2019-02-21T15:05:47.171" v="16578" actId="2696"/>
        <pc:sldMkLst>
          <pc:docMk/>
          <pc:sldMk cId="316009005" sldId="4721"/>
        </pc:sldMkLst>
      </pc:sldChg>
      <pc:sldChg chg="addSp delSp modSp add">
        <pc:chgData name="Bob Ward" userId="6da7c2dd-8e2e-469f-a216-c384312e2a2d" providerId="ADAL" clId="{CC07BEAC-85A7-44E0-BC28-578FC3DF3703}" dt="2019-02-23T18:28:06.052" v="17823" actId="1076"/>
        <pc:sldMkLst>
          <pc:docMk/>
          <pc:sldMk cId="620814848" sldId="4721"/>
        </pc:sldMkLst>
        <pc:spChg chg="mod">
          <ac:chgData name="Bob Ward" userId="6da7c2dd-8e2e-469f-a216-c384312e2a2d" providerId="ADAL" clId="{CC07BEAC-85A7-44E0-BC28-578FC3DF3703}" dt="2019-02-23T18:22:05.197" v="17703" actId="20577"/>
          <ac:spMkLst>
            <pc:docMk/>
            <pc:sldMk cId="620814848" sldId="4721"/>
            <ac:spMk id="2" creationId="{0AABCCEA-9662-4E41-B878-3AD78365FB68}"/>
          </ac:spMkLst>
        </pc:spChg>
        <pc:spChg chg="del">
          <ac:chgData name="Bob Ward" userId="6da7c2dd-8e2e-469f-a216-c384312e2a2d" providerId="ADAL" clId="{CC07BEAC-85A7-44E0-BC28-578FC3DF3703}" dt="2019-02-23T18:22:08.072" v="17704" actId="478"/>
          <ac:spMkLst>
            <pc:docMk/>
            <pc:sldMk cId="620814848" sldId="4721"/>
            <ac:spMk id="3" creationId="{A98184CF-A18B-4C96-8B0A-22CA0948DBE3}"/>
          </ac:spMkLst>
        </pc:spChg>
        <pc:spChg chg="add del mod">
          <ac:chgData name="Bob Ward" userId="6da7c2dd-8e2e-469f-a216-c384312e2a2d" providerId="ADAL" clId="{CC07BEAC-85A7-44E0-BC28-578FC3DF3703}" dt="2019-02-23T18:22:59.819" v="17715"/>
          <ac:spMkLst>
            <pc:docMk/>
            <pc:sldMk cId="620814848" sldId="4721"/>
            <ac:spMk id="4" creationId="{77DA394A-572D-4F9D-A34C-A2E81319E571}"/>
          </ac:spMkLst>
        </pc:spChg>
        <pc:spChg chg="add mod">
          <ac:chgData name="Bob Ward" userId="6da7c2dd-8e2e-469f-a216-c384312e2a2d" providerId="ADAL" clId="{CC07BEAC-85A7-44E0-BC28-578FC3DF3703}" dt="2019-02-23T18:27:30.989" v="17775" actId="1076"/>
          <ac:spMkLst>
            <pc:docMk/>
            <pc:sldMk cId="620814848" sldId="4721"/>
            <ac:spMk id="6" creationId="{84794F1F-18FA-41A0-B617-98A6E6FE176C}"/>
          </ac:spMkLst>
        </pc:spChg>
        <pc:spChg chg="add mod">
          <ac:chgData name="Bob Ward" userId="6da7c2dd-8e2e-469f-a216-c384312e2a2d" providerId="ADAL" clId="{CC07BEAC-85A7-44E0-BC28-578FC3DF3703}" dt="2019-02-23T18:27:59.368" v="17822" actId="20577"/>
          <ac:spMkLst>
            <pc:docMk/>
            <pc:sldMk cId="620814848" sldId="4721"/>
            <ac:spMk id="7" creationId="{C0513B01-0AB7-4EE2-B758-1F8DC5B747D1}"/>
          </ac:spMkLst>
        </pc:spChg>
        <pc:picChg chg="add mod">
          <ac:chgData name="Bob Ward" userId="6da7c2dd-8e2e-469f-a216-c384312e2a2d" providerId="ADAL" clId="{CC07BEAC-85A7-44E0-BC28-578FC3DF3703}" dt="2019-02-23T18:28:06.052" v="17823" actId="1076"/>
          <ac:picMkLst>
            <pc:docMk/>
            <pc:sldMk cId="620814848" sldId="4721"/>
            <ac:picMk id="5" creationId="{850F3035-6166-45BF-8FDF-BA7C84D4CD6A}"/>
          </ac:picMkLst>
        </pc:picChg>
      </pc:sldChg>
      <pc:sldChg chg="add del">
        <pc:chgData name="Bob Ward" userId="6da7c2dd-8e2e-469f-a216-c384312e2a2d" providerId="ADAL" clId="{CC07BEAC-85A7-44E0-BC28-578FC3DF3703}" dt="2019-02-21T01:44:18.783" v="12113" actId="2696"/>
        <pc:sldMkLst>
          <pc:docMk/>
          <pc:sldMk cId="1319777615" sldId="4721"/>
        </pc:sldMkLst>
      </pc:sldChg>
      <pc:sldChg chg="add del">
        <pc:chgData name="Bob Ward" userId="6da7c2dd-8e2e-469f-a216-c384312e2a2d" providerId="ADAL" clId="{CC07BEAC-85A7-44E0-BC28-578FC3DF3703}" dt="2019-02-21T03:25:32.284" v="14081" actId="2696"/>
        <pc:sldMkLst>
          <pc:docMk/>
          <pc:sldMk cId="1368397816" sldId="4721"/>
        </pc:sldMkLst>
      </pc:sldChg>
      <pc:sldChg chg="add">
        <pc:chgData name="Bob Ward" userId="6da7c2dd-8e2e-469f-a216-c384312e2a2d" providerId="ADAL" clId="{CC07BEAC-85A7-44E0-BC28-578FC3DF3703}" dt="2019-02-24T15:51:17.321" v="18641"/>
        <pc:sldMkLst>
          <pc:docMk/>
          <pc:sldMk cId="1600639778" sldId="4722"/>
        </pc:sldMkLst>
      </pc:sldChg>
      <pc:sldChg chg="modSp add ord">
        <pc:chgData name="Bob Ward" userId="6da7c2dd-8e2e-469f-a216-c384312e2a2d" providerId="ADAL" clId="{CC07BEAC-85A7-44E0-BC28-578FC3DF3703}" dt="2019-02-24T15:57:13.634" v="18701"/>
        <pc:sldMkLst>
          <pc:docMk/>
          <pc:sldMk cId="540024495" sldId="4723"/>
        </pc:sldMkLst>
        <pc:spChg chg="mod">
          <ac:chgData name="Bob Ward" userId="6da7c2dd-8e2e-469f-a216-c384312e2a2d" providerId="ADAL" clId="{CC07BEAC-85A7-44E0-BC28-578FC3DF3703}" dt="2019-02-24T15:57:10.500" v="18700" actId="6549"/>
          <ac:spMkLst>
            <pc:docMk/>
            <pc:sldMk cId="540024495" sldId="4723"/>
            <ac:spMk id="4" creationId="{00000000-0000-0000-0000-000000000000}"/>
          </ac:spMkLst>
        </pc:spChg>
      </pc:sldChg>
      <pc:sldChg chg="modSp add ord">
        <pc:chgData name="Bob Ward" userId="6da7c2dd-8e2e-469f-a216-c384312e2a2d" providerId="ADAL" clId="{CC07BEAC-85A7-44E0-BC28-578FC3DF3703}" dt="2019-02-24T15:57:02.051" v="18699" actId="20577"/>
        <pc:sldMkLst>
          <pc:docMk/>
          <pc:sldMk cId="42702565" sldId="4724"/>
        </pc:sldMkLst>
        <pc:spChg chg="mod">
          <ac:chgData name="Bob Ward" userId="6da7c2dd-8e2e-469f-a216-c384312e2a2d" providerId="ADAL" clId="{CC07BEAC-85A7-44E0-BC28-578FC3DF3703}" dt="2019-02-24T15:57:02.051" v="18699" actId="20577"/>
          <ac:spMkLst>
            <pc:docMk/>
            <pc:sldMk cId="42702565" sldId="4724"/>
            <ac:spMk id="4" creationId="{00000000-0000-0000-0000-000000000000}"/>
          </ac:spMkLst>
        </pc:spChg>
      </pc:sldChg>
      <pc:sldChg chg="addSp delSp add modAnim">
        <pc:chgData name="Bob Ward" userId="6da7c2dd-8e2e-469f-a216-c384312e2a2d" providerId="ADAL" clId="{CC07BEAC-85A7-44E0-BC28-578FC3DF3703}" dt="2019-02-25T21:24:27.996" v="19024"/>
        <pc:sldMkLst>
          <pc:docMk/>
          <pc:sldMk cId="544069279" sldId="4725"/>
        </pc:sldMkLst>
        <pc:spChg chg="del">
          <ac:chgData name="Bob Ward" userId="6da7c2dd-8e2e-469f-a216-c384312e2a2d" providerId="ADAL" clId="{CC07BEAC-85A7-44E0-BC28-578FC3DF3703}" dt="2019-02-25T21:24:14.419" v="19022" actId="478"/>
          <ac:spMkLst>
            <pc:docMk/>
            <pc:sldMk cId="544069279" sldId="4725"/>
            <ac:spMk id="2" creationId="{13718F07-9D0D-47E8-A423-F90AE5D55FFF}"/>
          </ac:spMkLst>
        </pc:spChg>
        <pc:spChg chg="del">
          <ac:chgData name="Bob Ward" userId="6da7c2dd-8e2e-469f-a216-c384312e2a2d" providerId="ADAL" clId="{CC07BEAC-85A7-44E0-BC28-578FC3DF3703}" dt="2019-02-25T21:24:16.472" v="19023" actId="478"/>
          <ac:spMkLst>
            <pc:docMk/>
            <pc:sldMk cId="544069279" sldId="4725"/>
            <ac:spMk id="3" creationId="{50889ABF-37F3-4299-9EFA-F791EE80EB00}"/>
          </ac:spMkLst>
        </pc:spChg>
        <pc:spChg chg="add">
          <ac:chgData name="Bob Ward" userId="6da7c2dd-8e2e-469f-a216-c384312e2a2d" providerId="ADAL" clId="{CC07BEAC-85A7-44E0-BC28-578FC3DF3703}" dt="2019-02-25T21:24:27.996" v="19024"/>
          <ac:spMkLst>
            <pc:docMk/>
            <pc:sldMk cId="544069279" sldId="4725"/>
            <ac:spMk id="4" creationId="{B99920D4-FDDE-4FE8-B1A1-D4B45F73833C}"/>
          </ac:spMkLst>
        </pc:spChg>
        <pc:spChg chg="add">
          <ac:chgData name="Bob Ward" userId="6da7c2dd-8e2e-469f-a216-c384312e2a2d" providerId="ADAL" clId="{CC07BEAC-85A7-44E0-BC28-578FC3DF3703}" dt="2019-02-25T21:24:27.996" v="19024"/>
          <ac:spMkLst>
            <pc:docMk/>
            <pc:sldMk cId="544069279" sldId="4725"/>
            <ac:spMk id="5" creationId="{7F7A579F-53DB-4CA3-901F-C804E969DFA2}"/>
          </ac:spMkLst>
        </pc:spChg>
        <pc:spChg chg="add">
          <ac:chgData name="Bob Ward" userId="6da7c2dd-8e2e-469f-a216-c384312e2a2d" providerId="ADAL" clId="{CC07BEAC-85A7-44E0-BC28-578FC3DF3703}" dt="2019-02-25T21:24:27.996" v="19024"/>
          <ac:spMkLst>
            <pc:docMk/>
            <pc:sldMk cId="544069279" sldId="4725"/>
            <ac:spMk id="36" creationId="{97B97636-C021-4BBA-B4F9-0823C695C939}"/>
          </ac:spMkLst>
        </pc:spChg>
        <pc:spChg chg="add">
          <ac:chgData name="Bob Ward" userId="6da7c2dd-8e2e-469f-a216-c384312e2a2d" providerId="ADAL" clId="{CC07BEAC-85A7-44E0-BC28-578FC3DF3703}" dt="2019-02-25T21:24:27.996" v="19024"/>
          <ac:spMkLst>
            <pc:docMk/>
            <pc:sldMk cId="544069279" sldId="4725"/>
            <ac:spMk id="37" creationId="{BA9C914E-3673-4125-9B03-285D0C1BAF01}"/>
          </ac:spMkLst>
        </pc:spChg>
        <pc:spChg chg="add">
          <ac:chgData name="Bob Ward" userId="6da7c2dd-8e2e-469f-a216-c384312e2a2d" providerId="ADAL" clId="{CC07BEAC-85A7-44E0-BC28-578FC3DF3703}" dt="2019-02-25T21:24:27.996" v="19024"/>
          <ac:spMkLst>
            <pc:docMk/>
            <pc:sldMk cId="544069279" sldId="4725"/>
            <ac:spMk id="48" creationId="{A4B5C3BA-0B51-4748-82A6-40EB05702A5E}"/>
          </ac:spMkLst>
        </pc:spChg>
        <pc:spChg chg="add">
          <ac:chgData name="Bob Ward" userId="6da7c2dd-8e2e-469f-a216-c384312e2a2d" providerId="ADAL" clId="{CC07BEAC-85A7-44E0-BC28-578FC3DF3703}" dt="2019-02-25T21:24:27.996" v="19024"/>
          <ac:spMkLst>
            <pc:docMk/>
            <pc:sldMk cId="544069279" sldId="4725"/>
            <ac:spMk id="50" creationId="{AF86B3EB-B87D-4B11-A489-82DE2C2040A1}"/>
          </ac:spMkLst>
        </pc:spChg>
        <pc:spChg chg="add">
          <ac:chgData name="Bob Ward" userId="6da7c2dd-8e2e-469f-a216-c384312e2a2d" providerId="ADAL" clId="{CC07BEAC-85A7-44E0-BC28-578FC3DF3703}" dt="2019-02-25T21:24:27.996" v="19024"/>
          <ac:spMkLst>
            <pc:docMk/>
            <pc:sldMk cId="544069279" sldId="4725"/>
            <ac:spMk id="58" creationId="{BBEB53A9-728C-44D5-A3F1-5A38415D7FD1}"/>
          </ac:spMkLst>
        </pc:spChg>
        <pc:spChg chg="add">
          <ac:chgData name="Bob Ward" userId="6da7c2dd-8e2e-469f-a216-c384312e2a2d" providerId="ADAL" clId="{CC07BEAC-85A7-44E0-BC28-578FC3DF3703}" dt="2019-02-25T21:24:27.996" v="19024"/>
          <ac:spMkLst>
            <pc:docMk/>
            <pc:sldMk cId="544069279" sldId="4725"/>
            <ac:spMk id="67" creationId="{C4A2DE9F-8605-47DD-B645-2DC743342465}"/>
          </ac:spMkLst>
        </pc:spChg>
        <pc:spChg chg="add">
          <ac:chgData name="Bob Ward" userId="6da7c2dd-8e2e-469f-a216-c384312e2a2d" providerId="ADAL" clId="{CC07BEAC-85A7-44E0-BC28-578FC3DF3703}" dt="2019-02-25T21:24:27.996" v="19024"/>
          <ac:spMkLst>
            <pc:docMk/>
            <pc:sldMk cId="544069279" sldId="4725"/>
            <ac:spMk id="68" creationId="{1D27C92C-239A-487D-929B-162A7B4F6BD2}"/>
          </ac:spMkLst>
        </pc:spChg>
        <pc:spChg chg="add">
          <ac:chgData name="Bob Ward" userId="6da7c2dd-8e2e-469f-a216-c384312e2a2d" providerId="ADAL" clId="{CC07BEAC-85A7-44E0-BC28-578FC3DF3703}" dt="2019-02-25T21:24:27.996" v="19024"/>
          <ac:spMkLst>
            <pc:docMk/>
            <pc:sldMk cId="544069279" sldId="4725"/>
            <ac:spMk id="101" creationId="{4D13CFE0-7786-4CCE-808D-E1F47AAA1FC4}"/>
          </ac:spMkLst>
        </pc:spChg>
        <pc:spChg chg="add">
          <ac:chgData name="Bob Ward" userId="6da7c2dd-8e2e-469f-a216-c384312e2a2d" providerId="ADAL" clId="{CC07BEAC-85A7-44E0-BC28-578FC3DF3703}" dt="2019-02-25T21:24:27.996" v="19024"/>
          <ac:spMkLst>
            <pc:docMk/>
            <pc:sldMk cId="544069279" sldId="4725"/>
            <ac:spMk id="112" creationId="{5F8EDC98-2499-4B7F-AA8A-17B73EFDE2DB}"/>
          </ac:spMkLst>
        </pc:spChg>
        <pc:spChg chg="add">
          <ac:chgData name="Bob Ward" userId="6da7c2dd-8e2e-469f-a216-c384312e2a2d" providerId="ADAL" clId="{CC07BEAC-85A7-44E0-BC28-578FC3DF3703}" dt="2019-02-25T21:24:27.996" v="19024"/>
          <ac:spMkLst>
            <pc:docMk/>
            <pc:sldMk cId="544069279" sldId="4725"/>
            <ac:spMk id="113" creationId="{16EAC972-2B9E-4A67-A290-E172936123D7}"/>
          </ac:spMkLst>
        </pc:spChg>
        <pc:spChg chg="add">
          <ac:chgData name="Bob Ward" userId="6da7c2dd-8e2e-469f-a216-c384312e2a2d" providerId="ADAL" clId="{CC07BEAC-85A7-44E0-BC28-578FC3DF3703}" dt="2019-02-25T21:24:27.996" v="19024"/>
          <ac:spMkLst>
            <pc:docMk/>
            <pc:sldMk cId="544069279" sldId="4725"/>
            <ac:spMk id="115" creationId="{137936B5-0AA5-4374-A746-44AE942097E4}"/>
          </ac:spMkLst>
        </pc:spChg>
        <pc:spChg chg="add">
          <ac:chgData name="Bob Ward" userId="6da7c2dd-8e2e-469f-a216-c384312e2a2d" providerId="ADAL" clId="{CC07BEAC-85A7-44E0-BC28-578FC3DF3703}" dt="2019-02-25T21:24:27.996" v="19024"/>
          <ac:spMkLst>
            <pc:docMk/>
            <pc:sldMk cId="544069279" sldId="4725"/>
            <ac:spMk id="116" creationId="{3FD09716-B460-4570-B682-9E5532F3A764}"/>
          </ac:spMkLst>
        </pc:spChg>
        <pc:grpChg chg="add">
          <ac:chgData name="Bob Ward" userId="6da7c2dd-8e2e-469f-a216-c384312e2a2d" providerId="ADAL" clId="{CC07BEAC-85A7-44E0-BC28-578FC3DF3703}" dt="2019-02-25T21:24:27.996" v="19024"/>
          <ac:grpSpMkLst>
            <pc:docMk/>
            <pc:sldMk cId="544069279" sldId="4725"/>
            <ac:grpSpMk id="6" creationId="{811C47AC-9A86-406F-A892-A42778083AF3}"/>
          </ac:grpSpMkLst>
        </pc:grpChg>
        <pc:grpChg chg="add">
          <ac:chgData name="Bob Ward" userId="6da7c2dd-8e2e-469f-a216-c384312e2a2d" providerId="ADAL" clId="{CC07BEAC-85A7-44E0-BC28-578FC3DF3703}" dt="2019-02-25T21:24:27.996" v="19024"/>
          <ac:grpSpMkLst>
            <pc:docMk/>
            <pc:sldMk cId="544069279" sldId="4725"/>
            <ac:grpSpMk id="32" creationId="{9DF0F48B-9985-4175-8B21-D96296834B40}"/>
          </ac:grpSpMkLst>
        </pc:grpChg>
        <pc:grpChg chg="add">
          <ac:chgData name="Bob Ward" userId="6da7c2dd-8e2e-469f-a216-c384312e2a2d" providerId="ADAL" clId="{CC07BEAC-85A7-44E0-BC28-578FC3DF3703}" dt="2019-02-25T21:24:27.996" v="19024"/>
          <ac:grpSpMkLst>
            <pc:docMk/>
            <pc:sldMk cId="544069279" sldId="4725"/>
            <ac:grpSpMk id="39" creationId="{727EBAD1-50D5-4A01-B28A-15904A1E5FCC}"/>
          </ac:grpSpMkLst>
        </pc:grpChg>
        <pc:grpChg chg="add">
          <ac:chgData name="Bob Ward" userId="6da7c2dd-8e2e-469f-a216-c384312e2a2d" providerId="ADAL" clId="{CC07BEAC-85A7-44E0-BC28-578FC3DF3703}" dt="2019-02-25T21:24:27.996" v="19024"/>
          <ac:grpSpMkLst>
            <pc:docMk/>
            <pc:sldMk cId="544069279" sldId="4725"/>
            <ac:grpSpMk id="55" creationId="{046830F1-EACD-4B19-BF65-C382E67EB59B}"/>
          </ac:grpSpMkLst>
        </pc:grpChg>
        <pc:grpChg chg="add">
          <ac:chgData name="Bob Ward" userId="6da7c2dd-8e2e-469f-a216-c384312e2a2d" providerId="ADAL" clId="{CC07BEAC-85A7-44E0-BC28-578FC3DF3703}" dt="2019-02-25T21:24:27.996" v="19024"/>
          <ac:grpSpMkLst>
            <pc:docMk/>
            <pc:sldMk cId="544069279" sldId="4725"/>
            <ac:grpSpMk id="59" creationId="{039E966C-F9A3-40CB-9BE4-8DCD961EB7D3}"/>
          </ac:grpSpMkLst>
        </pc:grpChg>
        <pc:grpChg chg="add">
          <ac:chgData name="Bob Ward" userId="6da7c2dd-8e2e-469f-a216-c384312e2a2d" providerId="ADAL" clId="{CC07BEAC-85A7-44E0-BC28-578FC3DF3703}" dt="2019-02-25T21:24:27.996" v="19024"/>
          <ac:grpSpMkLst>
            <pc:docMk/>
            <pc:sldMk cId="544069279" sldId="4725"/>
            <ac:grpSpMk id="69" creationId="{641FD4A5-1F80-4D52-9BDD-326734F81A07}"/>
          </ac:grpSpMkLst>
        </pc:grpChg>
        <pc:grpChg chg="add">
          <ac:chgData name="Bob Ward" userId="6da7c2dd-8e2e-469f-a216-c384312e2a2d" providerId="ADAL" clId="{CC07BEAC-85A7-44E0-BC28-578FC3DF3703}" dt="2019-02-25T21:24:27.996" v="19024"/>
          <ac:grpSpMkLst>
            <pc:docMk/>
            <pc:sldMk cId="544069279" sldId="4725"/>
            <ac:grpSpMk id="77" creationId="{F9C4AE1D-137D-4401-BE08-D324F18D2126}"/>
          </ac:grpSpMkLst>
        </pc:grpChg>
        <pc:grpChg chg="add">
          <ac:chgData name="Bob Ward" userId="6da7c2dd-8e2e-469f-a216-c384312e2a2d" providerId="ADAL" clId="{CC07BEAC-85A7-44E0-BC28-578FC3DF3703}" dt="2019-02-25T21:24:27.996" v="19024"/>
          <ac:grpSpMkLst>
            <pc:docMk/>
            <pc:sldMk cId="544069279" sldId="4725"/>
            <ac:grpSpMk id="80" creationId="{B4601206-A874-49CE-A348-9F59882D384E}"/>
          </ac:grpSpMkLst>
        </pc:grpChg>
        <pc:grpChg chg="add">
          <ac:chgData name="Bob Ward" userId="6da7c2dd-8e2e-469f-a216-c384312e2a2d" providerId="ADAL" clId="{CC07BEAC-85A7-44E0-BC28-578FC3DF3703}" dt="2019-02-25T21:24:27.996" v="19024"/>
          <ac:grpSpMkLst>
            <pc:docMk/>
            <pc:sldMk cId="544069279" sldId="4725"/>
            <ac:grpSpMk id="83" creationId="{99E1CCE0-510E-4ED5-8A0C-40B4B36BF134}"/>
          </ac:grpSpMkLst>
        </pc:grpChg>
        <pc:grpChg chg="add">
          <ac:chgData name="Bob Ward" userId="6da7c2dd-8e2e-469f-a216-c384312e2a2d" providerId="ADAL" clId="{CC07BEAC-85A7-44E0-BC28-578FC3DF3703}" dt="2019-02-25T21:24:27.996" v="19024"/>
          <ac:grpSpMkLst>
            <pc:docMk/>
            <pc:sldMk cId="544069279" sldId="4725"/>
            <ac:grpSpMk id="86" creationId="{BD10CCBB-A148-4792-AE9E-BCD3BB98994D}"/>
          </ac:grpSpMkLst>
        </pc:grpChg>
        <pc:grpChg chg="add">
          <ac:chgData name="Bob Ward" userId="6da7c2dd-8e2e-469f-a216-c384312e2a2d" providerId="ADAL" clId="{CC07BEAC-85A7-44E0-BC28-578FC3DF3703}" dt="2019-02-25T21:24:27.996" v="19024"/>
          <ac:grpSpMkLst>
            <pc:docMk/>
            <pc:sldMk cId="544069279" sldId="4725"/>
            <ac:grpSpMk id="91" creationId="{199692B3-0292-45F4-A6FB-65BD456E0D03}"/>
          </ac:grpSpMkLst>
        </pc:grpChg>
        <pc:grpChg chg="add">
          <ac:chgData name="Bob Ward" userId="6da7c2dd-8e2e-469f-a216-c384312e2a2d" providerId="ADAL" clId="{CC07BEAC-85A7-44E0-BC28-578FC3DF3703}" dt="2019-02-25T21:24:27.996" v="19024"/>
          <ac:grpSpMkLst>
            <pc:docMk/>
            <pc:sldMk cId="544069279" sldId="4725"/>
            <ac:grpSpMk id="102" creationId="{E41DB27D-B965-46A7-8B31-E4348D5D75AD}"/>
          </ac:grpSpMkLst>
        </pc:grpChg>
        <pc:grpChg chg="add">
          <ac:chgData name="Bob Ward" userId="6da7c2dd-8e2e-469f-a216-c384312e2a2d" providerId="ADAL" clId="{CC07BEAC-85A7-44E0-BC28-578FC3DF3703}" dt="2019-02-25T21:24:27.996" v="19024"/>
          <ac:grpSpMkLst>
            <pc:docMk/>
            <pc:sldMk cId="544069279" sldId="4725"/>
            <ac:grpSpMk id="105" creationId="{7FB41209-6F6F-4E43-8F6F-8611E9032A3A}"/>
          </ac:grpSpMkLst>
        </pc:grpChg>
        <pc:grpChg chg="add">
          <ac:chgData name="Bob Ward" userId="6da7c2dd-8e2e-469f-a216-c384312e2a2d" providerId="ADAL" clId="{CC07BEAC-85A7-44E0-BC28-578FC3DF3703}" dt="2019-02-25T21:24:27.996" v="19024"/>
          <ac:grpSpMkLst>
            <pc:docMk/>
            <pc:sldMk cId="544069279" sldId="4725"/>
            <ac:grpSpMk id="108" creationId="{6F210315-F6BC-4DA2-8AE3-4D7C69705442}"/>
          </ac:grpSpMkLst>
        </pc:grpChg>
        <pc:picChg chg="add">
          <ac:chgData name="Bob Ward" userId="6da7c2dd-8e2e-469f-a216-c384312e2a2d" providerId="ADAL" clId="{CC07BEAC-85A7-44E0-BC28-578FC3DF3703}" dt="2019-02-25T21:24:27.996" v="19024"/>
          <ac:picMkLst>
            <pc:docMk/>
            <pc:sldMk cId="544069279" sldId="4725"/>
            <ac:picMk id="38" creationId="{5B3C284F-BEE3-4068-A013-D651D0BF4241}"/>
          </ac:picMkLst>
        </pc:picChg>
        <pc:picChg chg="add">
          <ac:chgData name="Bob Ward" userId="6da7c2dd-8e2e-469f-a216-c384312e2a2d" providerId="ADAL" clId="{CC07BEAC-85A7-44E0-BC28-578FC3DF3703}" dt="2019-02-25T21:24:27.996" v="19024"/>
          <ac:picMkLst>
            <pc:docMk/>
            <pc:sldMk cId="544069279" sldId="4725"/>
            <ac:picMk id="49" creationId="{D12059DB-7429-49AB-B0D6-8B9686C66896}"/>
          </ac:picMkLst>
        </pc:picChg>
        <pc:picChg chg="add">
          <ac:chgData name="Bob Ward" userId="6da7c2dd-8e2e-469f-a216-c384312e2a2d" providerId="ADAL" clId="{CC07BEAC-85A7-44E0-BC28-578FC3DF3703}" dt="2019-02-25T21:24:27.996" v="19024"/>
          <ac:picMkLst>
            <pc:docMk/>
            <pc:sldMk cId="544069279" sldId="4725"/>
            <ac:picMk id="51" creationId="{E2156C17-945F-4F67-AF7D-05E5DB7F2227}"/>
          </ac:picMkLst>
        </pc:picChg>
        <pc:picChg chg="add">
          <ac:chgData name="Bob Ward" userId="6da7c2dd-8e2e-469f-a216-c384312e2a2d" providerId="ADAL" clId="{CC07BEAC-85A7-44E0-BC28-578FC3DF3703}" dt="2019-02-25T21:24:27.996" v="19024"/>
          <ac:picMkLst>
            <pc:docMk/>
            <pc:sldMk cId="544069279" sldId="4725"/>
            <ac:picMk id="52" creationId="{1A20A31B-67D8-4702-BAFE-68D47EBF4E85}"/>
          </ac:picMkLst>
        </pc:picChg>
        <pc:picChg chg="add">
          <ac:chgData name="Bob Ward" userId="6da7c2dd-8e2e-469f-a216-c384312e2a2d" providerId="ADAL" clId="{CC07BEAC-85A7-44E0-BC28-578FC3DF3703}" dt="2019-02-25T21:24:27.996" v="19024"/>
          <ac:picMkLst>
            <pc:docMk/>
            <pc:sldMk cId="544069279" sldId="4725"/>
            <ac:picMk id="53" creationId="{205158C2-8F6E-4AA2-B2C1-6DA1DBA05587}"/>
          </ac:picMkLst>
        </pc:picChg>
        <pc:picChg chg="add">
          <ac:chgData name="Bob Ward" userId="6da7c2dd-8e2e-469f-a216-c384312e2a2d" providerId="ADAL" clId="{CC07BEAC-85A7-44E0-BC28-578FC3DF3703}" dt="2019-02-25T21:24:27.996" v="19024"/>
          <ac:picMkLst>
            <pc:docMk/>
            <pc:sldMk cId="544069279" sldId="4725"/>
            <ac:picMk id="54" creationId="{1786E14F-DAC4-429B-83E5-F6A08DAF1B21}"/>
          </ac:picMkLst>
        </pc:picChg>
        <pc:picChg chg="add">
          <ac:chgData name="Bob Ward" userId="6da7c2dd-8e2e-469f-a216-c384312e2a2d" providerId="ADAL" clId="{CC07BEAC-85A7-44E0-BC28-578FC3DF3703}" dt="2019-02-25T21:24:27.996" v="19024"/>
          <ac:picMkLst>
            <pc:docMk/>
            <pc:sldMk cId="544069279" sldId="4725"/>
            <ac:picMk id="114" creationId="{E8E9DBAF-3D0B-4466-8B82-0216E6B918F8}"/>
          </ac:picMkLst>
        </pc:picChg>
        <pc:picChg chg="add">
          <ac:chgData name="Bob Ward" userId="6da7c2dd-8e2e-469f-a216-c384312e2a2d" providerId="ADAL" clId="{CC07BEAC-85A7-44E0-BC28-578FC3DF3703}" dt="2019-02-25T21:24:27.996" v="19024"/>
          <ac:picMkLst>
            <pc:docMk/>
            <pc:sldMk cId="544069279" sldId="4725"/>
            <ac:picMk id="117" creationId="{BCEB491B-0F39-4027-A37A-9E44B5EC70E1}"/>
          </ac:picMkLst>
        </pc:picChg>
        <pc:cxnChg chg="add">
          <ac:chgData name="Bob Ward" userId="6da7c2dd-8e2e-469f-a216-c384312e2a2d" providerId="ADAL" clId="{CC07BEAC-85A7-44E0-BC28-578FC3DF3703}" dt="2019-02-25T21:24:27.996" v="19024"/>
          <ac:cxnSpMkLst>
            <pc:docMk/>
            <pc:sldMk cId="544069279" sldId="4725"/>
            <ac:cxnSpMk id="89" creationId="{60FE9D31-F22F-4C0B-B871-35DD9C3F75DF}"/>
          </ac:cxnSpMkLst>
        </pc:cxnChg>
        <pc:cxnChg chg="add">
          <ac:chgData name="Bob Ward" userId="6da7c2dd-8e2e-469f-a216-c384312e2a2d" providerId="ADAL" clId="{CC07BEAC-85A7-44E0-BC28-578FC3DF3703}" dt="2019-02-25T21:24:27.996" v="19024"/>
          <ac:cxnSpMkLst>
            <pc:docMk/>
            <pc:sldMk cId="544069279" sldId="4725"/>
            <ac:cxnSpMk id="90" creationId="{7BAF23CB-F5D3-4FD0-AEA9-C8A4CE19542D}"/>
          </ac:cxnSpMkLst>
        </pc:cxnChg>
        <pc:cxnChg chg="add">
          <ac:chgData name="Bob Ward" userId="6da7c2dd-8e2e-469f-a216-c384312e2a2d" providerId="ADAL" clId="{CC07BEAC-85A7-44E0-BC28-578FC3DF3703}" dt="2019-02-25T21:24:27.996" v="19024"/>
          <ac:cxnSpMkLst>
            <pc:docMk/>
            <pc:sldMk cId="544069279" sldId="4725"/>
            <ac:cxnSpMk id="111" creationId="{B7A5E3C5-4E6D-4F26-8EFD-A3F6C4C1A22C}"/>
          </ac:cxnSpMkLst>
        </pc:cxnChg>
      </pc:sldChg>
      <pc:sldChg chg="add">
        <pc:chgData name="Bob Ward" userId="6da7c2dd-8e2e-469f-a216-c384312e2a2d" providerId="ADAL" clId="{CC07BEAC-85A7-44E0-BC28-578FC3DF3703}" dt="2019-03-04T21:34:05.601" v="19027"/>
        <pc:sldMkLst>
          <pc:docMk/>
          <pc:sldMk cId="944355778" sldId="4726"/>
        </pc:sldMkLst>
      </pc:sldChg>
      <pc:sldMasterChg chg="delSldLayout">
        <pc:chgData name="Bob Ward" userId="6da7c2dd-8e2e-469f-a216-c384312e2a2d" providerId="ADAL" clId="{CC07BEAC-85A7-44E0-BC28-578FC3DF3703}" dt="2019-02-13T21:41:53.284" v="3756" actId="2696"/>
        <pc:sldMasterMkLst>
          <pc:docMk/>
          <pc:sldMasterMk cId="4137626204" sldId="2147484671"/>
        </pc:sldMasterMkLst>
        <pc:sldLayoutChg chg="del">
          <pc:chgData name="Bob Ward" userId="6da7c2dd-8e2e-469f-a216-c384312e2a2d" providerId="ADAL" clId="{CC07BEAC-85A7-44E0-BC28-578FC3DF3703}" dt="2019-02-13T21:41:53.284" v="3756" actId="2696"/>
          <pc:sldLayoutMkLst>
            <pc:docMk/>
            <pc:sldMasterMk cId="4137626204" sldId="2147484671"/>
            <pc:sldLayoutMk cId="2203773150" sldId="2147484765"/>
          </pc:sldLayoutMkLst>
        </pc:sldLayoutChg>
      </pc:sldMasterChg>
      <pc:sldMasterChg chg="delSldLayout">
        <pc:chgData name="Bob Ward" userId="6da7c2dd-8e2e-469f-a216-c384312e2a2d" providerId="ADAL" clId="{CC07BEAC-85A7-44E0-BC28-578FC3DF3703}" dt="2019-02-21T03:29:54.017" v="14290" actId="2696"/>
        <pc:sldMasterMkLst>
          <pc:docMk/>
          <pc:sldMasterMk cId="2545764285" sldId="2147484768"/>
        </pc:sldMasterMkLst>
        <pc:sldLayoutChg chg="del">
          <pc:chgData name="Bob Ward" userId="6da7c2dd-8e2e-469f-a216-c384312e2a2d" providerId="ADAL" clId="{CC07BEAC-85A7-44E0-BC28-578FC3DF3703}" dt="2019-02-21T03:29:54.017" v="14290" actId="2696"/>
          <pc:sldLayoutMkLst>
            <pc:docMk/>
            <pc:sldMasterMk cId="2545764285" sldId="2147484768"/>
            <pc:sldLayoutMk cId="1540442828" sldId="2147484793"/>
          </pc:sldLayoutMkLst>
        </pc:sldLayoutChg>
      </pc:sldMasterChg>
      <pc:sldMasterChg chg="delSldLayout">
        <pc:chgData name="Bob Ward" userId="6da7c2dd-8e2e-469f-a216-c384312e2a2d" providerId="ADAL" clId="{CC07BEAC-85A7-44E0-BC28-578FC3DF3703}" dt="2019-02-21T03:29:04.031" v="14287" actId="2696"/>
        <pc:sldMasterMkLst>
          <pc:docMk/>
          <pc:sldMasterMk cId="1920659585" sldId="2147484795"/>
        </pc:sldMasterMkLst>
        <pc:sldLayoutChg chg="del">
          <pc:chgData name="Bob Ward" userId="6da7c2dd-8e2e-469f-a216-c384312e2a2d" providerId="ADAL" clId="{CC07BEAC-85A7-44E0-BC28-578FC3DF3703}" dt="2019-02-21T03:29:04.031" v="14287" actId="2696"/>
          <pc:sldLayoutMkLst>
            <pc:docMk/>
            <pc:sldMasterMk cId="1920659585" sldId="2147484795"/>
            <pc:sldLayoutMk cId="1854613710" sldId="2147484818"/>
          </pc:sldLayoutMkLst>
        </pc:sldLayoutChg>
      </pc:sldMasterChg>
    </pc:docChg>
  </pc:docChgLst>
  <pc:docChgLst>
    <pc:chgData name="Bob Ward" userId="S::bobward@microsoft.com::6da7c2dd-8e2e-469f-a216-c384312e2a2d" providerId="AD" clId="Web-{0068B243-A510-4F4A-A1FA-C7AC1F47CA58}"/>
    <pc:docChg chg="modSld">
      <pc:chgData name="Bob Ward" userId="S::bobward@microsoft.com::6da7c2dd-8e2e-469f-a216-c384312e2a2d" providerId="AD" clId="Web-{0068B243-A510-4F4A-A1FA-C7AC1F47CA58}" dt="2018-11-06T14:32:55.408" v="1"/>
      <pc:docMkLst>
        <pc:docMk/>
      </pc:docMkLst>
      <pc:sldChg chg="addSp delSp modSp">
        <pc:chgData name="Bob Ward" userId="S::bobward@microsoft.com::6da7c2dd-8e2e-469f-a216-c384312e2a2d" providerId="AD" clId="Web-{0068B243-A510-4F4A-A1FA-C7AC1F47CA58}" dt="2018-11-06T14:32:55.408" v="1"/>
        <pc:sldMkLst>
          <pc:docMk/>
          <pc:sldMk cId="3562836415" sldId="4366"/>
        </pc:sldMkLst>
        <pc:picChg chg="add del mod">
          <ac:chgData name="Bob Ward" userId="S::bobward@microsoft.com::6da7c2dd-8e2e-469f-a216-c384312e2a2d" providerId="AD" clId="Web-{0068B243-A510-4F4A-A1FA-C7AC1F47CA58}" dt="2018-11-06T14:32:55.408" v="1"/>
          <ac:picMkLst>
            <pc:docMk/>
            <pc:sldMk cId="3562836415" sldId="4366"/>
            <ac:picMk id="2" creationId="{182A0A0C-FA0B-43EB-A446-7DB74A67DCCC}"/>
          </ac:picMkLst>
        </pc:picChg>
      </pc:sldChg>
    </pc:docChg>
  </pc:docChgLst>
  <pc:docChgLst>
    <pc:chgData name="Bob Ward" userId="6da7c2dd-8e2e-469f-a216-c384312e2a2d" providerId="ADAL" clId="{BEA06E05-98D2-43A4-8058-6177C0FA11F1}"/>
    <pc:docChg chg="modSld">
      <pc:chgData name="Bob Ward" userId="6da7c2dd-8e2e-469f-a216-c384312e2a2d" providerId="ADAL" clId="{BEA06E05-98D2-43A4-8058-6177C0FA11F1}" dt="2019-04-23T18:01:13.156" v="24" actId="20577"/>
      <pc:docMkLst>
        <pc:docMk/>
      </pc:docMkLst>
      <pc:sldChg chg="modSp">
        <pc:chgData name="Bob Ward" userId="6da7c2dd-8e2e-469f-a216-c384312e2a2d" providerId="ADAL" clId="{BEA06E05-98D2-43A4-8058-6177C0FA11F1}" dt="2019-04-23T18:01:13.156" v="24" actId="20577"/>
        <pc:sldMkLst>
          <pc:docMk/>
          <pc:sldMk cId="3279942268" sldId="4705"/>
        </pc:sldMkLst>
        <pc:graphicFrameChg chg="mod">
          <ac:chgData name="Bob Ward" userId="6da7c2dd-8e2e-469f-a216-c384312e2a2d" providerId="ADAL" clId="{BEA06E05-98D2-43A4-8058-6177C0FA11F1}" dt="2019-04-23T18:01:13.156" v="24" actId="20577"/>
          <ac:graphicFrameMkLst>
            <pc:docMk/>
            <pc:sldMk cId="3279942268" sldId="4705"/>
            <ac:graphicFrameMk id="26" creationId="{AE42AFBE-BFAA-459C-8B67-6F2F5C40DA4B}"/>
          </ac:graphicFrameMkLst>
        </pc:graphicFrameChg>
      </pc:sldChg>
    </pc:docChg>
  </pc:docChgLst>
  <pc:docChgLst>
    <pc:chgData name="Bob Ward" userId="6da7c2dd-8e2e-469f-a216-c384312e2a2d" providerId="ADAL" clId="{468C33B5-D856-4B27-812E-489ED88384DA}"/>
    <pc:docChg chg="modSld">
      <pc:chgData name="Bob Ward" userId="6da7c2dd-8e2e-469f-a216-c384312e2a2d" providerId="ADAL" clId="{468C33B5-D856-4B27-812E-489ED88384DA}" dt="2019-01-13T19:24:37.744" v="0"/>
      <pc:docMkLst>
        <pc:docMk/>
      </pc:docMkLst>
      <pc:sldChg chg="modTransition">
        <pc:chgData name="Bob Ward" userId="6da7c2dd-8e2e-469f-a216-c384312e2a2d" providerId="ADAL" clId="{468C33B5-D856-4B27-812E-489ED88384DA}" dt="2019-01-13T19:24:37.744" v="0"/>
        <pc:sldMkLst>
          <pc:docMk/>
          <pc:sldMk cId="445609033" sldId="4351"/>
        </pc:sldMkLst>
      </pc:sldChg>
    </pc:docChg>
  </pc:docChgLst>
  <pc:docChgLst>
    <pc:chgData name="Bob Ward" userId="6da7c2dd-8e2e-469f-a216-c384312e2a2d" providerId="ADAL" clId="{AA5051D3-DEB7-4949-A4B5-AC379EAB8551}"/>
    <pc:docChg chg="undo custSel modSld">
      <pc:chgData name="Bob Ward" userId="6da7c2dd-8e2e-469f-a216-c384312e2a2d" providerId="ADAL" clId="{AA5051D3-DEB7-4949-A4B5-AC379EAB8551}" dt="2018-11-07T19:54:34.916" v="159" actId="20577"/>
      <pc:docMkLst>
        <pc:docMk/>
      </pc:docMkLst>
      <pc:sldChg chg="modSp">
        <pc:chgData name="Bob Ward" userId="6da7c2dd-8e2e-469f-a216-c384312e2a2d" providerId="ADAL" clId="{AA5051D3-DEB7-4949-A4B5-AC379EAB8551}" dt="2018-11-07T18:08:20.911" v="94" actId="2711"/>
        <pc:sldMkLst>
          <pc:docMk/>
          <pc:sldMk cId="2973122093" sldId="4352"/>
        </pc:sldMkLst>
        <pc:spChg chg="mod">
          <ac:chgData name="Bob Ward" userId="6da7c2dd-8e2e-469f-a216-c384312e2a2d" providerId="ADAL" clId="{AA5051D3-DEB7-4949-A4B5-AC379EAB8551}" dt="2018-11-07T18:08:20.911" v="94" actId="2711"/>
          <ac:spMkLst>
            <pc:docMk/>
            <pc:sldMk cId="2973122093" sldId="4352"/>
            <ac:spMk id="6" creationId="{00000000-0000-0000-0000-000000000000}"/>
          </ac:spMkLst>
        </pc:spChg>
      </pc:sldChg>
      <pc:sldChg chg="modSp">
        <pc:chgData name="Bob Ward" userId="6da7c2dd-8e2e-469f-a216-c384312e2a2d" providerId="ADAL" clId="{AA5051D3-DEB7-4949-A4B5-AC379EAB8551}" dt="2018-11-07T18:08:05.958" v="92" actId="2711"/>
        <pc:sldMkLst>
          <pc:docMk/>
          <pc:sldMk cId="1122910760" sldId="4353"/>
        </pc:sldMkLst>
        <pc:spChg chg="mod">
          <ac:chgData name="Bob Ward" userId="6da7c2dd-8e2e-469f-a216-c384312e2a2d" providerId="ADAL" clId="{AA5051D3-DEB7-4949-A4B5-AC379EAB8551}" dt="2018-11-07T18:08:05.958" v="92" actId="2711"/>
          <ac:spMkLst>
            <pc:docMk/>
            <pc:sldMk cId="1122910760" sldId="4353"/>
            <ac:spMk id="6" creationId="{00000000-0000-0000-0000-000000000000}"/>
          </ac:spMkLst>
        </pc:spChg>
      </pc:sldChg>
      <pc:sldChg chg="addSp modSp">
        <pc:chgData name="Bob Ward" userId="6da7c2dd-8e2e-469f-a216-c384312e2a2d" providerId="ADAL" clId="{AA5051D3-DEB7-4949-A4B5-AC379EAB8551}" dt="2018-11-07T19:54:34.916" v="159" actId="20577"/>
        <pc:sldMkLst>
          <pc:docMk/>
          <pc:sldMk cId="276576014" sldId="4367"/>
        </pc:sldMkLst>
        <pc:spChg chg="mod">
          <ac:chgData name="Bob Ward" userId="6da7c2dd-8e2e-469f-a216-c384312e2a2d" providerId="ADAL" clId="{AA5051D3-DEB7-4949-A4B5-AC379EAB8551}" dt="2018-11-07T19:54:34.916" v="159" actId="20577"/>
          <ac:spMkLst>
            <pc:docMk/>
            <pc:sldMk cId="276576014" sldId="4367"/>
            <ac:spMk id="5" creationId="{BCA91216-E90D-424E-84D6-905B2F6C5CA0}"/>
          </ac:spMkLst>
        </pc:spChg>
        <pc:picChg chg="add mod">
          <ac:chgData name="Bob Ward" userId="6da7c2dd-8e2e-469f-a216-c384312e2a2d" providerId="ADAL" clId="{AA5051D3-DEB7-4949-A4B5-AC379EAB8551}" dt="2018-11-07T18:16:32.720" v="129" actId="1076"/>
          <ac:picMkLst>
            <pc:docMk/>
            <pc:sldMk cId="276576014" sldId="4367"/>
            <ac:picMk id="8" creationId="{B882A5E8-58C3-46F4-ACAE-7A9B03E459B6}"/>
          </ac:picMkLst>
        </pc:picChg>
      </pc:sldChg>
      <pc:sldChg chg="modTransition">
        <pc:chgData name="Bob Ward" userId="6da7c2dd-8e2e-469f-a216-c384312e2a2d" providerId="ADAL" clId="{AA5051D3-DEB7-4949-A4B5-AC379EAB8551}" dt="2018-11-07T18:06:57.648" v="82"/>
        <pc:sldMkLst>
          <pc:docMk/>
          <pc:sldMk cId="4134612233" sldId="4375"/>
        </pc:sldMkLst>
      </pc:sldChg>
      <pc:sldChg chg="modSp">
        <pc:chgData name="Bob Ward" userId="6da7c2dd-8e2e-469f-a216-c384312e2a2d" providerId="ADAL" clId="{AA5051D3-DEB7-4949-A4B5-AC379EAB8551}" dt="2018-11-07T18:13:30.922" v="126" actId="20577"/>
        <pc:sldMkLst>
          <pc:docMk/>
          <pc:sldMk cId="1021704877" sldId="4379"/>
        </pc:sldMkLst>
        <pc:spChg chg="mod">
          <ac:chgData name="Bob Ward" userId="6da7c2dd-8e2e-469f-a216-c384312e2a2d" providerId="ADAL" clId="{AA5051D3-DEB7-4949-A4B5-AC379EAB8551}" dt="2018-11-07T18:13:30.922" v="126" actId="20577"/>
          <ac:spMkLst>
            <pc:docMk/>
            <pc:sldMk cId="1021704877" sldId="4379"/>
            <ac:spMk id="6" creationId="{00000000-0000-0000-0000-000000000000}"/>
          </ac:spMkLst>
        </pc:spChg>
      </pc:sldChg>
      <pc:sldChg chg="addSp delSp modSp modTransition modAnim">
        <pc:chgData name="Bob Ward" userId="6da7c2dd-8e2e-469f-a216-c384312e2a2d" providerId="ADAL" clId="{AA5051D3-DEB7-4949-A4B5-AC379EAB8551}" dt="2018-11-07T18:07:00.322" v="83"/>
        <pc:sldMkLst>
          <pc:docMk/>
          <pc:sldMk cId="198936585" sldId="4380"/>
        </pc:sldMkLst>
        <pc:spChg chg="add mod">
          <ac:chgData name="Bob Ward" userId="6da7c2dd-8e2e-469f-a216-c384312e2a2d" providerId="ADAL" clId="{AA5051D3-DEB7-4949-A4B5-AC379EAB8551}" dt="2018-11-07T18:06:17.459" v="79" actId="1076"/>
          <ac:spMkLst>
            <pc:docMk/>
            <pc:sldMk cId="198936585" sldId="4380"/>
            <ac:spMk id="2" creationId="{A260D722-C7D0-4B76-A75E-13E42E4859A1}"/>
          </ac:spMkLst>
        </pc:spChg>
        <pc:spChg chg="add del">
          <ac:chgData name="Bob Ward" userId="6da7c2dd-8e2e-469f-a216-c384312e2a2d" providerId="ADAL" clId="{AA5051D3-DEB7-4949-A4B5-AC379EAB8551}" dt="2018-11-07T18:04:38.932" v="42" actId="478"/>
          <ac:spMkLst>
            <pc:docMk/>
            <pc:sldMk cId="198936585" sldId="4380"/>
            <ac:spMk id="4" creationId="{8A62B52D-95CB-8C4E-977F-7E0141C0C1E7}"/>
          </ac:spMkLst>
        </pc:spChg>
        <pc:spChg chg="mod">
          <ac:chgData name="Bob Ward" userId="6da7c2dd-8e2e-469f-a216-c384312e2a2d" providerId="ADAL" clId="{AA5051D3-DEB7-4949-A4B5-AC379EAB8551}" dt="2018-11-07T18:06:04.701" v="75"/>
          <ac:spMkLst>
            <pc:docMk/>
            <pc:sldMk cId="198936585" sldId="4380"/>
            <ac:spMk id="6" creationId="{00000000-0000-0000-0000-000000000000}"/>
          </ac:spMkLst>
        </pc:spChg>
        <pc:spChg chg="ord">
          <ac:chgData name="Bob Ward" userId="6da7c2dd-8e2e-469f-a216-c384312e2a2d" providerId="ADAL" clId="{AA5051D3-DEB7-4949-A4B5-AC379EAB8551}" dt="2018-11-07T18:04:30.331" v="39" actId="167"/>
          <ac:spMkLst>
            <pc:docMk/>
            <pc:sldMk cId="198936585" sldId="4380"/>
            <ac:spMk id="8" creationId="{30479CBA-FAEE-584C-8313-E41B890A8435}"/>
          </ac:spMkLst>
        </pc:spChg>
        <pc:spChg chg="add del ord">
          <ac:chgData name="Bob Ward" userId="6da7c2dd-8e2e-469f-a216-c384312e2a2d" providerId="ADAL" clId="{AA5051D3-DEB7-4949-A4B5-AC379EAB8551}" dt="2018-11-07T18:04:30.826" v="41" actId="167"/>
          <ac:spMkLst>
            <pc:docMk/>
            <pc:sldMk cId="198936585" sldId="4380"/>
            <ac:spMk id="22" creationId="{DF8E67FE-6F00-AB47-9499-27EB5E89D833}"/>
          </ac:spMkLst>
        </pc:spChg>
        <pc:spChg chg="del">
          <ac:chgData name="Bob Ward" userId="6da7c2dd-8e2e-469f-a216-c384312e2a2d" providerId="ADAL" clId="{AA5051D3-DEB7-4949-A4B5-AC379EAB8551}" dt="2018-11-07T18:04:48.547" v="43" actId="478"/>
          <ac:spMkLst>
            <pc:docMk/>
            <pc:sldMk cId="198936585" sldId="4380"/>
            <ac:spMk id="85" creationId="{EC662379-BF93-4C2B-887E-1EB0293C0DAE}"/>
          </ac:spMkLst>
        </pc:spChg>
        <pc:spChg chg="del mod">
          <ac:chgData name="Bob Ward" userId="6da7c2dd-8e2e-469f-a216-c384312e2a2d" providerId="ADAL" clId="{AA5051D3-DEB7-4949-A4B5-AC379EAB8551}" dt="2018-11-07T18:04:02.420" v="33" actId="478"/>
          <ac:spMkLst>
            <pc:docMk/>
            <pc:sldMk cId="198936585" sldId="4380"/>
            <ac:spMk id="89" creationId="{41AF4ABE-F05A-4693-A474-D881230B68F0}"/>
          </ac:spMkLst>
        </pc:spChg>
      </pc:sldChg>
    </pc:docChg>
  </pc:docChgLst>
  <pc:docChgLst>
    <pc:chgData name="Bob Ward" userId="6da7c2dd-8e2e-469f-a216-c384312e2a2d" providerId="ADAL" clId="{0A1FB017-12B5-4953-90C4-0E32AFECB4E4}"/>
    <pc:docChg chg="undo custSel addSld delSld modSld modSection">
      <pc:chgData name="Bob Ward" userId="6da7c2dd-8e2e-469f-a216-c384312e2a2d" providerId="ADAL" clId="{0A1FB017-12B5-4953-90C4-0E32AFECB4E4}" dt="2018-10-02T00:09:37.417" v="388"/>
      <pc:docMkLst>
        <pc:docMk/>
      </pc:docMkLst>
      <pc:sldChg chg="addSp delSp modSp modNotesTx">
        <pc:chgData name="Bob Ward" userId="6da7c2dd-8e2e-469f-a216-c384312e2a2d" providerId="ADAL" clId="{0A1FB017-12B5-4953-90C4-0E32AFECB4E4}" dt="2018-09-28T17:41:45.610" v="100" actId="6549"/>
        <pc:sldMkLst>
          <pc:docMk/>
          <pc:sldMk cId="1869999325" sldId="1861"/>
        </pc:sldMkLst>
        <pc:spChg chg="add del mod">
          <ac:chgData name="Bob Ward" userId="6da7c2dd-8e2e-469f-a216-c384312e2a2d" providerId="ADAL" clId="{0A1FB017-12B5-4953-90C4-0E32AFECB4E4}" dt="2018-09-28T17:40:56.941" v="2" actId="478"/>
          <ac:spMkLst>
            <pc:docMk/>
            <pc:sldMk cId="1869999325" sldId="1861"/>
            <ac:spMk id="3" creationId="{F0DE2C38-235D-4E91-87A4-598A7F056A37}"/>
          </ac:spMkLst>
        </pc:spChg>
        <pc:spChg chg="del">
          <ac:chgData name="Bob Ward" userId="6da7c2dd-8e2e-469f-a216-c384312e2a2d" providerId="ADAL" clId="{0A1FB017-12B5-4953-90C4-0E32AFECB4E4}" dt="2018-09-28T17:40:54.396" v="1" actId="478"/>
          <ac:spMkLst>
            <pc:docMk/>
            <pc:sldMk cId="1869999325" sldId="1861"/>
            <ac:spMk id="5" creationId="{C2A8FA8E-80DC-468B-AB33-77C815EA5E15}"/>
          </ac:spMkLst>
        </pc:spChg>
        <pc:spChg chg="mod">
          <ac:chgData name="Bob Ward" userId="6da7c2dd-8e2e-469f-a216-c384312e2a2d" providerId="ADAL" clId="{0A1FB017-12B5-4953-90C4-0E32AFECB4E4}" dt="2018-09-28T17:41:04.039" v="23" actId="20577"/>
          <ac:spMkLst>
            <pc:docMk/>
            <pc:sldMk cId="1869999325" sldId="1861"/>
            <ac:spMk id="6" creationId="{ACBB8B40-F3D1-4331-B430-E127860A693D}"/>
          </ac:spMkLst>
        </pc:spChg>
        <pc:spChg chg="del">
          <ac:chgData name="Bob Ward" userId="6da7c2dd-8e2e-469f-a216-c384312e2a2d" providerId="ADAL" clId="{0A1FB017-12B5-4953-90C4-0E32AFECB4E4}" dt="2018-09-28T17:41:07.715" v="24" actId="478"/>
          <ac:spMkLst>
            <pc:docMk/>
            <pc:sldMk cId="1869999325" sldId="1861"/>
            <ac:spMk id="7" creationId="{5B233F29-D5A5-4DF5-AA87-020831D2ED66}"/>
          </ac:spMkLst>
        </pc:spChg>
        <pc:spChg chg="add del mod">
          <ac:chgData name="Bob Ward" userId="6da7c2dd-8e2e-469f-a216-c384312e2a2d" providerId="ADAL" clId="{0A1FB017-12B5-4953-90C4-0E32AFECB4E4}" dt="2018-09-28T17:41:11.299" v="25" actId="478"/>
          <ac:spMkLst>
            <pc:docMk/>
            <pc:sldMk cId="1869999325" sldId="1861"/>
            <ac:spMk id="8" creationId="{9C320671-EED3-4B50-9758-52EC64DAC3D0}"/>
          </ac:spMkLst>
        </pc:spChg>
      </pc:sldChg>
      <pc:sldChg chg="addSp delSp modSp modNotesTx">
        <pc:chgData name="Bob Ward" userId="6da7c2dd-8e2e-469f-a216-c384312e2a2d" providerId="ADAL" clId="{0A1FB017-12B5-4953-90C4-0E32AFECB4E4}" dt="2018-09-28T17:41:39.852" v="99" actId="20577"/>
        <pc:sldMkLst>
          <pc:docMk/>
          <pc:sldMk cId="445609033" sldId="4351"/>
        </pc:sldMkLst>
        <pc:spChg chg="del">
          <ac:chgData name="Bob Ward" userId="6da7c2dd-8e2e-469f-a216-c384312e2a2d" providerId="ADAL" clId="{0A1FB017-12B5-4953-90C4-0E32AFECB4E4}" dt="2018-09-28T17:41:21.540" v="26" actId="478"/>
          <ac:spMkLst>
            <pc:docMk/>
            <pc:sldMk cId="445609033" sldId="4351"/>
            <ac:spMk id="4" creationId="{00000000-0000-0000-0000-000000000000}"/>
          </ac:spMkLst>
        </pc:spChg>
        <pc:spChg chg="add del mod">
          <ac:chgData name="Bob Ward" userId="6da7c2dd-8e2e-469f-a216-c384312e2a2d" providerId="ADAL" clId="{0A1FB017-12B5-4953-90C4-0E32AFECB4E4}" dt="2018-09-28T17:41:24.430" v="27" actId="478"/>
          <ac:spMkLst>
            <pc:docMk/>
            <pc:sldMk cId="445609033" sldId="4351"/>
            <ac:spMk id="5" creationId="{A6D62FA2-C312-45B0-BB24-6C83BA948BB4}"/>
          </ac:spMkLst>
        </pc:spChg>
      </pc:sldChg>
      <pc:sldChg chg="modNotesTx">
        <pc:chgData name="Bob Ward" userId="6da7c2dd-8e2e-469f-a216-c384312e2a2d" providerId="ADAL" clId="{0A1FB017-12B5-4953-90C4-0E32AFECB4E4}" dt="2018-09-28T17:42:13.952" v="109" actId="6549"/>
        <pc:sldMkLst>
          <pc:docMk/>
          <pc:sldMk cId="2973122093" sldId="4352"/>
        </pc:sldMkLst>
      </pc:sldChg>
      <pc:sldChg chg="modNotesTx">
        <pc:chgData name="Bob Ward" userId="6da7c2dd-8e2e-469f-a216-c384312e2a2d" providerId="ADAL" clId="{0A1FB017-12B5-4953-90C4-0E32AFECB4E4}" dt="2018-09-28T17:42:44.559" v="225" actId="6549"/>
        <pc:sldMkLst>
          <pc:docMk/>
          <pc:sldMk cId="1122910760" sldId="4353"/>
        </pc:sldMkLst>
      </pc:sldChg>
      <pc:sldChg chg="modNotesTx">
        <pc:chgData name="Bob Ward" userId="6da7c2dd-8e2e-469f-a216-c384312e2a2d" providerId="ADAL" clId="{0A1FB017-12B5-4953-90C4-0E32AFECB4E4}" dt="2018-09-28T17:42:51.196" v="227" actId="6549"/>
        <pc:sldMkLst>
          <pc:docMk/>
          <pc:sldMk cId="1087001240" sldId="4355"/>
        </pc:sldMkLst>
      </pc:sldChg>
      <pc:sldChg chg="modNotesTx">
        <pc:chgData name="Bob Ward" userId="6da7c2dd-8e2e-469f-a216-c384312e2a2d" providerId="ADAL" clId="{0A1FB017-12B5-4953-90C4-0E32AFECB4E4}" dt="2018-09-28T17:43:20.840" v="308" actId="20577"/>
        <pc:sldMkLst>
          <pc:docMk/>
          <pc:sldMk cId="1258176581" sldId="4356"/>
        </pc:sldMkLst>
      </pc:sldChg>
      <pc:sldChg chg="modNotesTx">
        <pc:chgData name="Bob Ward" userId="6da7c2dd-8e2e-469f-a216-c384312e2a2d" providerId="ADAL" clId="{0A1FB017-12B5-4953-90C4-0E32AFECB4E4}" dt="2018-09-28T17:42:39.901" v="224" actId="20577"/>
        <pc:sldMkLst>
          <pc:docMk/>
          <pc:sldMk cId="3580746693" sldId="4357"/>
        </pc:sldMkLst>
      </pc:sldChg>
      <pc:sldChg chg="modNotesTx">
        <pc:chgData name="Bob Ward" userId="6da7c2dd-8e2e-469f-a216-c384312e2a2d" providerId="ADAL" clId="{0A1FB017-12B5-4953-90C4-0E32AFECB4E4}" dt="2018-09-28T17:42:57.604" v="253" actId="20577"/>
        <pc:sldMkLst>
          <pc:docMk/>
          <pc:sldMk cId="870761287" sldId="4358"/>
        </pc:sldMkLst>
      </pc:sldChg>
      <pc:sldChg chg="modNotesTx">
        <pc:chgData name="Bob Ward" userId="6da7c2dd-8e2e-469f-a216-c384312e2a2d" providerId="ADAL" clId="{0A1FB017-12B5-4953-90C4-0E32AFECB4E4}" dt="2018-09-28T17:43:23.910" v="309" actId="6549"/>
        <pc:sldMkLst>
          <pc:docMk/>
          <pc:sldMk cId="3721142759" sldId="4359"/>
        </pc:sldMkLst>
      </pc:sldChg>
      <pc:sldChg chg="modNotesTx">
        <pc:chgData name="Bob Ward" userId="6da7c2dd-8e2e-469f-a216-c384312e2a2d" providerId="ADAL" clId="{0A1FB017-12B5-4953-90C4-0E32AFECB4E4}" dt="2018-09-28T17:43:00.670" v="254" actId="6549"/>
        <pc:sldMkLst>
          <pc:docMk/>
          <pc:sldMk cId="3766069067" sldId="4360"/>
        </pc:sldMkLst>
      </pc:sldChg>
      <pc:sldChg chg="modNotesTx">
        <pc:chgData name="Bob Ward" userId="6da7c2dd-8e2e-469f-a216-c384312e2a2d" providerId="ADAL" clId="{0A1FB017-12B5-4953-90C4-0E32AFECB4E4}" dt="2018-09-28T17:42:09.366" v="108" actId="6549"/>
        <pc:sldMkLst>
          <pc:docMk/>
          <pc:sldMk cId="3032733911" sldId="4364"/>
        </pc:sldMkLst>
      </pc:sldChg>
      <pc:sldChg chg="modNotesTx">
        <pc:chgData name="Bob Ward" userId="6da7c2dd-8e2e-469f-a216-c384312e2a2d" providerId="ADAL" clId="{0A1FB017-12B5-4953-90C4-0E32AFECB4E4}" dt="2018-09-28T17:42:00.565" v="107" actId="6549"/>
        <pc:sldMkLst>
          <pc:docMk/>
          <pc:sldMk cId="3562836415" sldId="4366"/>
        </pc:sldMkLst>
      </pc:sldChg>
      <pc:sldChg chg="modNotesTx">
        <pc:chgData name="Bob Ward" userId="6da7c2dd-8e2e-469f-a216-c384312e2a2d" providerId="ADAL" clId="{0A1FB017-12B5-4953-90C4-0E32AFECB4E4}" dt="2018-09-28T17:43:28.170" v="310" actId="6549"/>
        <pc:sldMkLst>
          <pc:docMk/>
          <pc:sldMk cId="276576014" sldId="4367"/>
        </pc:sldMkLst>
      </pc:sldChg>
      <pc:sldChg chg="modNotesTx">
        <pc:chgData name="Bob Ward" userId="6da7c2dd-8e2e-469f-a216-c384312e2a2d" providerId="ADAL" clId="{0A1FB017-12B5-4953-90C4-0E32AFECB4E4}" dt="2018-09-28T17:41:56.393" v="104" actId="5793"/>
        <pc:sldMkLst>
          <pc:docMk/>
          <pc:sldMk cId="3360446397" sldId="4369"/>
        </pc:sldMkLst>
      </pc:sldChg>
      <pc:sldChg chg="modSp modAnim">
        <pc:chgData name="Bob Ward" userId="6da7c2dd-8e2e-469f-a216-c384312e2a2d" providerId="ADAL" clId="{0A1FB017-12B5-4953-90C4-0E32AFECB4E4}" dt="2018-10-02T00:09:37.417" v="388"/>
        <pc:sldMkLst>
          <pc:docMk/>
          <pc:sldMk cId="4134612233" sldId="4375"/>
        </pc:sldMkLst>
        <pc:spChg chg="mod ord">
          <ac:chgData name="Bob Ward" userId="6da7c2dd-8e2e-469f-a216-c384312e2a2d" providerId="ADAL" clId="{0A1FB017-12B5-4953-90C4-0E32AFECB4E4}" dt="2018-10-01T02:27:36.013" v="379" actId="1076"/>
          <ac:spMkLst>
            <pc:docMk/>
            <pc:sldMk cId="4134612233" sldId="4375"/>
            <ac:spMk id="7" creationId="{A304EC1A-A7CE-2647-ABB8-844B21BB62CE}"/>
          </ac:spMkLst>
        </pc:spChg>
        <pc:spChg chg="mod ord">
          <ac:chgData name="Bob Ward" userId="6da7c2dd-8e2e-469f-a216-c384312e2a2d" providerId="ADAL" clId="{0A1FB017-12B5-4953-90C4-0E32AFECB4E4}" dt="2018-09-28T17:48:33.251" v="318" actId="1076"/>
          <ac:spMkLst>
            <pc:docMk/>
            <pc:sldMk cId="4134612233" sldId="4375"/>
            <ac:spMk id="10" creationId="{ADE20943-3BAD-4093-967B-EAAA88156D2C}"/>
          </ac:spMkLst>
        </pc:spChg>
        <pc:spChg chg="ord">
          <ac:chgData name="Bob Ward" userId="6da7c2dd-8e2e-469f-a216-c384312e2a2d" providerId="ADAL" clId="{0A1FB017-12B5-4953-90C4-0E32AFECB4E4}" dt="2018-10-01T02:12:36.894" v="354" actId="167"/>
          <ac:spMkLst>
            <pc:docMk/>
            <pc:sldMk cId="4134612233" sldId="4375"/>
            <ac:spMk id="89" creationId="{41AF4ABE-F05A-4693-A474-D881230B68F0}"/>
          </ac:spMkLst>
        </pc:spChg>
      </pc:sldChg>
      <pc:sldChg chg="modNotesTx">
        <pc:chgData name="Bob Ward" userId="6da7c2dd-8e2e-469f-a216-c384312e2a2d" providerId="ADAL" clId="{0A1FB017-12B5-4953-90C4-0E32AFECB4E4}" dt="2018-09-28T17:42:48.576" v="226" actId="6549"/>
        <pc:sldMkLst>
          <pc:docMk/>
          <pc:sldMk cId="3020045409" sldId="4378"/>
        </pc:sldMkLst>
      </pc:sldChg>
      <pc:sldChg chg="add del modTransition">
        <pc:chgData name="Bob Ward" userId="6da7c2dd-8e2e-469f-a216-c384312e2a2d" providerId="ADAL" clId="{0A1FB017-12B5-4953-90C4-0E32AFECB4E4}" dt="2018-10-02T00:07:39.601" v="380" actId="2696"/>
        <pc:sldMkLst>
          <pc:docMk/>
          <pc:sldMk cId="844990586" sldId="4379"/>
        </pc:sldMkLst>
      </pc:sldChg>
    </pc:docChg>
  </pc:docChgLst>
  <pc:docChgLst>
    <pc:chgData name="Amit Banerjee" userId="3be3e2ab-9fa1-40d3-a495-2728699c493f" providerId="ADAL" clId="{EA51BAF1-D491-4E8B-8D18-897618237E04}"/>
    <pc:docChg chg="custSel modSld">
      <pc:chgData name="Amit Banerjee" userId="3be3e2ab-9fa1-40d3-a495-2728699c493f" providerId="ADAL" clId="{EA51BAF1-D491-4E8B-8D18-897618237E04}" dt="2018-09-25T04:13:18.445" v="1315" actId="20577"/>
      <pc:docMkLst>
        <pc:docMk/>
      </pc:docMkLst>
      <pc:sldChg chg="modAnim modNotesTx">
        <pc:chgData name="Amit Banerjee" userId="3be3e2ab-9fa1-40d3-a495-2728699c493f" providerId="ADAL" clId="{EA51BAF1-D491-4E8B-8D18-897618237E04}" dt="2018-09-25T04:13:18.445" v="1315" actId="20577"/>
        <pc:sldMkLst>
          <pc:docMk/>
          <pc:sldMk cId="1057058229" sldId="1247"/>
        </pc:sldMkLst>
      </pc:sldChg>
      <pc:sldChg chg="modNotesTx">
        <pc:chgData name="Amit Banerjee" userId="3be3e2ab-9fa1-40d3-a495-2728699c493f" providerId="ADAL" clId="{EA51BAF1-D491-4E8B-8D18-897618237E04}" dt="2018-09-25T03:30:59.168" v="1291" actId="20577"/>
        <pc:sldMkLst>
          <pc:docMk/>
          <pc:sldMk cId="445609033" sldId="4351"/>
        </pc:sldMkLst>
      </pc:sldChg>
      <pc:sldChg chg="modNotesTx">
        <pc:chgData name="Amit Banerjee" userId="3be3e2ab-9fa1-40d3-a495-2728699c493f" providerId="ADAL" clId="{EA51BAF1-D491-4E8B-8D18-897618237E04}" dt="2018-09-25T03:46:32.809" v="1299" actId="20577"/>
        <pc:sldMkLst>
          <pc:docMk/>
          <pc:sldMk cId="1122910760" sldId="4353"/>
        </pc:sldMkLst>
      </pc:sldChg>
      <pc:sldChg chg="modNotesTx">
        <pc:chgData name="Amit Banerjee" userId="3be3e2ab-9fa1-40d3-a495-2728699c493f" providerId="ADAL" clId="{EA51BAF1-D491-4E8B-8D18-897618237E04}" dt="2018-09-25T03:26:46.925" v="1014" actId="20577"/>
        <pc:sldMkLst>
          <pc:docMk/>
          <pc:sldMk cId="3721142759" sldId="4359"/>
        </pc:sldMkLst>
      </pc:sldChg>
      <pc:sldChg chg="modNotesTx">
        <pc:chgData name="Amit Banerjee" userId="3be3e2ab-9fa1-40d3-a495-2728699c493f" providerId="ADAL" clId="{EA51BAF1-D491-4E8B-8D18-897618237E04}" dt="2018-09-25T03:25:50.901" v="1012" actId="20577"/>
        <pc:sldMkLst>
          <pc:docMk/>
          <pc:sldMk cId="2194511247" sldId="4362"/>
        </pc:sldMkLst>
      </pc:sldChg>
      <pc:sldChg chg="modSp modNotesTx">
        <pc:chgData name="Amit Banerjee" userId="3be3e2ab-9fa1-40d3-a495-2728699c493f" providerId="ADAL" clId="{EA51BAF1-D491-4E8B-8D18-897618237E04}" dt="2018-09-25T03:51:00.652" v="1308" actId="20577"/>
        <pc:sldMkLst>
          <pc:docMk/>
          <pc:sldMk cId="2497121907" sldId="4363"/>
        </pc:sldMkLst>
        <pc:spChg chg="mod">
          <ac:chgData name="Amit Banerjee" userId="3be3e2ab-9fa1-40d3-a495-2728699c493f" providerId="ADAL" clId="{EA51BAF1-D491-4E8B-8D18-897618237E04}" dt="2018-09-25T03:00:33.874" v="815" actId="20577"/>
          <ac:spMkLst>
            <pc:docMk/>
            <pc:sldMk cId="2497121907" sldId="4363"/>
            <ac:spMk id="71" creationId="{E5CD7ADF-88A8-4990-8817-A50391B2ABFE}"/>
          </ac:spMkLst>
        </pc:spChg>
      </pc:sldChg>
      <pc:sldChg chg="modAnim modNotesTx">
        <pc:chgData name="Amit Banerjee" userId="3be3e2ab-9fa1-40d3-a495-2728699c493f" providerId="ADAL" clId="{EA51BAF1-D491-4E8B-8D18-897618237E04}" dt="2018-09-25T02:57:02.544" v="808" actId="6549"/>
        <pc:sldMkLst>
          <pc:docMk/>
          <pc:sldMk cId="3562836415" sldId="4366"/>
        </pc:sldMkLst>
      </pc:sldChg>
      <pc:sldChg chg="modSp modNotesTx">
        <pc:chgData name="Amit Banerjee" userId="3be3e2ab-9fa1-40d3-a495-2728699c493f" providerId="ADAL" clId="{EA51BAF1-D491-4E8B-8D18-897618237E04}" dt="2018-09-25T03:47:40.209" v="1306" actId="20577"/>
        <pc:sldMkLst>
          <pc:docMk/>
          <pc:sldMk cId="4134612233" sldId="4375"/>
        </pc:sldMkLst>
        <pc:spChg chg="mod">
          <ac:chgData name="Amit Banerjee" userId="3be3e2ab-9fa1-40d3-a495-2728699c493f" providerId="ADAL" clId="{EA51BAF1-D491-4E8B-8D18-897618237E04}" dt="2018-09-25T03:47:27.299" v="1305" actId="20577"/>
          <ac:spMkLst>
            <pc:docMk/>
            <pc:sldMk cId="4134612233" sldId="4375"/>
            <ac:spMk id="6" creationId="{00000000-0000-0000-0000-000000000000}"/>
          </ac:spMkLst>
        </pc:spChg>
      </pc:sldChg>
    </pc:docChg>
  </pc:docChgLst>
  <pc:docChgLst>
    <pc:chgData name="Bob Ward" userId="6da7c2dd-8e2e-469f-a216-c384312e2a2d" providerId="ADAL" clId="{76AB8CCA-EAB9-49A3-861E-0C0C76457356}"/>
    <pc:docChg chg="undo custSel addSld delSld modSld modSection">
      <pc:chgData name="Bob Ward" userId="6da7c2dd-8e2e-469f-a216-c384312e2a2d" providerId="ADAL" clId="{76AB8CCA-EAB9-49A3-861E-0C0C76457356}" dt="2018-11-05T23:06:47.163" v="1183" actId="5793"/>
      <pc:docMkLst>
        <pc:docMk/>
      </pc:docMkLst>
      <pc:sldChg chg="add del">
        <pc:chgData name="Bob Ward" userId="6da7c2dd-8e2e-469f-a216-c384312e2a2d" providerId="ADAL" clId="{76AB8CCA-EAB9-49A3-861E-0C0C76457356}" dt="2018-10-28T15:08:23.482" v="127"/>
        <pc:sldMkLst>
          <pc:docMk/>
          <pc:sldMk cId="1167667248" sldId="315"/>
        </pc:sldMkLst>
      </pc:sldChg>
      <pc:sldChg chg="modSp add del">
        <pc:chgData name="Bob Ward" userId="6da7c2dd-8e2e-469f-a216-c384312e2a2d" providerId="ADAL" clId="{76AB8CCA-EAB9-49A3-861E-0C0C76457356}" dt="2018-10-28T15:21:20.217" v="408" actId="14100"/>
        <pc:sldMkLst>
          <pc:docMk/>
          <pc:sldMk cId="1690938764" sldId="321"/>
        </pc:sldMkLst>
        <pc:spChg chg="mod">
          <ac:chgData name="Bob Ward" userId="6da7c2dd-8e2e-469f-a216-c384312e2a2d" providerId="ADAL" clId="{76AB8CCA-EAB9-49A3-861E-0C0C76457356}" dt="2018-10-28T15:07:45.179" v="74" actId="20577"/>
          <ac:spMkLst>
            <pc:docMk/>
            <pc:sldMk cId="1690938764" sldId="321"/>
            <ac:spMk id="2" creationId="{00000000-0000-0000-0000-000000000000}"/>
          </ac:spMkLst>
        </pc:spChg>
        <pc:spChg chg="mod">
          <ac:chgData name="Bob Ward" userId="6da7c2dd-8e2e-469f-a216-c384312e2a2d" providerId="ADAL" clId="{76AB8CCA-EAB9-49A3-861E-0C0C76457356}" dt="2018-10-28T15:21:20.217" v="408" actId="14100"/>
          <ac:spMkLst>
            <pc:docMk/>
            <pc:sldMk cId="1690938764" sldId="321"/>
            <ac:spMk id="3" creationId="{00000000-0000-0000-0000-000000000000}"/>
          </ac:spMkLst>
        </pc:spChg>
        <pc:spChg chg="mod">
          <ac:chgData name="Bob Ward" userId="6da7c2dd-8e2e-469f-a216-c384312e2a2d" providerId="ADAL" clId="{76AB8CCA-EAB9-49A3-861E-0C0C76457356}" dt="2018-10-28T15:07:31.069" v="34" actId="20577"/>
          <ac:spMkLst>
            <pc:docMk/>
            <pc:sldMk cId="1690938764" sldId="321"/>
            <ac:spMk id="4" creationId="{00000000-0000-0000-0000-000000000000}"/>
          </ac:spMkLst>
        </pc:spChg>
      </pc:sldChg>
      <pc:sldChg chg="modSp add">
        <pc:chgData name="Bob Ward" userId="6da7c2dd-8e2e-469f-a216-c384312e2a2d" providerId="ADAL" clId="{76AB8CCA-EAB9-49A3-861E-0C0C76457356}" dt="2018-10-28T15:09:00.655" v="202" actId="20577"/>
        <pc:sldMkLst>
          <pc:docMk/>
          <pc:sldMk cId="3666506997" sldId="324"/>
        </pc:sldMkLst>
        <pc:spChg chg="mod">
          <ac:chgData name="Bob Ward" userId="6da7c2dd-8e2e-469f-a216-c384312e2a2d" providerId="ADAL" clId="{76AB8CCA-EAB9-49A3-861E-0C0C76457356}" dt="2018-10-28T15:09:00.655" v="202" actId="20577"/>
          <ac:spMkLst>
            <pc:docMk/>
            <pc:sldMk cId="3666506997" sldId="324"/>
            <ac:spMk id="13" creationId="{00000000-0000-0000-0000-000000000000}"/>
          </ac:spMkLst>
        </pc:spChg>
        <pc:spChg chg="mod">
          <ac:chgData name="Bob Ward" userId="6da7c2dd-8e2e-469f-a216-c384312e2a2d" providerId="ADAL" clId="{76AB8CCA-EAB9-49A3-861E-0C0C76457356}" dt="2018-10-28T15:08:43.873" v="147" actId="20577"/>
          <ac:spMkLst>
            <pc:docMk/>
            <pc:sldMk cId="3666506997" sldId="324"/>
            <ac:spMk id="14" creationId="{00000000-0000-0000-0000-000000000000}"/>
          </ac:spMkLst>
        </pc:spChg>
        <pc:spChg chg="mod">
          <ac:chgData name="Bob Ward" userId="6da7c2dd-8e2e-469f-a216-c384312e2a2d" providerId="ADAL" clId="{76AB8CCA-EAB9-49A3-861E-0C0C76457356}" dt="2018-10-28T15:08:56.806" v="194" actId="20577"/>
          <ac:spMkLst>
            <pc:docMk/>
            <pc:sldMk cId="3666506997" sldId="324"/>
            <ac:spMk id="15" creationId="{00000000-0000-0000-0000-000000000000}"/>
          </ac:spMkLst>
        </pc:spChg>
      </pc:sldChg>
      <pc:sldChg chg="modTransition">
        <pc:chgData name="Bob Ward" userId="6da7c2dd-8e2e-469f-a216-c384312e2a2d" providerId="ADAL" clId="{76AB8CCA-EAB9-49A3-861E-0C0C76457356}" dt="2018-10-29T17:01:00.113" v="505"/>
        <pc:sldMkLst>
          <pc:docMk/>
          <pc:sldMk cId="1869999325" sldId="1861"/>
        </pc:sldMkLst>
      </pc:sldChg>
      <pc:sldChg chg="del">
        <pc:chgData name="Bob Ward" userId="6da7c2dd-8e2e-469f-a216-c384312e2a2d" providerId="ADAL" clId="{76AB8CCA-EAB9-49A3-861E-0C0C76457356}" dt="2018-10-28T16:21:34.826" v="409" actId="2696"/>
        <pc:sldMkLst>
          <pc:docMk/>
          <pc:sldMk cId="462358628" sldId="4350"/>
        </pc:sldMkLst>
      </pc:sldChg>
      <pc:sldChg chg="addSp modSp modNotesTx">
        <pc:chgData name="Bob Ward" userId="6da7c2dd-8e2e-469f-a216-c384312e2a2d" providerId="ADAL" clId="{76AB8CCA-EAB9-49A3-861E-0C0C76457356}" dt="2018-10-29T17:02:01.458" v="528"/>
        <pc:sldMkLst>
          <pc:docMk/>
          <pc:sldMk cId="445609033" sldId="4351"/>
        </pc:sldMkLst>
        <pc:spChg chg="mod">
          <ac:chgData name="Bob Ward" userId="6da7c2dd-8e2e-469f-a216-c384312e2a2d" providerId="ADAL" clId="{76AB8CCA-EAB9-49A3-861E-0C0C76457356}" dt="2018-10-29T17:01:59.789" v="527"/>
          <ac:spMkLst>
            <pc:docMk/>
            <pc:sldMk cId="445609033" sldId="4351"/>
            <ac:spMk id="3" creationId="{00000000-0000-0000-0000-000000000000}"/>
          </ac:spMkLst>
        </pc:spChg>
        <pc:spChg chg="add mod">
          <ac:chgData name="Bob Ward" userId="6da7c2dd-8e2e-469f-a216-c384312e2a2d" providerId="ADAL" clId="{76AB8CCA-EAB9-49A3-861E-0C0C76457356}" dt="2018-10-29T17:02:01.458" v="528"/>
          <ac:spMkLst>
            <pc:docMk/>
            <pc:sldMk cId="445609033" sldId="4351"/>
            <ac:spMk id="4" creationId="{19845D98-2CE9-45E6-9AA5-7DA5B4AF1C6D}"/>
          </ac:spMkLst>
        </pc:spChg>
      </pc:sldChg>
      <pc:sldChg chg="addSp delSp modSp">
        <pc:chgData name="Bob Ward" userId="6da7c2dd-8e2e-469f-a216-c384312e2a2d" providerId="ADAL" clId="{76AB8CCA-EAB9-49A3-861E-0C0C76457356}" dt="2018-10-30T20:34:53.390" v="784" actId="20577"/>
        <pc:sldMkLst>
          <pc:docMk/>
          <pc:sldMk cId="2973122093" sldId="4352"/>
        </pc:sldMkLst>
        <pc:spChg chg="mod">
          <ac:chgData name="Bob Ward" userId="6da7c2dd-8e2e-469f-a216-c384312e2a2d" providerId="ADAL" clId="{76AB8CCA-EAB9-49A3-861E-0C0C76457356}" dt="2018-10-30T20:34:53.390" v="784" actId="20577"/>
          <ac:spMkLst>
            <pc:docMk/>
            <pc:sldMk cId="2973122093" sldId="4352"/>
            <ac:spMk id="6" creationId="{00000000-0000-0000-0000-000000000000}"/>
          </ac:spMkLst>
        </pc:spChg>
        <pc:spChg chg="mod">
          <ac:chgData name="Bob Ward" userId="6da7c2dd-8e2e-469f-a216-c384312e2a2d" providerId="ADAL" clId="{76AB8CCA-EAB9-49A3-861E-0C0C76457356}" dt="2018-10-28T15:17:15.326" v="311" actId="1076"/>
          <ac:spMkLst>
            <pc:docMk/>
            <pc:sldMk cId="2973122093" sldId="4352"/>
            <ac:spMk id="21" creationId="{B2924516-36AF-4D67-89E8-D65C74AD5A19}"/>
          </ac:spMkLst>
        </pc:spChg>
        <pc:spChg chg="mod">
          <ac:chgData name="Bob Ward" userId="6da7c2dd-8e2e-469f-a216-c384312e2a2d" providerId="ADAL" clId="{76AB8CCA-EAB9-49A3-861E-0C0C76457356}" dt="2018-10-28T15:17:15.326" v="311" actId="1076"/>
          <ac:spMkLst>
            <pc:docMk/>
            <pc:sldMk cId="2973122093" sldId="4352"/>
            <ac:spMk id="24" creationId="{CF405002-1DCF-4B08-BF19-9ED07F9282C2}"/>
          </ac:spMkLst>
        </pc:spChg>
        <pc:spChg chg="mod">
          <ac:chgData name="Bob Ward" userId="6da7c2dd-8e2e-469f-a216-c384312e2a2d" providerId="ADAL" clId="{76AB8CCA-EAB9-49A3-861E-0C0C76457356}" dt="2018-10-28T15:17:15.326" v="311" actId="1076"/>
          <ac:spMkLst>
            <pc:docMk/>
            <pc:sldMk cId="2973122093" sldId="4352"/>
            <ac:spMk id="27" creationId="{0DEFA020-3E80-4522-AE30-FD3D03CB296E}"/>
          </ac:spMkLst>
        </pc:spChg>
        <pc:spChg chg="mod">
          <ac:chgData name="Bob Ward" userId="6da7c2dd-8e2e-469f-a216-c384312e2a2d" providerId="ADAL" clId="{76AB8CCA-EAB9-49A3-861E-0C0C76457356}" dt="2018-10-28T15:17:15.326" v="311" actId="1076"/>
          <ac:spMkLst>
            <pc:docMk/>
            <pc:sldMk cId="2973122093" sldId="4352"/>
            <ac:spMk id="30" creationId="{A62500B7-E168-482D-965A-A56B08B0D1A6}"/>
          </ac:spMkLst>
        </pc:spChg>
        <pc:spChg chg="mod">
          <ac:chgData name="Bob Ward" userId="6da7c2dd-8e2e-469f-a216-c384312e2a2d" providerId="ADAL" clId="{76AB8CCA-EAB9-49A3-861E-0C0C76457356}" dt="2018-10-28T15:19:42.520" v="387" actId="14100"/>
          <ac:spMkLst>
            <pc:docMk/>
            <pc:sldMk cId="2973122093" sldId="4352"/>
            <ac:spMk id="31" creationId="{50718FE6-848F-4911-835B-B785770CDD03}"/>
          </ac:spMkLst>
        </pc:spChg>
        <pc:spChg chg="add mod">
          <ac:chgData name="Bob Ward" userId="6da7c2dd-8e2e-469f-a216-c384312e2a2d" providerId="ADAL" clId="{76AB8CCA-EAB9-49A3-861E-0C0C76457356}" dt="2018-10-28T15:20:09.206" v="389" actId="20577"/>
          <ac:spMkLst>
            <pc:docMk/>
            <pc:sldMk cId="2973122093" sldId="4352"/>
            <ac:spMk id="32" creationId="{50361F8B-B78F-4DE0-90BF-7461F4B6E140}"/>
          </ac:spMkLst>
        </pc:spChg>
        <pc:spChg chg="mod">
          <ac:chgData name="Bob Ward" userId="6da7c2dd-8e2e-469f-a216-c384312e2a2d" providerId="ADAL" clId="{76AB8CCA-EAB9-49A3-861E-0C0C76457356}" dt="2018-10-28T15:17:15.326" v="311" actId="1076"/>
          <ac:spMkLst>
            <pc:docMk/>
            <pc:sldMk cId="2973122093" sldId="4352"/>
            <ac:spMk id="33" creationId="{DCE6503C-9448-4D60-9FF6-CA43233BF57C}"/>
          </ac:spMkLst>
        </pc:spChg>
        <pc:spChg chg="mod">
          <ac:chgData name="Bob Ward" userId="6da7c2dd-8e2e-469f-a216-c384312e2a2d" providerId="ADAL" clId="{76AB8CCA-EAB9-49A3-861E-0C0C76457356}" dt="2018-10-28T15:17:15.326" v="311" actId="1076"/>
          <ac:spMkLst>
            <pc:docMk/>
            <pc:sldMk cId="2973122093" sldId="4352"/>
            <ac:spMk id="36" creationId="{08F77E2F-AC0C-4639-987E-A64E0DE48B74}"/>
          </ac:spMkLst>
        </pc:spChg>
        <pc:spChg chg="mod">
          <ac:chgData name="Bob Ward" userId="6da7c2dd-8e2e-469f-a216-c384312e2a2d" providerId="ADAL" clId="{76AB8CCA-EAB9-49A3-861E-0C0C76457356}" dt="2018-10-28T15:17:15.326" v="311" actId="1076"/>
          <ac:spMkLst>
            <pc:docMk/>
            <pc:sldMk cId="2973122093" sldId="4352"/>
            <ac:spMk id="39" creationId="{660B5F05-B46B-4644-8723-4D7FBECAE158}"/>
          </ac:spMkLst>
        </pc:spChg>
        <pc:spChg chg="mod">
          <ac:chgData name="Bob Ward" userId="6da7c2dd-8e2e-469f-a216-c384312e2a2d" providerId="ADAL" clId="{76AB8CCA-EAB9-49A3-861E-0C0C76457356}" dt="2018-10-28T15:17:15.326" v="311" actId="1076"/>
          <ac:spMkLst>
            <pc:docMk/>
            <pc:sldMk cId="2973122093" sldId="4352"/>
            <ac:spMk id="42" creationId="{7B07E8EC-AD02-4FBC-B1E7-047330C39846}"/>
          </ac:spMkLst>
        </pc:spChg>
        <pc:spChg chg="mod">
          <ac:chgData name="Bob Ward" userId="6da7c2dd-8e2e-469f-a216-c384312e2a2d" providerId="ADAL" clId="{76AB8CCA-EAB9-49A3-861E-0C0C76457356}" dt="2018-10-28T15:17:15.326" v="311" actId="1076"/>
          <ac:spMkLst>
            <pc:docMk/>
            <pc:sldMk cId="2973122093" sldId="4352"/>
            <ac:spMk id="45" creationId="{6308A7D0-E484-48B1-83F6-9272A70ECC3F}"/>
          </ac:spMkLst>
        </pc:spChg>
        <pc:spChg chg="mod">
          <ac:chgData name="Bob Ward" userId="6da7c2dd-8e2e-469f-a216-c384312e2a2d" providerId="ADAL" clId="{76AB8CCA-EAB9-49A3-861E-0C0C76457356}" dt="2018-10-28T15:17:15.326" v="311" actId="1076"/>
          <ac:spMkLst>
            <pc:docMk/>
            <pc:sldMk cId="2973122093" sldId="4352"/>
            <ac:spMk id="48" creationId="{2D041344-93F7-4AD8-9BD2-9C5D369628ED}"/>
          </ac:spMkLst>
        </pc:spChg>
        <pc:spChg chg="mod">
          <ac:chgData name="Bob Ward" userId="6da7c2dd-8e2e-469f-a216-c384312e2a2d" providerId="ADAL" clId="{76AB8CCA-EAB9-49A3-861E-0C0C76457356}" dt="2018-10-28T15:17:15.326" v="311" actId="1076"/>
          <ac:spMkLst>
            <pc:docMk/>
            <pc:sldMk cId="2973122093" sldId="4352"/>
            <ac:spMk id="51" creationId="{B5DAC383-926C-4986-8EEB-3E51E3E4E792}"/>
          </ac:spMkLst>
        </pc:spChg>
        <pc:spChg chg="mod">
          <ac:chgData name="Bob Ward" userId="6da7c2dd-8e2e-469f-a216-c384312e2a2d" providerId="ADAL" clId="{76AB8CCA-EAB9-49A3-861E-0C0C76457356}" dt="2018-10-28T15:17:15.326" v="311" actId="1076"/>
          <ac:spMkLst>
            <pc:docMk/>
            <pc:sldMk cId="2973122093" sldId="4352"/>
            <ac:spMk id="53" creationId="{547D5832-084B-49A9-9A36-D0E5754921CF}"/>
          </ac:spMkLst>
        </pc:spChg>
        <pc:cxnChg chg="add mod">
          <ac:chgData name="Bob Ward" userId="6da7c2dd-8e2e-469f-a216-c384312e2a2d" providerId="ADAL" clId="{76AB8CCA-EAB9-49A3-861E-0C0C76457356}" dt="2018-10-28T15:19:10.894" v="383" actId="208"/>
          <ac:cxnSpMkLst>
            <pc:docMk/>
            <pc:sldMk cId="2973122093" sldId="4352"/>
            <ac:cxnSpMk id="4" creationId="{2183FEFE-F22C-472D-80C1-1AEE744B1065}"/>
          </ac:cxnSpMkLst>
        </pc:cxnChg>
        <pc:cxnChg chg="add del mod">
          <ac:chgData name="Bob Ward" userId="6da7c2dd-8e2e-469f-a216-c384312e2a2d" providerId="ADAL" clId="{76AB8CCA-EAB9-49A3-861E-0C0C76457356}" dt="2018-10-28T15:18:27.066" v="377"/>
          <ac:cxnSpMkLst>
            <pc:docMk/>
            <pc:sldMk cId="2973122093" sldId="4352"/>
            <ac:cxnSpMk id="34" creationId="{4BB7219C-8886-4373-BEFB-F1C0A0DFB7AE}"/>
          </ac:cxnSpMkLst>
        </pc:cxnChg>
        <pc:cxnChg chg="add mod">
          <ac:chgData name="Bob Ward" userId="6da7c2dd-8e2e-469f-a216-c384312e2a2d" providerId="ADAL" clId="{76AB8CCA-EAB9-49A3-861E-0C0C76457356}" dt="2018-10-28T15:19:10.894" v="383" actId="208"/>
          <ac:cxnSpMkLst>
            <pc:docMk/>
            <pc:sldMk cId="2973122093" sldId="4352"/>
            <ac:cxnSpMk id="35" creationId="{EC801D23-66A1-4E18-86CD-F07295970240}"/>
          </ac:cxnSpMkLst>
        </pc:cxnChg>
        <pc:cxnChg chg="mod">
          <ac:chgData name="Bob Ward" userId="6da7c2dd-8e2e-469f-a216-c384312e2a2d" providerId="ADAL" clId="{76AB8CCA-EAB9-49A3-861E-0C0C76457356}" dt="2018-10-28T15:17:15.326" v="311" actId="1076"/>
          <ac:cxnSpMkLst>
            <pc:docMk/>
            <pc:sldMk cId="2973122093" sldId="4352"/>
            <ac:cxnSpMk id="57" creationId="{5B0C2673-2380-4B3B-9879-69DAA50C118C}"/>
          </ac:cxnSpMkLst>
        </pc:cxnChg>
        <pc:cxnChg chg="mod">
          <ac:chgData name="Bob Ward" userId="6da7c2dd-8e2e-469f-a216-c384312e2a2d" providerId="ADAL" clId="{76AB8CCA-EAB9-49A3-861E-0C0C76457356}" dt="2018-10-28T15:17:15.326" v="311" actId="1076"/>
          <ac:cxnSpMkLst>
            <pc:docMk/>
            <pc:sldMk cId="2973122093" sldId="4352"/>
            <ac:cxnSpMk id="58" creationId="{98970BEF-679B-4F61-AD70-315ED8E60EB4}"/>
          </ac:cxnSpMkLst>
        </pc:cxnChg>
        <pc:cxnChg chg="mod">
          <ac:chgData name="Bob Ward" userId="6da7c2dd-8e2e-469f-a216-c384312e2a2d" providerId="ADAL" clId="{76AB8CCA-EAB9-49A3-861E-0C0C76457356}" dt="2018-10-28T15:17:15.326" v="311" actId="1076"/>
          <ac:cxnSpMkLst>
            <pc:docMk/>
            <pc:sldMk cId="2973122093" sldId="4352"/>
            <ac:cxnSpMk id="61" creationId="{24560B9B-846E-4D84-9C9A-54136C892A5A}"/>
          </ac:cxnSpMkLst>
        </pc:cxnChg>
        <pc:cxnChg chg="mod">
          <ac:chgData name="Bob Ward" userId="6da7c2dd-8e2e-469f-a216-c384312e2a2d" providerId="ADAL" clId="{76AB8CCA-EAB9-49A3-861E-0C0C76457356}" dt="2018-10-28T15:17:15.326" v="311" actId="1076"/>
          <ac:cxnSpMkLst>
            <pc:docMk/>
            <pc:sldMk cId="2973122093" sldId="4352"/>
            <ac:cxnSpMk id="63" creationId="{C111EF12-8983-43F1-97A7-79C47A6589FB}"/>
          </ac:cxnSpMkLst>
        </pc:cxnChg>
        <pc:cxnChg chg="mod">
          <ac:chgData name="Bob Ward" userId="6da7c2dd-8e2e-469f-a216-c384312e2a2d" providerId="ADAL" clId="{76AB8CCA-EAB9-49A3-861E-0C0C76457356}" dt="2018-10-28T15:17:15.326" v="311" actId="1076"/>
          <ac:cxnSpMkLst>
            <pc:docMk/>
            <pc:sldMk cId="2973122093" sldId="4352"/>
            <ac:cxnSpMk id="66" creationId="{B1D4C4D9-089C-4744-86D3-BD7151920201}"/>
          </ac:cxnSpMkLst>
        </pc:cxnChg>
        <pc:cxnChg chg="mod">
          <ac:chgData name="Bob Ward" userId="6da7c2dd-8e2e-469f-a216-c384312e2a2d" providerId="ADAL" clId="{76AB8CCA-EAB9-49A3-861E-0C0C76457356}" dt="2018-10-28T15:17:15.326" v="311" actId="1076"/>
          <ac:cxnSpMkLst>
            <pc:docMk/>
            <pc:sldMk cId="2973122093" sldId="4352"/>
            <ac:cxnSpMk id="68" creationId="{15EE9360-3715-4816-A827-99611212AF6D}"/>
          </ac:cxnSpMkLst>
        </pc:cxnChg>
        <pc:cxnChg chg="mod">
          <ac:chgData name="Bob Ward" userId="6da7c2dd-8e2e-469f-a216-c384312e2a2d" providerId="ADAL" clId="{76AB8CCA-EAB9-49A3-861E-0C0C76457356}" dt="2018-10-28T15:17:15.326" v="311" actId="1076"/>
          <ac:cxnSpMkLst>
            <pc:docMk/>
            <pc:sldMk cId="2973122093" sldId="4352"/>
            <ac:cxnSpMk id="69" creationId="{8CADFC45-721E-428C-8995-5189CD367FCA}"/>
          </ac:cxnSpMkLst>
        </pc:cxnChg>
        <pc:cxnChg chg="mod">
          <ac:chgData name="Bob Ward" userId="6da7c2dd-8e2e-469f-a216-c384312e2a2d" providerId="ADAL" clId="{76AB8CCA-EAB9-49A3-861E-0C0C76457356}" dt="2018-10-28T15:17:15.326" v="311" actId="1076"/>
          <ac:cxnSpMkLst>
            <pc:docMk/>
            <pc:sldMk cId="2973122093" sldId="4352"/>
            <ac:cxnSpMk id="73" creationId="{75FADEBA-E0F6-4B35-87EB-9AE7E17B8271}"/>
          </ac:cxnSpMkLst>
        </pc:cxnChg>
        <pc:cxnChg chg="mod">
          <ac:chgData name="Bob Ward" userId="6da7c2dd-8e2e-469f-a216-c384312e2a2d" providerId="ADAL" clId="{76AB8CCA-EAB9-49A3-861E-0C0C76457356}" dt="2018-10-28T15:17:15.326" v="311" actId="1076"/>
          <ac:cxnSpMkLst>
            <pc:docMk/>
            <pc:sldMk cId="2973122093" sldId="4352"/>
            <ac:cxnSpMk id="75" creationId="{53FE1575-912F-4577-8949-9A7483B24174}"/>
          </ac:cxnSpMkLst>
        </pc:cxnChg>
        <pc:cxnChg chg="mod">
          <ac:chgData name="Bob Ward" userId="6da7c2dd-8e2e-469f-a216-c384312e2a2d" providerId="ADAL" clId="{76AB8CCA-EAB9-49A3-861E-0C0C76457356}" dt="2018-10-28T15:17:15.326" v="311" actId="1076"/>
          <ac:cxnSpMkLst>
            <pc:docMk/>
            <pc:sldMk cId="2973122093" sldId="4352"/>
            <ac:cxnSpMk id="77" creationId="{4A0E597E-3386-4346-AAE8-DD704C74B2D3}"/>
          </ac:cxnSpMkLst>
        </pc:cxnChg>
        <pc:cxnChg chg="mod">
          <ac:chgData name="Bob Ward" userId="6da7c2dd-8e2e-469f-a216-c384312e2a2d" providerId="ADAL" clId="{76AB8CCA-EAB9-49A3-861E-0C0C76457356}" dt="2018-10-28T15:17:15.326" v="311" actId="1076"/>
          <ac:cxnSpMkLst>
            <pc:docMk/>
            <pc:sldMk cId="2973122093" sldId="4352"/>
            <ac:cxnSpMk id="79" creationId="{BBD9302B-24F0-4491-A026-3A438B1354EA}"/>
          </ac:cxnSpMkLst>
        </pc:cxnChg>
      </pc:sldChg>
      <pc:sldChg chg="modSp">
        <pc:chgData name="Bob Ward" userId="6da7c2dd-8e2e-469f-a216-c384312e2a2d" providerId="ADAL" clId="{76AB8CCA-EAB9-49A3-861E-0C0C76457356}" dt="2018-11-05T22:53:31.296" v="923" actId="6549"/>
        <pc:sldMkLst>
          <pc:docMk/>
          <pc:sldMk cId="1122910760" sldId="4353"/>
        </pc:sldMkLst>
        <pc:spChg chg="mod">
          <ac:chgData name="Bob Ward" userId="6da7c2dd-8e2e-469f-a216-c384312e2a2d" providerId="ADAL" clId="{76AB8CCA-EAB9-49A3-861E-0C0C76457356}" dt="2018-11-05T22:53:31.296" v="923" actId="6549"/>
          <ac:spMkLst>
            <pc:docMk/>
            <pc:sldMk cId="1122910760" sldId="4353"/>
            <ac:spMk id="6" creationId="{00000000-0000-0000-0000-000000000000}"/>
          </ac:spMkLst>
        </pc:spChg>
      </pc:sldChg>
      <pc:sldChg chg="del modTransition">
        <pc:chgData name="Bob Ward" userId="6da7c2dd-8e2e-469f-a216-c384312e2a2d" providerId="ADAL" clId="{76AB8CCA-EAB9-49A3-861E-0C0C76457356}" dt="2018-10-28T15:15:57.551" v="308" actId="2696"/>
        <pc:sldMkLst>
          <pc:docMk/>
          <pc:sldMk cId="1258176581" sldId="4356"/>
        </pc:sldMkLst>
      </pc:sldChg>
      <pc:sldChg chg="modNotesTx">
        <pc:chgData name="Bob Ward" userId="6da7c2dd-8e2e-469f-a216-c384312e2a2d" providerId="ADAL" clId="{76AB8CCA-EAB9-49A3-861E-0C0C76457356}" dt="2018-10-29T17:01:27.846" v="523" actId="20577"/>
        <pc:sldMkLst>
          <pc:docMk/>
          <pc:sldMk cId="3580746693" sldId="4357"/>
        </pc:sldMkLst>
      </pc:sldChg>
      <pc:sldChg chg="modSp">
        <pc:chgData name="Bob Ward" userId="6da7c2dd-8e2e-469f-a216-c384312e2a2d" providerId="ADAL" clId="{76AB8CCA-EAB9-49A3-861E-0C0C76457356}" dt="2018-10-29T17:02:46.055" v="534" actId="113"/>
        <pc:sldMkLst>
          <pc:docMk/>
          <pc:sldMk cId="3721142759" sldId="4359"/>
        </pc:sldMkLst>
        <pc:spChg chg="mod">
          <ac:chgData name="Bob Ward" userId="6da7c2dd-8e2e-469f-a216-c384312e2a2d" providerId="ADAL" clId="{76AB8CCA-EAB9-49A3-861E-0C0C76457356}" dt="2018-10-29T17:02:46.055" v="534" actId="113"/>
          <ac:spMkLst>
            <pc:docMk/>
            <pc:sldMk cId="3721142759" sldId="4359"/>
            <ac:spMk id="4" creationId="{044C4694-53A5-420E-9710-12BA2370BB34}"/>
          </ac:spMkLst>
        </pc:spChg>
      </pc:sldChg>
      <pc:sldChg chg="modNotesTx">
        <pc:chgData name="Bob Ward" userId="6da7c2dd-8e2e-469f-a216-c384312e2a2d" providerId="ADAL" clId="{76AB8CCA-EAB9-49A3-861E-0C0C76457356}" dt="2018-10-30T20:13:19.482" v="623" actId="20577"/>
        <pc:sldMkLst>
          <pc:docMk/>
          <pc:sldMk cId="3766069067" sldId="4360"/>
        </pc:sldMkLst>
      </pc:sldChg>
      <pc:sldChg chg="addSp delSp modSp modNotesTx">
        <pc:chgData name="Bob Ward" userId="6da7c2dd-8e2e-469f-a216-c384312e2a2d" providerId="ADAL" clId="{76AB8CCA-EAB9-49A3-861E-0C0C76457356}" dt="2018-11-05T23:06:47.163" v="1183" actId="5793"/>
        <pc:sldMkLst>
          <pc:docMk/>
          <pc:sldMk cId="276576014" sldId="4367"/>
        </pc:sldMkLst>
        <pc:spChg chg="add mod">
          <ac:chgData name="Bob Ward" userId="6da7c2dd-8e2e-469f-a216-c384312e2a2d" providerId="ADAL" clId="{76AB8CCA-EAB9-49A3-861E-0C0C76457356}" dt="2018-11-05T23:06:47.163" v="1183" actId="5793"/>
          <ac:spMkLst>
            <pc:docMk/>
            <pc:sldMk cId="276576014" sldId="4367"/>
            <ac:spMk id="5" creationId="{BCA91216-E90D-424E-84D6-905B2F6C5CA0}"/>
          </ac:spMkLst>
        </pc:spChg>
        <pc:spChg chg="mod">
          <ac:chgData name="Bob Ward" userId="6da7c2dd-8e2e-469f-a216-c384312e2a2d" providerId="ADAL" clId="{76AB8CCA-EAB9-49A3-861E-0C0C76457356}" dt="2018-11-05T23:02:50.873" v="1169" actId="20577"/>
          <ac:spMkLst>
            <pc:docMk/>
            <pc:sldMk cId="276576014" sldId="4367"/>
            <ac:spMk id="6" creationId="{849F8057-236A-4A49-9642-6F059030EA39}"/>
          </ac:spMkLst>
        </pc:spChg>
        <pc:spChg chg="mod">
          <ac:chgData name="Bob Ward" userId="6da7c2dd-8e2e-469f-a216-c384312e2a2d" providerId="ADAL" clId="{76AB8CCA-EAB9-49A3-861E-0C0C76457356}" dt="2018-10-28T16:25:14.025" v="501" actId="1076"/>
          <ac:spMkLst>
            <pc:docMk/>
            <pc:sldMk cId="276576014" sldId="4367"/>
            <ac:spMk id="7" creationId="{DB971EA3-9242-4CD2-860D-91D53C7F33FC}"/>
          </ac:spMkLst>
        </pc:spChg>
        <pc:spChg chg="mod">
          <ac:chgData name="Bob Ward" userId="6da7c2dd-8e2e-469f-a216-c384312e2a2d" providerId="ADAL" clId="{76AB8CCA-EAB9-49A3-861E-0C0C76457356}" dt="2018-10-28T16:25:31.281" v="504" actId="14100"/>
          <ac:spMkLst>
            <pc:docMk/>
            <pc:sldMk cId="276576014" sldId="4367"/>
            <ac:spMk id="9" creationId="{3141DD79-26B4-4ABA-8383-735F107CD87A}"/>
          </ac:spMkLst>
        </pc:spChg>
        <pc:graphicFrameChg chg="del">
          <ac:chgData name="Bob Ward" userId="6da7c2dd-8e2e-469f-a216-c384312e2a2d" providerId="ADAL" clId="{76AB8CCA-EAB9-49A3-861E-0C0C76457356}" dt="2018-11-05T22:56:08.164" v="994" actId="478"/>
          <ac:graphicFrameMkLst>
            <pc:docMk/>
            <pc:sldMk cId="276576014" sldId="4367"/>
            <ac:graphicFrameMk id="4" creationId="{57679521-AAA5-4DEE-8A8E-A1D6F4AFB08E}"/>
          </ac:graphicFrameMkLst>
        </pc:graphicFrameChg>
      </pc:sldChg>
      <pc:sldChg chg="modSp modNotesTx">
        <pc:chgData name="Bob Ward" userId="6da7c2dd-8e2e-469f-a216-c384312e2a2d" providerId="ADAL" clId="{76AB8CCA-EAB9-49A3-861E-0C0C76457356}" dt="2018-11-05T22:53:49.250" v="925" actId="6549"/>
        <pc:sldMkLst>
          <pc:docMk/>
          <pc:sldMk cId="4134612233" sldId="4375"/>
        </pc:sldMkLst>
        <pc:spChg chg="mod">
          <ac:chgData name="Bob Ward" userId="6da7c2dd-8e2e-469f-a216-c384312e2a2d" providerId="ADAL" clId="{76AB8CCA-EAB9-49A3-861E-0C0C76457356}" dt="2018-10-30T20:49:43.559" v="853" actId="20577"/>
          <ac:spMkLst>
            <pc:docMk/>
            <pc:sldMk cId="4134612233" sldId="4375"/>
            <ac:spMk id="6" creationId="{00000000-0000-0000-0000-000000000000}"/>
          </ac:spMkLst>
        </pc:spChg>
      </pc:sldChg>
      <pc:sldChg chg="addSp delSp modSp add modAnim">
        <pc:chgData name="Bob Ward" userId="6da7c2dd-8e2e-469f-a216-c384312e2a2d" providerId="ADAL" clId="{76AB8CCA-EAB9-49A3-861E-0C0C76457356}" dt="2018-11-05T22:54:21.734" v="993" actId="14100"/>
        <pc:sldMkLst>
          <pc:docMk/>
          <pc:sldMk cId="1021704877" sldId="4379"/>
        </pc:sldMkLst>
        <pc:spChg chg="add mod">
          <ac:chgData name="Bob Ward" userId="6da7c2dd-8e2e-469f-a216-c384312e2a2d" providerId="ADAL" clId="{76AB8CCA-EAB9-49A3-861E-0C0C76457356}" dt="2018-10-28T16:23:26.736" v="416" actId="1076"/>
          <ac:spMkLst>
            <pc:docMk/>
            <pc:sldMk cId="1021704877" sldId="4379"/>
            <ac:spMk id="2" creationId="{52961319-B32B-41FE-8BBF-24202B001C20}"/>
          </ac:spMkLst>
        </pc:spChg>
        <pc:spChg chg="add mod">
          <ac:chgData name="Bob Ward" userId="6da7c2dd-8e2e-469f-a216-c384312e2a2d" providerId="ADAL" clId="{76AB8CCA-EAB9-49A3-861E-0C0C76457356}" dt="2018-10-28T16:23:01.569" v="413" actId="552"/>
          <ac:spMkLst>
            <pc:docMk/>
            <pc:sldMk cId="1021704877" sldId="4379"/>
            <ac:spMk id="3" creationId="{60F0B44C-6BD4-4732-8D2A-E39307AF79EF}"/>
          </ac:spMkLst>
        </pc:spChg>
        <pc:spChg chg="del">
          <ac:chgData name="Bob Ward" userId="6da7c2dd-8e2e-469f-a216-c384312e2a2d" providerId="ADAL" clId="{76AB8CCA-EAB9-49A3-861E-0C0C76457356}" dt="2018-10-28T15:09:49.898" v="257" actId="478"/>
          <ac:spMkLst>
            <pc:docMk/>
            <pc:sldMk cId="1021704877" sldId="4379"/>
            <ac:spMk id="4" creationId="{3724EF2B-E64E-4F86-BCB0-C906BF0972FE}"/>
          </ac:spMkLst>
        </pc:spChg>
        <pc:spChg chg="del">
          <ac:chgData name="Bob Ward" userId="6da7c2dd-8e2e-469f-a216-c384312e2a2d" providerId="ADAL" clId="{76AB8CCA-EAB9-49A3-861E-0C0C76457356}" dt="2018-10-28T15:09:49.898" v="257" actId="478"/>
          <ac:spMkLst>
            <pc:docMk/>
            <pc:sldMk cId="1021704877" sldId="4379"/>
            <ac:spMk id="5" creationId="{50ADA6EC-E8F6-4EFF-9814-83147E20867E}"/>
          </ac:spMkLst>
        </pc:spChg>
        <pc:spChg chg="mod">
          <ac:chgData name="Bob Ward" userId="6da7c2dd-8e2e-469f-a216-c384312e2a2d" providerId="ADAL" clId="{76AB8CCA-EAB9-49A3-861E-0C0C76457356}" dt="2018-11-05T22:54:21.734" v="993" actId="14100"/>
          <ac:spMkLst>
            <pc:docMk/>
            <pc:sldMk cId="1021704877" sldId="4379"/>
            <ac:spMk id="6" creationId="{00000000-0000-0000-0000-000000000000}"/>
          </ac:spMkLst>
        </pc:spChg>
        <pc:spChg chg="del">
          <ac:chgData name="Bob Ward" userId="6da7c2dd-8e2e-469f-a216-c384312e2a2d" providerId="ADAL" clId="{76AB8CCA-EAB9-49A3-861E-0C0C76457356}" dt="2018-10-28T15:09:49.898" v="257" actId="478"/>
          <ac:spMkLst>
            <pc:docMk/>
            <pc:sldMk cId="1021704877" sldId="4379"/>
            <ac:spMk id="7" creationId="{FA5DD307-B1C3-4C2F-BD30-D83520203BC1}"/>
          </ac:spMkLst>
        </pc:spChg>
        <pc:spChg chg="add mod">
          <ac:chgData name="Bob Ward" userId="6da7c2dd-8e2e-469f-a216-c384312e2a2d" providerId="ADAL" clId="{76AB8CCA-EAB9-49A3-861E-0C0C76457356}" dt="2018-10-28T15:15:49.164" v="307" actId="113"/>
          <ac:spMkLst>
            <pc:docMk/>
            <pc:sldMk cId="1021704877" sldId="4379"/>
            <ac:spMk id="8" creationId="{E2DE072B-B9D7-4ABD-9B91-929BECC63230}"/>
          </ac:spMkLst>
        </pc:spChg>
        <pc:spChg chg="del">
          <ac:chgData name="Bob Ward" userId="6da7c2dd-8e2e-469f-a216-c384312e2a2d" providerId="ADAL" clId="{76AB8CCA-EAB9-49A3-861E-0C0C76457356}" dt="2018-10-28T15:09:49.898" v="257" actId="478"/>
          <ac:spMkLst>
            <pc:docMk/>
            <pc:sldMk cId="1021704877" sldId="4379"/>
            <ac:spMk id="51" creationId="{AA5DE190-0BAF-4625-8D30-CAFC48E4ECDD}"/>
          </ac:spMkLst>
        </pc:spChg>
        <pc:spChg chg="mod">
          <ac:chgData name="Bob Ward" userId="6da7c2dd-8e2e-469f-a216-c384312e2a2d" providerId="ADAL" clId="{76AB8CCA-EAB9-49A3-861E-0C0C76457356}" dt="2018-10-28T16:23:07.277" v="415" actId="1076"/>
          <ac:spMkLst>
            <pc:docMk/>
            <pc:sldMk cId="1021704877" sldId="4379"/>
            <ac:spMk id="56" creationId="{2F16C553-EA3D-0B4D-A558-04C3F1C6FD93}"/>
          </ac:spMkLst>
        </pc:spChg>
        <pc:grpChg chg="del">
          <ac:chgData name="Bob Ward" userId="6da7c2dd-8e2e-469f-a216-c384312e2a2d" providerId="ADAL" clId="{76AB8CCA-EAB9-49A3-861E-0C0C76457356}" dt="2018-10-28T15:09:49.898" v="257" actId="478"/>
          <ac:grpSpMkLst>
            <pc:docMk/>
            <pc:sldMk cId="1021704877" sldId="4379"/>
            <ac:grpSpMk id="11" creationId="{9D1659BB-4120-46D7-9CD3-9B0826D5CE06}"/>
          </ac:grpSpMkLst>
        </pc:grpChg>
        <pc:grpChg chg="del">
          <ac:chgData name="Bob Ward" userId="6da7c2dd-8e2e-469f-a216-c384312e2a2d" providerId="ADAL" clId="{76AB8CCA-EAB9-49A3-861E-0C0C76457356}" dt="2018-10-28T15:09:49.898" v="257" actId="478"/>
          <ac:grpSpMkLst>
            <pc:docMk/>
            <pc:sldMk cId="1021704877" sldId="4379"/>
            <ac:grpSpMk id="29" creationId="{7BD66919-DB4E-4FC3-BB5B-A80C859C42FB}"/>
          </ac:grpSpMkLst>
        </pc:grpChg>
        <pc:grpChg chg="del">
          <ac:chgData name="Bob Ward" userId="6da7c2dd-8e2e-469f-a216-c384312e2a2d" providerId="ADAL" clId="{76AB8CCA-EAB9-49A3-861E-0C0C76457356}" dt="2018-10-28T15:09:49.898" v="257" actId="478"/>
          <ac:grpSpMkLst>
            <pc:docMk/>
            <pc:sldMk cId="1021704877" sldId="4379"/>
            <ac:grpSpMk id="33" creationId="{E6472249-0662-48F7-9C55-13F5D55631C4}"/>
          </ac:grpSpMkLst>
        </pc:grpChg>
        <pc:grpChg chg="del">
          <ac:chgData name="Bob Ward" userId="6da7c2dd-8e2e-469f-a216-c384312e2a2d" providerId="ADAL" clId="{76AB8CCA-EAB9-49A3-861E-0C0C76457356}" dt="2018-10-28T15:09:49.898" v="257" actId="478"/>
          <ac:grpSpMkLst>
            <pc:docMk/>
            <pc:sldMk cId="1021704877" sldId="4379"/>
            <ac:grpSpMk id="41" creationId="{BB9345B9-7D0A-46AE-879B-F534919A9CD5}"/>
          </ac:grpSpMkLst>
        </pc:grpChg>
        <pc:grpChg chg="del">
          <ac:chgData name="Bob Ward" userId="6da7c2dd-8e2e-469f-a216-c384312e2a2d" providerId="ADAL" clId="{76AB8CCA-EAB9-49A3-861E-0C0C76457356}" dt="2018-10-28T15:09:49.898" v="257" actId="478"/>
          <ac:grpSpMkLst>
            <pc:docMk/>
            <pc:sldMk cId="1021704877" sldId="4379"/>
            <ac:grpSpMk id="53" creationId="{6A9C8646-B644-4C24-8642-6A5B21606A25}"/>
          </ac:grpSpMkLst>
        </pc:grpChg>
        <pc:cxnChg chg="del">
          <ac:chgData name="Bob Ward" userId="6da7c2dd-8e2e-469f-a216-c384312e2a2d" providerId="ADAL" clId="{76AB8CCA-EAB9-49A3-861E-0C0C76457356}" dt="2018-10-28T15:09:49.898" v="257" actId="478"/>
          <ac:cxnSpMkLst>
            <pc:docMk/>
            <pc:sldMk cId="1021704877" sldId="4379"/>
            <ac:cxnSpMk id="52" creationId="{7E8FFE1B-C5D6-447E-A741-ADAE6463D10B}"/>
          </ac:cxnSpMkLst>
        </pc:cxnChg>
      </pc:sldChg>
    </pc:docChg>
  </pc:docChgLst>
  <pc:docChgLst>
    <pc:chgData name="Bob Ward" userId="6da7c2dd-8e2e-469f-a216-c384312e2a2d" providerId="ADAL" clId="{DF1B464C-0DF5-4E6D-AD2C-B7CD9F33F392}"/>
    <pc:docChg chg="delSld modSld modSection">
      <pc:chgData name="Bob Ward" userId="6da7c2dd-8e2e-469f-a216-c384312e2a2d" providerId="ADAL" clId="{DF1B464C-0DF5-4E6D-AD2C-B7CD9F33F392}" dt="2019-07-09T13:46:56.973" v="2" actId="6549"/>
      <pc:docMkLst>
        <pc:docMk/>
      </pc:docMkLst>
      <pc:sldChg chg="modSp">
        <pc:chgData name="Bob Ward" userId="6da7c2dd-8e2e-469f-a216-c384312e2a2d" providerId="ADAL" clId="{DF1B464C-0DF5-4E6D-AD2C-B7CD9F33F392}" dt="2019-07-09T13:46:56.973" v="2" actId="6549"/>
        <pc:sldMkLst>
          <pc:docMk/>
          <pc:sldMk cId="1122910760" sldId="4353"/>
        </pc:sldMkLst>
        <pc:spChg chg="mod">
          <ac:chgData name="Bob Ward" userId="6da7c2dd-8e2e-469f-a216-c384312e2a2d" providerId="ADAL" clId="{DF1B464C-0DF5-4E6D-AD2C-B7CD9F33F392}" dt="2019-07-09T13:46:56.973" v="2" actId="6549"/>
          <ac:spMkLst>
            <pc:docMk/>
            <pc:sldMk cId="1122910760" sldId="4353"/>
            <ac:spMk id="6" creationId="{00000000-0000-0000-0000-000000000000}"/>
          </ac:spMkLst>
        </pc:spChg>
      </pc:sldChg>
      <pc:sldChg chg="del">
        <pc:chgData name="Bob Ward" userId="6da7c2dd-8e2e-469f-a216-c384312e2a2d" providerId="ADAL" clId="{DF1B464C-0DF5-4E6D-AD2C-B7CD9F33F392}" dt="2019-07-09T13:46:46.661" v="1" actId="47"/>
        <pc:sldMkLst>
          <pc:docMk/>
          <pc:sldMk cId="737723831" sldId="4680"/>
        </pc:sldMkLst>
      </pc:sldChg>
      <pc:sldChg chg="del">
        <pc:chgData name="Bob Ward" userId="6da7c2dd-8e2e-469f-a216-c384312e2a2d" providerId="ADAL" clId="{DF1B464C-0DF5-4E6D-AD2C-B7CD9F33F392}" dt="2019-07-09T13:46:45.224" v="0" actId="47"/>
        <pc:sldMkLst>
          <pc:docMk/>
          <pc:sldMk cId="2744988156" sldId="4693"/>
        </pc:sldMkLst>
      </pc:sldChg>
    </pc:docChg>
  </pc:docChgLst>
  <pc:docChgLst>
    <pc:chgData name="Bob Ward" userId="6da7c2dd-8e2e-469f-a216-c384312e2a2d" providerId="ADAL" clId="{35A947E7-0BE7-4238-BDC6-4E053781D08E}"/>
    <pc:docChg chg="undo custSel addSld delSld modSld">
      <pc:chgData name="Bob Ward" userId="6da7c2dd-8e2e-469f-a216-c384312e2a2d" providerId="ADAL" clId="{35A947E7-0BE7-4238-BDC6-4E053781D08E}" dt="2018-11-06T14:51:47.065" v="98" actId="1076"/>
      <pc:docMkLst>
        <pc:docMk/>
      </pc:docMkLst>
      <pc:sldChg chg="addSp delSp modSp">
        <pc:chgData name="Bob Ward" userId="6da7c2dd-8e2e-469f-a216-c384312e2a2d" providerId="ADAL" clId="{35A947E7-0BE7-4238-BDC6-4E053781D08E}" dt="2018-11-06T14:51:47.065" v="98" actId="1076"/>
        <pc:sldMkLst>
          <pc:docMk/>
          <pc:sldMk cId="3666506997" sldId="324"/>
        </pc:sldMkLst>
        <pc:spChg chg="add del">
          <ac:chgData name="Bob Ward" userId="6da7c2dd-8e2e-469f-a216-c384312e2a2d" providerId="ADAL" clId="{35A947E7-0BE7-4238-BDC6-4E053781D08E}" dt="2018-11-06T14:46:45.344" v="79" actId="478"/>
          <ac:spMkLst>
            <pc:docMk/>
            <pc:sldMk cId="3666506997" sldId="324"/>
            <ac:spMk id="2" creationId="{28E26044-5FBA-4005-9131-5B4AE3C633AD}"/>
          </ac:spMkLst>
        </pc:spChg>
        <pc:spChg chg="add del mod">
          <ac:chgData name="Bob Ward" userId="6da7c2dd-8e2e-469f-a216-c384312e2a2d" providerId="ADAL" clId="{35A947E7-0BE7-4238-BDC6-4E053781D08E}" dt="2018-11-06T14:49:13.098" v="94"/>
          <ac:spMkLst>
            <pc:docMk/>
            <pc:sldMk cId="3666506997" sldId="324"/>
            <ac:spMk id="4" creationId="{723C840B-F2EA-4DF2-A2C1-A134612CCBFD}"/>
          </ac:spMkLst>
        </pc:spChg>
        <pc:spChg chg="add mod">
          <ac:chgData name="Bob Ward" userId="6da7c2dd-8e2e-469f-a216-c384312e2a2d" providerId="ADAL" clId="{35A947E7-0BE7-4238-BDC6-4E053781D08E}" dt="2018-11-06T14:51:47.065" v="98" actId="1076"/>
          <ac:spMkLst>
            <pc:docMk/>
            <pc:sldMk cId="3666506997" sldId="324"/>
            <ac:spMk id="5" creationId="{FCF35044-BA21-4A37-B198-F2EDAD470764}"/>
          </ac:spMkLst>
        </pc:spChg>
        <pc:spChg chg="add mod">
          <ac:chgData name="Bob Ward" userId="6da7c2dd-8e2e-469f-a216-c384312e2a2d" providerId="ADAL" clId="{35A947E7-0BE7-4238-BDC6-4E053781D08E}" dt="2018-11-06T14:47:08.531" v="83" actId="1076"/>
          <ac:spMkLst>
            <pc:docMk/>
            <pc:sldMk cId="3666506997" sldId="324"/>
            <ac:spMk id="10" creationId="{15377BEC-6C97-48E9-B7E3-15D1AA08479C}"/>
          </ac:spMkLst>
        </pc:spChg>
        <pc:spChg chg="mod">
          <ac:chgData name="Bob Ward" userId="6da7c2dd-8e2e-469f-a216-c384312e2a2d" providerId="ADAL" clId="{35A947E7-0BE7-4238-BDC6-4E053781D08E}" dt="2018-11-06T14:47:04.501" v="82" actId="1076"/>
          <ac:spMkLst>
            <pc:docMk/>
            <pc:sldMk cId="3666506997" sldId="324"/>
            <ac:spMk id="14" creationId="{00000000-0000-0000-0000-000000000000}"/>
          </ac:spMkLst>
        </pc:spChg>
        <pc:spChg chg="mod">
          <ac:chgData name="Bob Ward" userId="6da7c2dd-8e2e-469f-a216-c384312e2a2d" providerId="ADAL" clId="{35A947E7-0BE7-4238-BDC6-4E053781D08E}" dt="2018-11-06T14:48:59.413" v="88" actId="20577"/>
          <ac:spMkLst>
            <pc:docMk/>
            <pc:sldMk cId="3666506997" sldId="324"/>
            <ac:spMk id="15" creationId="{00000000-0000-0000-0000-000000000000}"/>
          </ac:spMkLst>
        </pc:spChg>
        <pc:spChg chg="del">
          <ac:chgData name="Bob Ward" userId="6da7c2dd-8e2e-469f-a216-c384312e2a2d" providerId="ADAL" clId="{35A947E7-0BE7-4238-BDC6-4E053781D08E}" dt="2018-11-06T14:47:00.151" v="81" actId="478"/>
          <ac:spMkLst>
            <pc:docMk/>
            <pc:sldMk cId="3666506997" sldId="324"/>
            <ac:spMk id="17" creationId="{00000000-0000-0000-0000-000000000000}"/>
          </ac:spMkLst>
        </pc:spChg>
        <pc:spChg chg="del">
          <ac:chgData name="Bob Ward" userId="6da7c2dd-8e2e-469f-a216-c384312e2a2d" providerId="ADAL" clId="{35A947E7-0BE7-4238-BDC6-4E053781D08E}" dt="2018-11-06T14:46:58.087" v="80" actId="478"/>
          <ac:spMkLst>
            <pc:docMk/>
            <pc:sldMk cId="3666506997" sldId="324"/>
            <ac:spMk id="18" creationId="{00000000-0000-0000-0000-000000000000}"/>
          </ac:spMkLst>
        </pc:spChg>
        <pc:spChg chg="add mod">
          <ac:chgData name="Bob Ward" userId="6da7c2dd-8e2e-469f-a216-c384312e2a2d" providerId="ADAL" clId="{35A947E7-0BE7-4238-BDC6-4E053781D08E}" dt="2018-11-06T14:47:15.945" v="85" actId="1076"/>
          <ac:spMkLst>
            <pc:docMk/>
            <pc:sldMk cId="3666506997" sldId="324"/>
            <ac:spMk id="19" creationId="{E80C4B04-A056-44B5-837A-76A34D53842E}"/>
          </ac:spMkLst>
        </pc:spChg>
        <pc:spChg chg="add del mod">
          <ac:chgData name="Bob Ward" userId="6da7c2dd-8e2e-469f-a216-c384312e2a2d" providerId="ADAL" clId="{35A947E7-0BE7-4238-BDC6-4E053781D08E}" dt="2018-11-06T14:46:08.070" v="69" actId="478"/>
          <ac:spMkLst>
            <pc:docMk/>
            <pc:sldMk cId="3666506997" sldId="324"/>
            <ac:spMk id="23" creationId="{F042D7CB-54D4-4D34-BAE1-437303FC8865}"/>
          </ac:spMkLst>
        </pc:spChg>
        <pc:spChg chg="add del mod">
          <ac:chgData name="Bob Ward" userId="6da7c2dd-8e2e-469f-a216-c384312e2a2d" providerId="ADAL" clId="{35A947E7-0BE7-4238-BDC6-4E053781D08E}" dt="2018-11-06T14:46:31.017" v="74"/>
          <ac:spMkLst>
            <pc:docMk/>
            <pc:sldMk cId="3666506997" sldId="324"/>
            <ac:spMk id="24" creationId="{748527C9-6910-42DE-8AD5-DA75FB2EA5E8}"/>
          </ac:spMkLst>
        </pc:spChg>
        <pc:spChg chg="add del">
          <ac:chgData name="Bob Ward" userId="6da7c2dd-8e2e-469f-a216-c384312e2a2d" providerId="ADAL" clId="{35A947E7-0BE7-4238-BDC6-4E053781D08E}" dt="2018-11-06T14:46:34.718" v="76"/>
          <ac:spMkLst>
            <pc:docMk/>
            <pc:sldMk cId="3666506997" sldId="324"/>
            <ac:spMk id="25" creationId="{C0D94E3E-122F-48AF-B33D-D96C6D2BCC33}"/>
          </ac:spMkLst>
        </pc:spChg>
        <pc:spChg chg="add mod">
          <ac:chgData name="Bob Ward" userId="6da7c2dd-8e2e-469f-a216-c384312e2a2d" providerId="ADAL" clId="{35A947E7-0BE7-4238-BDC6-4E053781D08E}" dt="2018-11-06T14:49:12.021" v="92"/>
          <ac:spMkLst>
            <pc:docMk/>
            <pc:sldMk cId="3666506997" sldId="324"/>
            <ac:spMk id="26" creationId="{9B293010-FFE0-4908-A7F6-C6BE81E7CD0F}"/>
          </ac:spMkLst>
        </pc:spChg>
        <pc:grpChg chg="del">
          <ac:chgData name="Bob Ward" userId="6da7c2dd-8e2e-469f-a216-c384312e2a2d" providerId="ADAL" clId="{35A947E7-0BE7-4238-BDC6-4E053781D08E}" dt="2018-11-06T14:46:58.087" v="80" actId="478"/>
          <ac:grpSpMkLst>
            <pc:docMk/>
            <pc:sldMk cId="3666506997" sldId="324"/>
            <ac:grpSpMk id="11" creationId="{00000000-0000-0000-0000-000000000000}"/>
          </ac:grpSpMkLst>
        </pc:grpChg>
        <pc:grpChg chg="add del mod">
          <ac:chgData name="Bob Ward" userId="6da7c2dd-8e2e-469f-a216-c384312e2a2d" providerId="ADAL" clId="{35A947E7-0BE7-4238-BDC6-4E053781D08E}" dt="2018-11-06T14:46:58.087" v="80" actId="478"/>
          <ac:grpSpMkLst>
            <pc:docMk/>
            <pc:sldMk cId="3666506997" sldId="324"/>
            <ac:grpSpMk id="20" creationId="{E118D306-D5C7-4FF0-9DAE-70C411970260}"/>
          </ac:grpSpMkLst>
        </pc:grpChg>
        <pc:picChg chg="add del mod">
          <ac:chgData name="Bob Ward" userId="6da7c2dd-8e2e-469f-a216-c384312e2a2d" providerId="ADAL" clId="{35A947E7-0BE7-4238-BDC6-4E053781D08E}" dt="2018-11-06T14:46:58.087" v="80" actId="478"/>
          <ac:picMkLst>
            <pc:docMk/>
            <pc:sldMk cId="3666506997" sldId="324"/>
            <ac:picMk id="3" creationId="{BB94AE87-8D9A-4F68-B340-F25CF435CAAE}"/>
          </ac:picMkLst>
        </pc:picChg>
      </pc:sldChg>
      <pc:sldChg chg="modNotesTx">
        <pc:chgData name="Bob Ward" userId="6da7c2dd-8e2e-469f-a216-c384312e2a2d" providerId="ADAL" clId="{35A947E7-0BE7-4238-BDC6-4E053781D08E}" dt="2018-11-06T14:37:16.028" v="4" actId="6549"/>
        <pc:sldMkLst>
          <pc:docMk/>
          <pc:sldMk cId="3766069067" sldId="4360"/>
        </pc:sldMkLst>
      </pc:sldChg>
      <pc:sldChg chg="modSp">
        <pc:chgData name="Bob Ward" userId="6da7c2dd-8e2e-469f-a216-c384312e2a2d" providerId="ADAL" clId="{35A947E7-0BE7-4238-BDC6-4E053781D08E}" dt="2018-11-06T14:43:08.955" v="36" actId="20577"/>
        <pc:sldMkLst>
          <pc:docMk/>
          <pc:sldMk cId="276576014" sldId="4367"/>
        </pc:sldMkLst>
        <pc:spChg chg="mod">
          <ac:chgData name="Bob Ward" userId="6da7c2dd-8e2e-469f-a216-c384312e2a2d" providerId="ADAL" clId="{35A947E7-0BE7-4238-BDC6-4E053781D08E}" dt="2018-11-06T14:43:08.955" v="36" actId="20577"/>
          <ac:spMkLst>
            <pc:docMk/>
            <pc:sldMk cId="276576014" sldId="4367"/>
            <ac:spMk id="5" creationId="{BCA91216-E90D-424E-84D6-905B2F6C5CA0}"/>
          </ac:spMkLst>
        </pc:spChg>
      </pc:sldChg>
      <pc:sldChg chg="modTransition">
        <pc:chgData name="Bob Ward" userId="6da7c2dd-8e2e-469f-a216-c384312e2a2d" providerId="ADAL" clId="{35A947E7-0BE7-4238-BDC6-4E053781D08E}" dt="2018-11-06T14:35:47.340" v="3"/>
        <pc:sldMkLst>
          <pc:docMk/>
          <pc:sldMk cId="3360446397" sldId="4369"/>
        </pc:sldMkLst>
      </pc:sldChg>
      <pc:sldChg chg="modSp">
        <pc:chgData name="Bob Ward" userId="6da7c2dd-8e2e-469f-a216-c384312e2a2d" providerId="ADAL" clId="{35A947E7-0BE7-4238-BDC6-4E053781D08E}" dt="2018-11-06T14:38:59.609" v="9" actId="14100"/>
        <pc:sldMkLst>
          <pc:docMk/>
          <pc:sldMk cId="1021704877" sldId="4379"/>
        </pc:sldMkLst>
        <pc:spChg chg="mod">
          <ac:chgData name="Bob Ward" userId="6da7c2dd-8e2e-469f-a216-c384312e2a2d" providerId="ADAL" clId="{35A947E7-0BE7-4238-BDC6-4E053781D08E}" dt="2018-11-06T14:38:59.609" v="9" actId="14100"/>
          <ac:spMkLst>
            <pc:docMk/>
            <pc:sldMk cId="1021704877" sldId="4379"/>
            <ac:spMk id="6" creationId="{00000000-0000-0000-0000-000000000000}"/>
          </ac:spMkLst>
        </pc:spChg>
      </pc:sldChg>
      <pc:sldChg chg="add del">
        <pc:chgData name="Bob Ward" userId="6da7c2dd-8e2e-469f-a216-c384312e2a2d" providerId="ADAL" clId="{35A947E7-0BE7-4238-BDC6-4E053781D08E}" dt="2018-11-06T14:35:18.537" v="2"/>
        <pc:sldMkLst>
          <pc:docMk/>
          <pc:sldMk cId="1236760568" sldId="4669"/>
        </pc:sldMkLst>
      </pc:sldChg>
    </pc:docChg>
  </pc:docChgLst>
  <pc:docChgLst>
    <pc:chgData name="Bob Ward" userId="6da7c2dd-8e2e-469f-a216-c384312e2a2d" providerId="ADAL" clId="{CF9A90AB-B499-4FDE-A924-DF9BEF63B8DF}"/>
    <pc:docChg chg="undo custSel addSld delSld modSld sldOrd">
      <pc:chgData name="Bob Ward" userId="6da7c2dd-8e2e-469f-a216-c384312e2a2d" providerId="ADAL" clId="{CF9A90AB-B499-4FDE-A924-DF9BEF63B8DF}" dt="2019-01-03T14:31:56.614" v="278"/>
      <pc:docMkLst>
        <pc:docMk/>
      </pc:docMkLst>
      <pc:sldChg chg="addSp delSp modSp modTransition">
        <pc:chgData name="Bob Ward" userId="6da7c2dd-8e2e-469f-a216-c384312e2a2d" providerId="ADAL" clId="{CF9A90AB-B499-4FDE-A924-DF9BEF63B8DF}" dt="2018-12-06T21:37:21.243" v="276" actId="1076"/>
        <pc:sldMkLst>
          <pc:docMk/>
          <pc:sldMk cId="1869999325" sldId="1861"/>
        </pc:sldMkLst>
        <pc:spChg chg="add mod">
          <ac:chgData name="Bob Ward" userId="6da7c2dd-8e2e-469f-a216-c384312e2a2d" providerId="ADAL" clId="{CF9A90AB-B499-4FDE-A924-DF9BEF63B8DF}" dt="2018-12-06T21:37:21.243" v="276" actId="1076"/>
          <ac:spMkLst>
            <pc:docMk/>
            <pc:sldMk cId="1869999325" sldId="1861"/>
            <ac:spMk id="3" creationId="{2E64FF85-A4F0-446F-8EFE-A2BE02881491}"/>
          </ac:spMkLst>
        </pc:spChg>
        <pc:picChg chg="del">
          <ac:chgData name="Bob Ward" userId="6da7c2dd-8e2e-469f-a216-c384312e2a2d" providerId="ADAL" clId="{CF9A90AB-B499-4FDE-A924-DF9BEF63B8DF}" dt="2018-11-27T16:55:50.748" v="0" actId="478"/>
          <ac:picMkLst>
            <pc:docMk/>
            <pc:sldMk cId="1869999325" sldId="1861"/>
            <ac:picMk id="3" creationId="{ED5AAC40-7D58-4ECC-A011-D234AD62C3F7}"/>
          </ac:picMkLst>
        </pc:picChg>
      </pc:sldChg>
      <pc:sldChg chg="modSp modTransition modNotesTx">
        <pc:chgData name="Bob Ward" userId="6da7c2dd-8e2e-469f-a216-c384312e2a2d" providerId="ADAL" clId="{CF9A90AB-B499-4FDE-A924-DF9BEF63B8DF}" dt="2019-01-03T14:31:46.924" v="277"/>
        <pc:sldMkLst>
          <pc:docMk/>
          <pc:sldMk cId="445609033" sldId="4351"/>
        </pc:sldMkLst>
        <pc:spChg chg="mod">
          <ac:chgData name="Bob Ward" userId="6da7c2dd-8e2e-469f-a216-c384312e2a2d" providerId="ADAL" clId="{CF9A90AB-B499-4FDE-A924-DF9BEF63B8DF}" dt="2018-11-29T01:43:42.756" v="107" actId="20577"/>
          <ac:spMkLst>
            <pc:docMk/>
            <pc:sldMk cId="445609033" sldId="4351"/>
            <ac:spMk id="4" creationId="{19845D98-2CE9-45E6-9AA5-7DA5B4AF1C6D}"/>
          </ac:spMkLst>
        </pc:spChg>
      </pc:sldChg>
      <pc:sldChg chg="modSp modTransition">
        <pc:chgData name="Bob Ward" userId="6da7c2dd-8e2e-469f-a216-c384312e2a2d" providerId="ADAL" clId="{CF9A90AB-B499-4FDE-A924-DF9BEF63B8DF}" dt="2019-01-03T14:31:56.614" v="278"/>
        <pc:sldMkLst>
          <pc:docMk/>
          <pc:sldMk cId="3580746693" sldId="4357"/>
        </pc:sldMkLst>
        <pc:spChg chg="mod">
          <ac:chgData name="Bob Ward" userId="6da7c2dd-8e2e-469f-a216-c384312e2a2d" providerId="ADAL" clId="{CF9A90AB-B499-4FDE-A924-DF9BEF63B8DF}" dt="2018-11-29T01:44:06.052" v="187" actId="20577"/>
          <ac:spMkLst>
            <pc:docMk/>
            <pc:sldMk cId="3580746693" sldId="4357"/>
            <ac:spMk id="4" creationId="{00000000-0000-0000-0000-000000000000}"/>
          </ac:spMkLst>
        </pc:spChg>
      </pc:sldChg>
      <pc:sldChg chg="addSp delSp modSp ord">
        <pc:chgData name="Bob Ward" userId="6da7c2dd-8e2e-469f-a216-c384312e2a2d" providerId="ADAL" clId="{CF9A90AB-B499-4FDE-A924-DF9BEF63B8DF}" dt="2018-12-06T21:10:18.309" v="229"/>
        <pc:sldMkLst>
          <pc:docMk/>
          <pc:sldMk cId="3721142759" sldId="4359"/>
        </pc:sldMkLst>
        <pc:spChg chg="add mod">
          <ac:chgData name="Bob Ward" userId="6da7c2dd-8e2e-469f-a216-c384312e2a2d" providerId="ADAL" clId="{CF9A90AB-B499-4FDE-A924-DF9BEF63B8DF}" dt="2018-12-06T21:10:11.293" v="228" actId="11529"/>
          <ac:spMkLst>
            <pc:docMk/>
            <pc:sldMk cId="3721142759" sldId="4359"/>
            <ac:spMk id="6" creationId="{A23D6328-E77C-45FB-A4D9-078BEA2F5558}"/>
          </ac:spMkLst>
        </pc:spChg>
        <pc:spChg chg="add">
          <ac:chgData name="Bob Ward" userId="6da7c2dd-8e2e-469f-a216-c384312e2a2d" providerId="ADAL" clId="{CF9A90AB-B499-4FDE-A924-DF9BEF63B8DF}" dt="2018-12-06T21:10:18.309" v="229"/>
          <ac:spMkLst>
            <pc:docMk/>
            <pc:sldMk cId="3721142759" sldId="4359"/>
            <ac:spMk id="8" creationId="{C626E821-554F-41E9-859E-8E058436B065}"/>
          </ac:spMkLst>
        </pc:spChg>
        <pc:graphicFrameChg chg="add del mod">
          <ac:chgData name="Bob Ward" userId="6da7c2dd-8e2e-469f-a216-c384312e2a2d" providerId="ADAL" clId="{CF9A90AB-B499-4FDE-A924-DF9BEF63B8DF}" dt="2018-12-06T21:09:59.137" v="227" actId="1032"/>
          <ac:graphicFrameMkLst>
            <pc:docMk/>
            <pc:sldMk cId="3721142759" sldId="4359"/>
            <ac:graphicFrameMk id="5" creationId="{068F0089-8922-4F8F-A958-3D4E99B76F76}"/>
          </ac:graphicFrameMkLst>
        </pc:graphicFrameChg>
      </pc:sldChg>
      <pc:sldChg chg="modSp modAnim">
        <pc:chgData name="Bob Ward" userId="6da7c2dd-8e2e-469f-a216-c384312e2a2d" providerId="ADAL" clId="{CF9A90AB-B499-4FDE-A924-DF9BEF63B8DF}" dt="2018-11-27T17:01:30.240" v="69"/>
        <pc:sldMkLst>
          <pc:docMk/>
          <pc:sldMk cId="3454480862" sldId="4361"/>
        </pc:sldMkLst>
        <pc:spChg chg="mod">
          <ac:chgData name="Bob Ward" userId="6da7c2dd-8e2e-469f-a216-c384312e2a2d" providerId="ADAL" clId="{CF9A90AB-B499-4FDE-A924-DF9BEF63B8DF}" dt="2018-11-27T16:56:19.525" v="37" actId="20577"/>
          <ac:spMkLst>
            <pc:docMk/>
            <pc:sldMk cId="3454480862" sldId="4361"/>
            <ac:spMk id="2" creationId="{D0E37A8B-817C-4BAF-97EA-57F6E0E697E8}"/>
          </ac:spMkLst>
        </pc:spChg>
        <pc:spChg chg="mod">
          <ac:chgData name="Bob Ward" userId="6da7c2dd-8e2e-469f-a216-c384312e2a2d" providerId="ADAL" clId="{CF9A90AB-B499-4FDE-A924-DF9BEF63B8DF}" dt="2018-11-27T17:00:47.554" v="68" actId="20577"/>
          <ac:spMkLst>
            <pc:docMk/>
            <pc:sldMk cId="3454480862" sldId="4361"/>
            <ac:spMk id="3" creationId="{7B2A7C7E-7B3C-4E4F-9853-16303F557B12}"/>
          </ac:spMkLst>
        </pc:spChg>
      </pc:sldChg>
      <pc:sldChg chg="modTransition">
        <pc:chgData name="Bob Ward" userId="6da7c2dd-8e2e-469f-a216-c384312e2a2d" providerId="ADAL" clId="{CF9A90AB-B499-4FDE-A924-DF9BEF63B8DF}" dt="2018-12-05T23:57:09.985" v="220"/>
        <pc:sldMkLst>
          <pc:docMk/>
          <pc:sldMk cId="2497121907" sldId="4363"/>
        </pc:sldMkLst>
      </pc:sldChg>
      <pc:sldChg chg="addSp">
        <pc:chgData name="Bob Ward" userId="6da7c2dd-8e2e-469f-a216-c384312e2a2d" providerId="ADAL" clId="{CF9A90AB-B499-4FDE-A924-DF9BEF63B8DF}" dt="2018-12-06T00:01:40.765" v="223"/>
        <pc:sldMkLst>
          <pc:docMk/>
          <pc:sldMk cId="276576014" sldId="4367"/>
        </pc:sldMkLst>
        <pc:spChg chg="add">
          <ac:chgData name="Bob Ward" userId="6da7c2dd-8e2e-469f-a216-c384312e2a2d" providerId="ADAL" clId="{CF9A90AB-B499-4FDE-A924-DF9BEF63B8DF}" dt="2018-12-06T00:01:40.765" v="223"/>
          <ac:spMkLst>
            <pc:docMk/>
            <pc:sldMk cId="276576014" sldId="4367"/>
            <ac:spMk id="10" creationId="{3F0FF318-DC7F-48E5-A671-424D48FC4818}"/>
          </ac:spMkLst>
        </pc:spChg>
      </pc:sldChg>
      <pc:sldChg chg="modTransition">
        <pc:chgData name="Bob Ward" userId="6da7c2dd-8e2e-469f-a216-c384312e2a2d" providerId="ADAL" clId="{CF9A90AB-B499-4FDE-A924-DF9BEF63B8DF}" dt="2018-12-06T00:03:55.845" v="225"/>
        <pc:sldMkLst>
          <pc:docMk/>
          <pc:sldMk cId="1236760568" sldId="4669"/>
        </pc:sldMkLst>
      </pc:sldChg>
      <pc:sldChg chg="modSp">
        <pc:chgData name="Bob Ward" userId="6da7c2dd-8e2e-469f-a216-c384312e2a2d" providerId="ADAL" clId="{CF9A90AB-B499-4FDE-A924-DF9BEF63B8DF}" dt="2018-12-06T00:00:05.182" v="221" actId="2711"/>
        <pc:sldMkLst>
          <pc:docMk/>
          <pc:sldMk cId="2849558357" sldId="4670"/>
        </pc:sldMkLst>
        <pc:spChg chg="mod">
          <ac:chgData name="Bob Ward" userId="6da7c2dd-8e2e-469f-a216-c384312e2a2d" providerId="ADAL" clId="{CF9A90AB-B499-4FDE-A924-DF9BEF63B8DF}" dt="2018-12-06T00:00:05.182" v="221" actId="2711"/>
          <ac:spMkLst>
            <pc:docMk/>
            <pc:sldMk cId="2849558357" sldId="4670"/>
            <ac:spMk id="6" creationId="{00000000-0000-0000-0000-000000000000}"/>
          </ac:spMkLst>
        </pc:spChg>
      </pc:sldChg>
      <pc:sldChg chg="add del ord">
        <pc:chgData name="Bob Ward" userId="6da7c2dd-8e2e-469f-a216-c384312e2a2d" providerId="ADAL" clId="{CF9A90AB-B499-4FDE-A924-DF9BEF63B8DF}" dt="2018-11-29T01:43:20.044" v="73"/>
        <pc:sldMkLst>
          <pc:docMk/>
          <pc:sldMk cId="793228388" sldId="4671"/>
        </pc:sldMkLst>
      </pc:sldChg>
    </pc:docChg>
  </pc:docChgLst>
  <pc:docChgLst>
    <pc:chgData name="Bob Ward" userId="6da7c2dd-8e2e-469f-a216-c384312e2a2d" providerId="ADAL" clId="{1DC02916-B96B-4A1C-898B-2B470794A648}"/>
    <pc:docChg chg="undo custSel addSld delSld modSld sldOrd modSection">
      <pc:chgData name="Bob Ward" userId="6da7c2dd-8e2e-469f-a216-c384312e2a2d" providerId="ADAL" clId="{1DC02916-B96B-4A1C-898B-2B470794A648}" dt="2019-01-17T23:48:07.439" v="2222" actId="1076"/>
      <pc:docMkLst>
        <pc:docMk/>
      </pc:docMkLst>
      <pc:sldChg chg="modSp add">
        <pc:chgData name="Bob Ward" userId="6da7c2dd-8e2e-469f-a216-c384312e2a2d" providerId="ADAL" clId="{1DC02916-B96B-4A1C-898B-2B470794A648}" dt="2019-01-17T23:45:00.797" v="2068" actId="20577"/>
        <pc:sldMkLst>
          <pc:docMk/>
          <pc:sldMk cId="940594756" sldId="300"/>
        </pc:sldMkLst>
        <pc:spChg chg="mod">
          <ac:chgData name="Bob Ward" userId="6da7c2dd-8e2e-469f-a216-c384312e2a2d" providerId="ADAL" clId="{1DC02916-B96B-4A1C-898B-2B470794A648}" dt="2019-01-17T23:45:00.797" v="2068" actId="20577"/>
          <ac:spMkLst>
            <pc:docMk/>
            <pc:sldMk cId="940594756" sldId="300"/>
            <ac:spMk id="59" creationId="{51F67288-4225-2446-9C6F-47E04CFDE915}"/>
          </ac:spMkLst>
        </pc:spChg>
      </pc:sldChg>
      <pc:sldChg chg="modSp add">
        <pc:chgData name="Bob Ward" userId="6da7c2dd-8e2e-469f-a216-c384312e2a2d" providerId="ADAL" clId="{1DC02916-B96B-4A1C-898B-2B470794A648}" dt="2019-01-17T23:44:44.385" v="2040" actId="20577"/>
        <pc:sldMkLst>
          <pc:docMk/>
          <pc:sldMk cId="3734631647" sldId="599"/>
        </pc:sldMkLst>
        <pc:spChg chg="mod">
          <ac:chgData name="Bob Ward" userId="6da7c2dd-8e2e-469f-a216-c384312e2a2d" providerId="ADAL" clId="{1DC02916-B96B-4A1C-898B-2B470794A648}" dt="2019-01-17T23:44:44.385" v="2040" actId="20577"/>
          <ac:spMkLst>
            <pc:docMk/>
            <pc:sldMk cId="3734631647" sldId="599"/>
            <ac:spMk id="2" creationId="{8E3FC566-493B-44F4-9043-EC75600C2F44}"/>
          </ac:spMkLst>
        </pc:spChg>
      </pc:sldChg>
      <pc:sldChg chg="modSp">
        <pc:chgData name="Bob Ward" userId="6da7c2dd-8e2e-469f-a216-c384312e2a2d" providerId="ADAL" clId="{1DC02916-B96B-4A1C-898B-2B470794A648}" dt="2019-01-17T23:45:35.663" v="2092" actId="1076"/>
        <pc:sldMkLst>
          <pc:docMk/>
          <pc:sldMk cId="1057058229" sldId="1247"/>
        </pc:sldMkLst>
        <pc:spChg chg="mod">
          <ac:chgData name="Bob Ward" userId="6da7c2dd-8e2e-469f-a216-c384312e2a2d" providerId="ADAL" clId="{1DC02916-B96B-4A1C-898B-2B470794A648}" dt="2019-01-17T23:45:28.391" v="2091" actId="20577"/>
          <ac:spMkLst>
            <pc:docMk/>
            <pc:sldMk cId="1057058229" sldId="1247"/>
            <ac:spMk id="2" creationId="{D53BB3F0-C6E8-4B45-BF0D-A821BECF14F2}"/>
          </ac:spMkLst>
        </pc:spChg>
        <pc:picChg chg="mod">
          <ac:chgData name="Bob Ward" userId="6da7c2dd-8e2e-469f-a216-c384312e2a2d" providerId="ADAL" clId="{1DC02916-B96B-4A1C-898B-2B470794A648}" dt="2019-01-17T23:45:35.663" v="2092" actId="1076"/>
          <ac:picMkLst>
            <pc:docMk/>
            <pc:sldMk cId="1057058229" sldId="1247"/>
            <ac:picMk id="253" creationId="{C82ECAE6-3E1B-4F7A-8463-24AECF9147B2}"/>
          </ac:picMkLst>
        </pc:picChg>
      </pc:sldChg>
      <pc:sldChg chg="modSp">
        <pc:chgData name="Bob Ward" userId="6da7c2dd-8e2e-469f-a216-c384312e2a2d" providerId="ADAL" clId="{1DC02916-B96B-4A1C-898B-2B470794A648}" dt="2019-01-17T22:37:11.419" v="131" actId="20577"/>
        <pc:sldMkLst>
          <pc:docMk/>
          <pc:sldMk cId="1869999325" sldId="1861"/>
        </pc:sldMkLst>
        <pc:spChg chg="mod">
          <ac:chgData name="Bob Ward" userId="6da7c2dd-8e2e-469f-a216-c384312e2a2d" providerId="ADAL" clId="{1DC02916-B96B-4A1C-898B-2B470794A648}" dt="2019-01-17T22:37:11.419" v="131" actId="20577"/>
          <ac:spMkLst>
            <pc:docMk/>
            <pc:sldMk cId="1869999325" sldId="1861"/>
            <ac:spMk id="2" creationId="{AF57CFD1-12DE-4287-8E0D-77F399553290}"/>
          </ac:spMkLst>
        </pc:spChg>
        <pc:spChg chg="mod">
          <ac:chgData name="Bob Ward" userId="6da7c2dd-8e2e-469f-a216-c384312e2a2d" providerId="ADAL" clId="{1DC02916-B96B-4A1C-898B-2B470794A648}" dt="2019-01-17T22:33:09.431" v="85" actId="20577"/>
          <ac:spMkLst>
            <pc:docMk/>
            <pc:sldMk cId="1869999325" sldId="1861"/>
            <ac:spMk id="6" creationId="{ACBB8B40-F3D1-4331-B430-E127860A693D}"/>
          </ac:spMkLst>
        </pc:spChg>
      </pc:sldChg>
      <pc:sldChg chg="add">
        <pc:chgData name="Bob Ward" userId="6da7c2dd-8e2e-469f-a216-c384312e2a2d" providerId="ADAL" clId="{1DC02916-B96B-4A1C-898B-2B470794A648}" dt="2019-01-17T23:44:13.701" v="2004"/>
        <pc:sldMkLst>
          <pc:docMk/>
          <pc:sldMk cId="691647947" sldId="3211"/>
        </pc:sldMkLst>
      </pc:sldChg>
      <pc:sldChg chg="modSp modNotesTx">
        <pc:chgData name="Bob Ward" userId="6da7c2dd-8e2e-469f-a216-c384312e2a2d" providerId="ADAL" clId="{1DC02916-B96B-4A1C-898B-2B470794A648}" dt="2019-01-17T23:46:50.515" v="2220" actId="20577"/>
        <pc:sldMkLst>
          <pc:docMk/>
          <pc:sldMk cId="445609033" sldId="4351"/>
        </pc:sldMkLst>
        <pc:spChg chg="mod">
          <ac:chgData name="Bob Ward" userId="6da7c2dd-8e2e-469f-a216-c384312e2a2d" providerId="ADAL" clId="{1DC02916-B96B-4A1C-898B-2B470794A648}" dt="2019-01-17T23:46:50.515" v="2220" actId="20577"/>
          <ac:spMkLst>
            <pc:docMk/>
            <pc:sldMk cId="445609033" sldId="4351"/>
            <ac:spMk id="3" creationId="{00000000-0000-0000-0000-000000000000}"/>
          </ac:spMkLst>
        </pc:spChg>
        <pc:spChg chg="mod">
          <ac:chgData name="Bob Ward" userId="6da7c2dd-8e2e-469f-a216-c384312e2a2d" providerId="ADAL" clId="{1DC02916-B96B-4A1C-898B-2B470794A648}" dt="2019-01-17T23:42:57.919" v="1977" actId="20577"/>
          <ac:spMkLst>
            <pc:docMk/>
            <pc:sldMk cId="445609033" sldId="4351"/>
            <ac:spMk id="4" creationId="{19845D98-2CE9-45E6-9AA5-7DA5B4AF1C6D}"/>
          </ac:spMkLst>
        </pc:spChg>
      </pc:sldChg>
      <pc:sldChg chg="addSp modSp">
        <pc:chgData name="Bob Ward" userId="6da7c2dd-8e2e-469f-a216-c384312e2a2d" providerId="ADAL" clId="{1DC02916-B96B-4A1C-898B-2B470794A648}" dt="2019-01-17T23:48:07.439" v="2222" actId="1076"/>
        <pc:sldMkLst>
          <pc:docMk/>
          <pc:sldMk cId="1087001240" sldId="4355"/>
        </pc:sldMkLst>
        <pc:spChg chg="add mod">
          <ac:chgData name="Bob Ward" userId="6da7c2dd-8e2e-469f-a216-c384312e2a2d" providerId="ADAL" clId="{1DC02916-B96B-4A1C-898B-2B470794A648}" dt="2019-01-17T23:48:07.439" v="2222" actId="1076"/>
          <ac:spMkLst>
            <pc:docMk/>
            <pc:sldMk cId="1087001240" sldId="4355"/>
            <ac:spMk id="61" creationId="{FDE8F9E0-1BB5-4898-90D4-07D4810740B9}"/>
          </ac:spMkLst>
        </pc:spChg>
        <pc:picChg chg="add mod">
          <ac:chgData name="Bob Ward" userId="6da7c2dd-8e2e-469f-a216-c384312e2a2d" providerId="ADAL" clId="{1DC02916-B96B-4A1C-898B-2B470794A648}" dt="2019-01-17T23:48:07.439" v="2222" actId="1076"/>
          <ac:picMkLst>
            <pc:docMk/>
            <pc:sldMk cId="1087001240" sldId="4355"/>
            <ac:picMk id="62" creationId="{17A4A74C-DC6F-49AA-A526-8754DE0909BB}"/>
          </ac:picMkLst>
        </pc:picChg>
      </pc:sldChg>
      <pc:sldChg chg="modSp modNotesTx">
        <pc:chgData name="Bob Ward" userId="6da7c2dd-8e2e-469f-a216-c384312e2a2d" providerId="ADAL" clId="{1DC02916-B96B-4A1C-898B-2B470794A648}" dt="2019-01-17T23:30:49.662" v="1763" actId="20577"/>
        <pc:sldMkLst>
          <pc:docMk/>
          <pc:sldMk cId="3580746693" sldId="4357"/>
        </pc:sldMkLst>
        <pc:spChg chg="mod">
          <ac:chgData name="Bob Ward" userId="6da7c2dd-8e2e-469f-a216-c384312e2a2d" providerId="ADAL" clId="{1DC02916-B96B-4A1C-898B-2B470794A648}" dt="2019-01-17T23:30:42.774" v="1746" actId="20577"/>
          <ac:spMkLst>
            <pc:docMk/>
            <pc:sldMk cId="3580746693" sldId="4357"/>
            <ac:spMk id="4" creationId="{00000000-0000-0000-0000-000000000000}"/>
          </ac:spMkLst>
        </pc:spChg>
      </pc:sldChg>
      <pc:sldChg chg="ord">
        <pc:chgData name="Bob Ward" userId="6da7c2dd-8e2e-469f-a216-c384312e2a2d" providerId="ADAL" clId="{1DC02916-B96B-4A1C-898B-2B470794A648}" dt="2019-01-17T23:00:09.224" v="1188"/>
        <pc:sldMkLst>
          <pc:docMk/>
          <pc:sldMk cId="870761287" sldId="4358"/>
        </pc:sldMkLst>
      </pc:sldChg>
      <pc:sldChg chg="ord modNotesTx">
        <pc:chgData name="Bob Ward" userId="6da7c2dd-8e2e-469f-a216-c384312e2a2d" providerId="ADAL" clId="{1DC02916-B96B-4A1C-898B-2B470794A648}" dt="2019-01-17T23:29:09.117" v="1469" actId="20577"/>
        <pc:sldMkLst>
          <pc:docMk/>
          <pc:sldMk cId="3721142759" sldId="4359"/>
        </pc:sldMkLst>
      </pc:sldChg>
      <pc:sldChg chg="del">
        <pc:chgData name="Bob Ward" userId="6da7c2dd-8e2e-469f-a216-c384312e2a2d" providerId="ADAL" clId="{1DC02916-B96B-4A1C-898B-2B470794A648}" dt="2019-01-17T23:23:46.206" v="1402" actId="2696"/>
        <pc:sldMkLst>
          <pc:docMk/>
          <pc:sldMk cId="3766069067" sldId="4360"/>
        </pc:sldMkLst>
      </pc:sldChg>
      <pc:sldChg chg="modTransition">
        <pc:chgData name="Bob Ward" userId="6da7c2dd-8e2e-469f-a216-c384312e2a2d" providerId="ADAL" clId="{1DC02916-B96B-4A1C-898B-2B470794A648}" dt="2019-01-17T22:55:11.576" v="1023"/>
        <pc:sldMkLst>
          <pc:docMk/>
          <pc:sldMk cId="2497121907" sldId="4363"/>
        </pc:sldMkLst>
      </pc:sldChg>
      <pc:sldChg chg="del ord">
        <pc:chgData name="Bob Ward" userId="6da7c2dd-8e2e-469f-a216-c384312e2a2d" providerId="ADAL" clId="{1DC02916-B96B-4A1C-898B-2B470794A648}" dt="2019-01-17T23:12:09.959" v="1279" actId="2696"/>
        <pc:sldMkLst>
          <pc:docMk/>
          <pc:sldMk cId="3032733911" sldId="4364"/>
        </pc:sldMkLst>
      </pc:sldChg>
      <pc:sldChg chg="del">
        <pc:chgData name="Bob Ward" userId="6da7c2dd-8e2e-469f-a216-c384312e2a2d" providerId="ADAL" clId="{1DC02916-B96B-4A1C-898B-2B470794A648}" dt="2019-01-17T23:03:04.289" v="1214" actId="2696"/>
        <pc:sldMkLst>
          <pc:docMk/>
          <pc:sldMk cId="107596063" sldId="4365"/>
        </pc:sldMkLst>
      </pc:sldChg>
      <pc:sldChg chg="modSp">
        <pc:chgData name="Bob Ward" userId="6da7c2dd-8e2e-469f-a216-c384312e2a2d" providerId="ADAL" clId="{1DC02916-B96B-4A1C-898B-2B470794A648}" dt="2019-01-17T23:03:08.929" v="1232" actId="20577"/>
        <pc:sldMkLst>
          <pc:docMk/>
          <pc:sldMk cId="1021704877" sldId="4379"/>
        </pc:sldMkLst>
        <pc:spChg chg="mod">
          <ac:chgData name="Bob Ward" userId="6da7c2dd-8e2e-469f-a216-c384312e2a2d" providerId="ADAL" clId="{1DC02916-B96B-4A1C-898B-2B470794A648}" dt="2019-01-17T23:03:08.929" v="1232" actId="20577"/>
          <ac:spMkLst>
            <pc:docMk/>
            <pc:sldMk cId="1021704877" sldId="4379"/>
            <ac:spMk id="17" creationId="{00000000-0000-0000-0000-000000000000}"/>
          </ac:spMkLst>
        </pc:spChg>
      </pc:sldChg>
      <pc:sldChg chg="add">
        <pc:chgData name="Bob Ward" userId="6da7c2dd-8e2e-469f-a216-c384312e2a2d" providerId="ADAL" clId="{1DC02916-B96B-4A1C-898B-2B470794A648}" dt="2019-01-17T23:10:04.558" v="1277"/>
        <pc:sldMkLst>
          <pc:docMk/>
          <pc:sldMk cId="537828195" sldId="4509"/>
        </pc:sldMkLst>
      </pc:sldChg>
      <pc:sldChg chg="modSp add del">
        <pc:chgData name="Bob Ward" userId="6da7c2dd-8e2e-469f-a216-c384312e2a2d" providerId="ADAL" clId="{1DC02916-B96B-4A1C-898B-2B470794A648}" dt="2019-01-17T23:28:54.534" v="1412" actId="2696"/>
        <pc:sldMkLst>
          <pc:docMk/>
          <pc:sldMk cId="3740122714" sldId="4510"/>
        </pc:sldMkLst>
        <pc:spChg chg="mod">
          <ac:chgData name="Bob Ward" userId="6da7c2dd-8e2e-469f-a216-c384312e2a2d" providerId="ADAL" clId="{1DC02916-B96B-4A1C-898B-2B470794A648}" dt="2019-01-17T23:12:36.454" v="1305" actId="20577"/>
          <ac:spMkLst>
            <pc:docMk/>
            <pc:sldMk cId="3740122714" sldId="4510"/>
            <ac:spMk id="27" creationId="{C5348828-34BF-9240-B0FE-9BFC7DE8E126}"/>
          </ac:spMkLst>
        </pc:spChg>
        <pc:cxnChg chg="mod">
          <ac:chgData name="Bob Ward" userId="6da7c2dd-8e2e-469f-a216-c384312e2a2d" providerId="ADAL" clId="{1DC02916-B96B-4A1C-898B-2B470794A648}" dt="2019-01-17T23:28:30.212" v="1411" actId="208"/>
          <ac:cxnSpMkLst>
            <pc:docMk/>
            <pc:sldMk cId="3740122714" sldId="4510"/>
            <ac:cxnSpMk id="28" creationId="{6A76343F-5938-C141-89A6-93BB86E9F2A4}"/>
          </ac:cxnSpMkLst>
        </pc:cxnChg>
        <pc:cxnChg chg="mod">
          <ac:chgData name="Bob Ward" userId="6da7c2dd-8e2e-469f-a216-c384312e2a2d" providerId="ADAL" clId="{1DC02916-B96B-4A1C-898B-2B470794A648}" dt="2019-01-17T23:28:30.212" v="1411" actId="208"/>
          <ac:cxnSpMkLst>
            <pc:docMk/>
            <pc:sldMk cId="3740122714" sldId="4510"/>
            <ac:cxnSpMk id="30" creationId="{CC297370-8F4B-C947-8CE5-D555F42A3A0E}"/>
          </ac:cxnSpMkLst>
        </pc:cxnChg>
        <pc:cxnChg chg="mod">
          <ac:chgData name="Bob Ward" userId="6da7c2dd-8e2e-469f-a216-c384312e2a2d" providerId="ADAL" clId="{1DC02916-B96B-4A1C-898B-2B470794A648}" dt="2019-01-17T23:28:30.212" v="1411" actId="208"/>
          <ac:cxnSpMkLst>
            <pc:docMk/>
            <pc:sldMk cId="3740122714" sldId="4510"/>
            <ac:cxnSpMk id="34" creationId="{0B6C847F-F8C6-8D49-BB77-8A6F28C297F2}"/>
          </ac:cxnSpMkLst>
        </pc:cxnChg>
        <pc:cxnChg chg="mod">
          <ac:chgData name="Bob Ward" userId="6da7c2dd-8e2e-469f-a216-c384312e2a2d" providerId="ADAL" clId="{1DC02916-B96B-4A1C-898B-2B470794A648}" dt="2019-01-17T23:28:30.212" v="1411" actId="208"/>
          <ac:cxnSpMkLst>
            <pc:docMk/>
            <pc:sldMk cId="3740122714" sldId="4510"/>
            <ac:cxnSpMk id="38" creationId="{8F186F8A-5EBC-4A10-A69F-45181CCA0707}"/>
          </ac:cxnSpMkLst>
        </pc:cxnChg>
      </pc:sldChg>
      <pc:sldChg chg="add">
        <pc:chgData name="Bob Ward" userId="6da7c2dd-8e2e-469f-a216-c384312e2a2d" providerId="ADAL" clId="{1DC02916-B96B-4A1C-898B-2B470794A648}" dt="2019-01-17T23:22:38.451" v="1306"/>
        <pc:sldMkLst>
          <pc:docMk/>
          <pc:sldMk cId="3044339129" sldId="4512"/>
        </pc:sldMkLst>
      </pc:sldChg>
      <pc:sldChg chg="addSp modSp add">
        <pc:chgData name="Bob Ward" userId="6da7c2dd-8e2e-469f-a216-c384312e2a2d" providerId="ADAL" clId="{1DC02916-B96B-4A1C-898B-2B470794A648}" dt="2019-01-17T23:24:39.304" v="1410" actId="208"/>
        <pc:sldMkLst>
          <pc:docMk/>
          <pc:sldMk cId="4023305083" sldId="4524"/>
        </pc:sldMkLst>
        <pc:spChg chg="mod">
          <ac:chgData name="Bob Ward" userId="6da7c2dd-8e2e-469f-a216-c384312e2a2d" providerId="ADAL" clId="{1DC02916-B96B-4A1C-898B-2B470794A648}" dt="2019-01-17T23:23:37.991" v="1401" actId="6549"/>
          <ac:spMkLst>
            <pc:docMk/>
            <pc:sldMk cId="4023305083" sldId="4524"/>
            <ac:spMk id="3" creationId="{0326F37C-242E-4D5C-9985-21ADC1F94314}"/>
          </ac:spMkLst>
        </pc:spChg>
        <pc:spChg chg="add mod ord">
          <ac:chgData name="Bob Ward" userId="6da7c2dd-8e2e-469f-a216-c384312e2a2d" providerId="ADAL" clId="{1DC02916-B96B-4A1C-898B-2B470794A648}" dt="2019-01-17T23:24:19.666" v="1407" actId="14100"/>
          <ac:spMkLst>
            <pc:docMk/>
            <pc:sldMk cId="4023305083" sldId="4524"/>
            <ac:spMk id="69" creationId="{071EA82D-AD81-49BA-8A09-941F7B0B6109}"/>
          </ac:spMkLst>
        </pc:spChg>
        <pc:spChg chg="mod">
          <ac:chgData name="Bob Ward" userId="6da7c2dd-8e2e-469f-a216-c384312e2a2d" providerId="ADAL" clId="{1DC02916-B96B-4A1C-898B-2B470794A648}" dt="2019-01-17T23:24:29.511" v="1409" actId="208"/>
          <ac:spMkLst>
            <pc:docMk/>
            <pc:sldMk cId="4023305083" sldId="4524"/>
            <ac:spMk id="117" creationId="{594C84C0-4293-DE4A-9D0E-EF66BF407F06}"/>
          </ac:spMkLst>
        </pc:spChg>
        <pc:spChg chg="mod">
          <ac:chgData name="Bob Ward" userId="6da7c2dd-8e2e-469f-a216-c384312e2a2d" providerId="ADAL" clId="{1DC02916-B96B-4A1C-898B-2B470794A648}" dt="2019-01-17T23:24:24.970" v="1408" actId="208"/>
          <ac:spMkLst>
            <pc:docMk/>
            <pc:sldMk cId="4023305083" sldId="4524"/>
            <ac:spMk id="118" creationId="{99434DB6-C53B-E847-979F-D41F8C6AE91B}"/>
          </ac:spMkLst>
        </pc:spChg>
        <pc:spChg chg="mod">
          <ac:chgData name="Bob Ward" userId="6da7c2dd-8e2e-469f-a216-c384312e2a2d" providerId="ADAL" clId="{1DC02916-B96B-4A1C-898B-2B470794A648}" dt="2019-01-17T23:24:39.304" v="1410" actId="208"/>
          <ac:spMkLst>
            <pc:docMk/>
            <pc:sldMk cId="4023305083" sldId="4524"/>
            <ac:spMk id="120" creationId="{8DAE9158-3CA9-5640-A4F5-80BC8E690763}"/>
          </ac:spMkLst>
        </pc:spChg>
      </pc:sldChg>
      <pc:sldChg chg="addSp delSp modSp add">
        <pc:chgData name="Bob Ward" userId="6da7c2dd-8e2e-469f-a216-c384312e2a2d" providerId="ADAL" clId="{1DC02916-B96B-4A1C-898B-2B470794A648}" dt="2019-01-17T23:41:45.039" v="1870" actId="1076"/>
        <pc:sldMkLst>
          <pc:docMk/>
          <pc:sldMk cId="462353666" sldId="4671"/>
        </pc:sldMkLst>
        <pc:spChg chg="del">
          <ac:chgData name="Bob Ward" userId="6da7c2dd-8e2e-469f-a216-c384312e2a2d" providerId="ADAL" clId="{1DC02916-B96B-4A1C-898B-2B470794A648}" dt="2019-01-17T23:41:25.786" v="1863" actId="931"/>
          <ac:spMkLst>
            <pc:docMk/>
            <pc:sldMk cId="462353666" sldId="4671"/>
            <ac:spMk id="2" creationId="{CBC186E3-5F1C-4215-834E-28BC0B943F58}"/>
          </ac:spMkLst>
        </pc:spChg>
        <pc:spChg chg="mod">
          <ac:chgData name="Bob Ward" userId="6da7c2dd-8e2e-469f-a216-c384312e2a2d" providerId="ADAL" clId="{1DC02916-B96B-4A1C-898B-2B470794A648}" dt="2019-01-17T22:51:45.329" v="873" actId="1076"/>
          <ac:spMkLst>
            <pc:docMk/>
            <pc:sldMk cId="462353666" sldId="4671"/>
            <ac:spMk id="3" creationId="{5F4F1939-8F07-470E-8893-CC6355A4463C}"/>
          </ac:spMkLst>
        </pc:spChg>
        <pc:spChg chg="mod">
          <ac:chgData name="Bob Ward" userId="6da7c2dd-8e2e-469f-a216-c384312e2a2d" providerId="ADAL" clId="{1DC02916-B96B-4A1C-898B-2B470794A648}" dt="2019-01-17T23:41:45.039" v="1870" actId="1076"/>
          <ac:spMkLst>
            <pc:docMk/>
            <pc:sldMk cId="462353666" sldId="4671"/>
            <ac:spMk id="4" creationId="{3FD460F1-8934-4D85-9E6B-F2F97B124D32}"/>
          </ac:spMkLst>
        </pc:spChg>
        <pc:picChg chg="add mod">
          <ac:chgData name="Bob Ward" userId="6da7c2dd-8e2e-469f-a216-c384312e2a2d" providerId="ADAL" clId="{1DC02916-B96B-4A1C-898B-2B470794A648}" dt="2019-01-17T23:41:34.286" v="1866" actId="1076"/>
          <ac:picMkLst>
            <pc:docMk/>
            <pc:sldMk cId="462353666" sldId="4671"/>
            <ac:picMk id="6" creationId="{4368A3B9-4C24-4C0E-AFEA-7DC2DCAEDBAF}"/>
          </ac:picMkLst>
        </pc:picChg>
      </pc:sldChg>
      <pc:sldChg chg="add del">
        <pc:chgData name="Bob Ward" userId="6da7c2dd-8e2e-469f-a216-c384312e2a2d" providerId="ADAL" clId="{1DC02916-B96B-4A1C-898B-2B470794A648}" dt="2019-01-17T22:43:59.506" v="133"/>
        <pc:sldMkLst>
          <pc:docMk/>
          <pc:sldMk cId="831882893" sldId="4671"/>
        </pc:sldMkLst>
      </pc:sldChg>
      <pc:sldChg chg="add del">
        <pc:chgData name="Bob Ward" userId="6da7c2dd-8e2e-469f-a216-c384312e2a2d" providerId="ADAL" clId="{1DC02916-B96B-4A1C-898B-2B470794A648}" dt="2019-01-17T22:45:02.603" v="137"/>
        <pc:sldMkLst>
          <pc:docMk/>
          <pc:sldMk cId="1670984002" sldId="4671"/>
        </pc:sldMkLst>
      </pc:sldChg>
      <pc:sldChg chg="add del">
        <pc:chgData name="Bob Ward" userId="6da7c2dd-8e2e-469f-a216-c384312e2a2d" providerId="ADAL" clId="{1DC02916-B96B-4A1C-898B-2B470794A648}" dt="2019-01-17T22:44:27.106" v="135"/>
        <pc:sldMkLst>
          <pc:docMk/>
          <pc:sldMk cId="3555373367" sldId="4671"/>
        </pc:sldMkLst>
      </pc:sldChg>
      <pc:sldChg chg="modSp add">
        <pc:chgData name="Bob Ward" userId="6da7c2dd-8e2e-469f-a216-c384312e2a2d" providerId="ADAL" clId="{1DC02916-B96B-4A1C-898B-2B470794A648}" dt="2019-01-17T22:53:18.720" v="922" actId="20577"/>
        <pc:sldMkLst>
          <pc:docMk/>
          <pc:sldMk cId="3986034393" sldId="4672"/>
        </pc:sldMkLst>
        <pc:spChg chg="mod">
          <ac:chgData name="Bob Ward" userId="6da7c2dd-8e2e-469f-a216-c384312e2a2d" providerId="ADAL" clId="{1DC02916-B96B-4A1C-898B-2B470794A648}" dt="2019-01-17T22:53:18.720" v="922" actId="20577"/>
          <ac:spMkLst>
            <pc:docMk/>
            <pc:sldMk cId="3986034393" sldId="4672"/>
            <ac:spMk id="2" creationId="{131DE104-D85B-43D4-AC99-58903696A798}"/>
          </ac:spMkLst>
        </pc:spChg>
      </pc:sldChg>
      <pc:sldChg chg="modSp add ord modNotesTx">
        <pc:chgData name="Bob Ward" userId="6da7c2dd-8e2e-469f-a216-c384312e2a2d" providerId="ADAL" clId="{1DC02916-B96B-4A1C-898B-2B470794A648}" dt="2019-01-17T23:29:59.637" v="1657" actId="20577"/>
        <pc:sldMkLst>
          <pc:docMk/>
          <pc:sldMk cId="4126442811" sldId="4673"/>
        </pc:sldMkLst>
        <pc:spChg chg="mod">
          <ac:chgData name="Bob Ward" userId="6da7c2dd-8e2e-469f-a216-c384312e2a2d" providerId="ADAL" clId="{1DC02916-B96B-4A1C-898B-2B470794A648}" dt="2019-01-17T22:55:05.797" v="1022" actId="20577"/>
          <ac:spMkLst>
            <pc:docMk/>
            <pc:sldMk cId="4126442811" sldId="4673"/>
            <ac:spMk id="2" creationId="{131DE104-D85B-43D4-AC99-58903696A798}"/>
          </ac:spMkLst>
        </pc:spChg>
      </pc:sldChg>
      <pc:sldChg chg="modSp add ord">
        <pc:chgData name="Bob Ward" userId="6da7c2dd-8e2e-469f-a216-c384312e2a2d" providerId="ADAL" clId="{1DC02916-B96B-4A1C-898B-2B470794A648}" dt="2019-01-17T22:57:37.829" v="1065" actId="20577"/>
        <pc:sldMkLst>
          <pc:docMk/>
          <pc:sldMk cId="1126219469" sldId="4674"/>
        </pc:sldMkLst>
        <pc:spChg chg="mod">
          <ac:chgData name="Bob Ward" userId="6da7c2dd-8e2e-469f-a216-c384312e2a2d" providerId="ADAL" clId="{1DC02916-B96B-4A1C-898B-2B470794A648}" dt="2019-01-17T22:57:37.829" v="1065" actId="20577"/>
          <ac:spMkLst>
            <pc:docMk/>
            <pc:sldMk cId="1126219469" sldId="4674"/>
            <ac:spMk id="2" creationId="{131DE104-D85B-43D4-AC99-58903696A798}"/>
          </ac:spMkLst>
        </pc:spChg>
      </pc:sldChg>
      <pc:sldChg chg="modSp add ord">
        <pc:chgData name="Bob Ward" userId="6da7c2dd-8e2e-469f-a216-c384312e2a2d" providerId="ADAL" clId="{1DC02916-B96B-4A1C-898B-2B470794A648}" dt="2019-01-17T22:58:15.348" v="1095" actId="20577"/>
        <pc:sldMkLst>
          <pc:docMk/>
          <pc:sldMk cId="1489928992" sldId="4675"/>
        </pc:sldMkLst>
        <pc:spChg chg="mod">
          <ac:chgData name="Bob Ward" userId="6da7c2dd-8e2e-469f-a216-c384312e2a2d" providerId="ADAL" clId="{1DC02916-B96B-4A1C-898B-2B470794A648}" dt="2019-01-17T22:58:15.348" v="1095" actId="20577"/>
          <ac:spMkLst>
            <pc:docMk/>
            <pc:sldMk cId="1489928992" sldId="4675"/>
            <ac:spMk id="2" creationId="{131DE104-D85B-43D4-AC99-58903696A798}"/>
          </ac:spMkLst>
        </pc:spChg>
      </pc:sldChg>
      <pc:sldChg chg="modSp add ord">
        <pc:chgData name="Bob Ward" userId="6da7c2dd-8e2e-469f-a216-c384312e2a2d" providerId="ADAL" clId="{1DC02916-B96B-4A1C-898B-2B470794A648}" dt="2019-01-17T22:58:32.571" v="1144" actId="20577"/>
        <pc:sldMkLst>
          <pc:docMk/>
          <pc:sldMk cId="2723179339" sldId="4676"/>
        </pc:sldMkLst>
        <pc:spChg chg="mod">
          <ac:chgData name="Bob Ward" userId="6da7c2dd-8e2e-469f-a216-c384312e2a2d" providerId="ADAL" clId="{1DC02916-B96B-4A1C-898B-2B470794A648}" dt="2019-01-17T22:58:32.571" v="1144" actId="20577"/>
          <ac:spMkLst>
            <pc:docMk/>
            <pc:sldMk cId="2723179339" sldId="4676"/>
            <ac:spMk id="2" creationId="{131DE104-D85B-43D4-AC99-58903696A798}"/>
          </ac:spMkLst>
        </pc:spChg>
      </pc:sldChg>
      <pc:sldChg chg="modSp add ord">
        <pc:chgData name="Bob Ward" userId="6da7c2dd-8e2e-469f-a216-c384312e2a2d" providerId="ADAL" clId="{1DC02916-B96B-4A1C-898B-2B470794A648}" dt="2019-01-17T22:59:37.029" v="1186" actId="20577"/>
        <pc:sldMkLst>
          <pc:docMk/>
          <pc:sldMk cId="3139904282" sldId="4677"/>
        </pc:sldMkLst>
        <pc:spChg chg="mod">
          <ac:chgData name="Bob Ward" userId="6da7c2dd-8e2e-469f-a216-c384312e2a2d" providerId="ADAL" clId="{1DC02916-B96B-4A1C-898B-2B470794A648}" dt="2019-01-17T22:59:37.029" v="1186" actId="20577"/>
          <ac:spMkLst>
            <pc:docMk/>
            <pc:sldMk cId="3139904282" sldId="4677"/>
            <ac:spMk id="2" creationId="{131DE104-D85B-43D4-AC99-58903696A798}"/>
          </ac:spMkLst>
        </pc:spChg>
      </pc:sldChg>
      <pc:sldChg chg="modSp add ord">
        <pc:chgData name="Bob Ward" userId="6da7c2dd-8e2e-469f-a216-c384312e2a2d" providerId="ADAL" clId="{1DC02916-B96B-4A1C-898B-2B470794A648}" dt="2019-01-17T23:00:23.171" v="1213" actId="20577"/>
        <pc:sldMkLst>
          <pc:docMk/>
          <pc:sldMk cId="2957100619" sldId="4678"/>
        </pc:sldMkLst>
        <pc:spChg chg="mod">
          <ac:chgData name="Bob Ward" userId="6da7c2dd-8e2e-469f-a216-c384312e2a2d" providerId="ADAL" clId="{1DC02916-B96B-4A1C-898B-2B470794A648}" dt="2019-01-17T23:00:23.171" v="1213" actId="20577"/>
          <ac:spMkLst>
            <pc:docMk/>
            <pc:sldMk cId="2957100619" sldId="4678"/>
            <ac:spMk id="2" creationId="{131DE104-D85B-43D4-AC99-58903696A798}"/>
          </ac:spMkLst>
        </pc:spChg>
      </pc:sldChg>
      <pc:sldChg chg="modSp add ord">
        <pc:chgData name="Bob Ward" userId="6da7c2dd-8e2e-469f-a216-c384312e2a2d" providerId="ADAL" clId="{1DC02916-B96B-4A1C-898B-2B470794A648}" dt="2019-01-17T23:04:52.580" v="1276" actId="20577"/>
        <pc:sldMkLst>
          <pc:docMk/>
          <pc:sldMk cId="1195019611" sldId="4679"/>
        </pc:sldMkLst>
        <pc:spChg chg="mod">
          <ac:chgData name="Bob Ward" userId="6da7c2dd-8e2e-469f-a216-c384312e2a2d" providerId="ADAL" clId="{1DC02916-B96B-4A1C-898B-2B470794A648}" dt="2019-01-17T23:04:52.580" v="1276" actId="20577"/>
          <ac:spMkLst>
            <pc:docMk/>
            <pc:sldMk cId="1195019611" sldId="4679"/>
            <ac:spMk id="2" creationId="{131DE104-D85B-43D4-AC99-58903696A798}"/>
          </ac:spMkLst>
        </pc:spChg>
      </pc:sldChg>
      <pc:sldChg chg="modSp add ord modNotesTx">
        <pc:chgData name="Bob Ward" userId="6da7c2dd-8e2e-469f-a216-c384312e2a2d" providerId="ADAL" clId="{1DC02916-B96B-4A1C-898B-2B470794A648}" dt="2019-01-17T23:30:26.430" v="1684" actId="6549"/>
        <pc:sldMkLst>
          <pc:docMk/>
          <pc:sldMk cId="737723831" sldId="4680"/>
        </pc:sldMkLst>
        <pc:spChg chg="mod">
          <ac:chgData name="Bob Ward" userId="6da7c2dd-8e2e-469f-a216-c384312e2a2d" providerId="ADAL" clId="{1DC02916-B96B-4A1C-898B-2B470794A648}" dt="2019-01-17T23:30:16.674" v="1674" actId="20577"/>
          <ac:spMkLst>
            <pc:docMk/>
            <pc:sldMk cId="737723831" sldId="4680"/>
            <ac:spMk id="3" creationId="{00000000-0000-0000-0000-000000000000}"/>
          </ac:spMkLst>
        </pc:spChg>
        <pc:spChg chg="mod">
          <ac:chgData name="Bob Ward" userId="6da7c2dd-8e2e-469f-a216-c384312e2a2d" providerId="ADAL" clId="{1DC02916-B96B-4A1C-898B-2B470794A648}" dt="2019-01-17T23:30:22.062" v="1683" actId="20577"/>
          <ac:spMkLst>
            <pc:docMk/>
            <pc:sldMk cId="737723831" sldId="4680"/>
            <ac:spMk id="4" creationId="{00000000-0000-0000-0000-000000000000}"/>
          </ac:spMkLst>
        </pc:spChg>
      </pc:sldChg>
      <pc:sldChg chg="modSp add ord">
        <pc:chgData name="Bob Ward" userId="6da7c2dd-8e2e-469f-a216-c384312e2a2d" providerId="ADAL" clId="{1DC02916-B96B-4A1C-898B-2B470794A648}" dt="2019-01-17T23:31:05.857" v="1782" actId="20577"/>
        <pc:sldMkLst>
          <pc:docMk/>
          <pc:sldMk cId="3844499360" sldId="4681"/>
        </pc:sldMkLst>
        <pc:spChg chg="mod">
          <ac:chgData name="Bob Ward" userId="6da7c2dd-8e2e-469f-a216-c384312e2a2d" providerId="ADAL" clId="{1DC02916-B96B-4A1C-898B-2B470794A648}" dt="2019-01-17T23:31:05.857" v="1782" actId="20577"/>
          <ac:spMkLst>
            <pc:docMk/>
            <pc:sldMk cId="3844499360" sldId="4681"/>
            <ac:spMk id="3" creationId="{00000000-0000-0000-0000-000000000000}"/>
          </ac:spMkLst>
        </pc:spChg>
      </pc:sldChg>
      <pc:sldChg chg="modSp add ord">
        <pc:chgData name="Bob Ward" userId="6da7c2dd-8e2e-469f-a216-c384312e2a2d" providerId="ADAL" clId="{1DC02916-B96B-4A1C-898B-2B470794A648}" dt="2019-01-17T23:31:46.335" v="1807" actId="20577"/>
        <pc:sldMkLst>
          <pc:docMk/>
          <pc:sldMk cId="1846894708" sldId="4682"/>
        </pc:sldMkLst>
        <pc:spChg chg="mod">
          <ac:chgData name="Bob Ward" userId="6da7c2dd-8e2e-469f-a216-c384312e2a2d" providerId="ADAL" clId="{1DC02916-B96B-4A1C-898B-2B470794A648}" dt="2019-01-17T23:31:43.998" v="1804" actId="20577"/>
          <ac:spMkLst>
            <pc:docMk/>
            <pc:sldMk cId="1846894708" sldId="4682"/>
            <ac:spMk id="3" creationId="{00000000-0000-0000-0000-000000000000}"/>
          </ac:spMkLst>
        </pc:spChg>
        <pc:spChg chg="mod">
          <ac:chgData name="Bob Ward" userId="6da7c2dd-8e2e-469f-a216-c384312e2a2d" providerId="ADAL" clId="{1DC02916-B96B-4A1C-898B-2B470794A648}" dt="2019-01-17T23:31:46.335" v="1807" actId="20577"/>
          <ac:spMkLst>
            <pc:docMk/>
            <pc:sldMk cId="1846894708" sldId="4682"/>
            <ac:spMk id="4" creationId="{00000000-0000-0000-0000-000000000000}"/>
          </ac:spMkLst>
        </pc:spChg>
      </pc:sldChg>
      <pc:sldChg chg="add del ord">
        <pc:chgData name="Bob Ward" userId="6da7c2dd-8e2e-469f-a216-c384312e2a2d" providerId="ADAL" clId="{1DC02916-B96B-4A1C-898B-2B470794A648}" dt="2019-01-17T23:31:14.711" v="1785" actId="2696"/>
        <pc:sldMkLst>
          <pc:docMk/>
          <pc:sldMk cId="3801569778" sldId="4682"/>
        </pc:sldMkLst>
      </pc:sldChg>
      <pc:sldChg chg="modSp add ord">
        <pc:chgData name="Bob Ward" userId="6da7c2dd-8e2e-469f-a216-c384312e2a2d" providerId="ADAL" clId="{1DC02916-B96B-4A1C-898B-2B470794A648}" dt="2019-01-17T23:32:04.204" v="1862" actId="20577"/>
        <pc:sldMkLst>
          <pc:docMk/>
          <pc:sldMk cId="3046267396" sldId="4683"/>
        </pc:sldMkLst>
        <pc:spChg chg="mod">
          <ac:chgData name="Bob Ward" userId="6da7c2dd-8e2e-469f-a216-c384312e2a2d" providerId="ADAL" clId="{1DC02916-B96B-4A1C-898B-2B470794A648}" dt="2019-01-17T23:32:04.204" v="1862" actId="20577"/>
          <ac:spMkLst>
            <pc:docMk/>
            <pc:sldMk cId="3046267396" sldId="4683"/>
            <ac:spMk id="3" creationId="{00000000-0000-0000-0000-000000000000}"/>
          </ac:spMkLst>
        </pc:spChg>
      </pc:sldChg>
    </pc:docChg>
  </pc:docChgLst>
  <pc:docChgLst>
    <pc:chgData name="Amit Banerjee" userId="3be3e2ab-9fa1-40d3-a495-2728699c493f" providerId="ADAL" clId="{CD57DE23-EFAB-4051-A351-140A3378F615}"/>
    <pc:docChg chg="custSel addSld modSld">
      <pc:chgData name="Amit Banerjee" userId="3be3e2ab-9fa1-40d3-a495-2728699c493f" providerId="ADAL" clId="{CD57DE23-EFAB-4051-A351-140A3378F615}" dt="2018-11-06T03:56:44.389" v="142" actId="20577"/>
      <pc:docMkLst>
        <pc:docMk/>
      </pc:docMkLst>
      <pc:sldChg chg="modNotesTx">
        <pc:chgData name="Amit Banerjee" userId="3be3e2ab-9fa1-40d3-a495-2728699c493f" providerId="ADAL" clId="{CD57DE23-EFAB-4051-A351-140A3378F615}" dt="2018-11-05T23:26:02.353" v="78" actId="20577"/>
        <pc:sldMkLst>
          <pc:docMk/>
          <pc:sldMk cId="1122910760" sldId="4353"/>
        </pc:sldMkLst>
      </pc:sldChg>
      <pc:sldChg chg="modNotesTx">
        <pc:chgData name="Amit Banerjee" userId="3be3e2ab-9fa1-40d3-a495-2728699c493f" providerId="ADAL" clId="{CD57DE23-EFAB-4051-A351-140A3378F615}" dt="2018-11-05T23:26:25.937" v="110" actId="20577"/>
        <pc:sldMkLst>
          <pc:docMk/>
          <pc:sldMk cId="3454480862" sldId="4361"/>
        </pc:sldMkLst>
      </pc:sldChg>
      <pc:sldChg chg="modNotesTx">
        <pc:chgData name="Amit Banerjee" userId="3be3e2ab-9fa1-40d3-a495-2728699c493f" providerId="ADAL" clId="{CD57DE23-EFAB-4051-A351-140A3378F615}" dt="2018-11-05T23:25:12.979" v="31" actId="20577"/>
        <pc:sldMkLst>
          <pc:docMk/>
          <pc:sldMk cId="2194511247" sldId="4362"/>
        </pc:sldMkLst>
      </pc:sldChg>
      <pc:sldChg chg="modNotesTx">
        <pc:chgData name="Amit Banerjee" userId="3be3e2ab-9fa1-40d3-a495-2728699c493f" providerId="ADAL" clId="{CD57DE23-EFAB-4051-A351-140A3378F615}" dt="2018-11-05T23:25:23.223" v="63" actId="20577"/>
        <pc:sldMkLst>
          <pc:docMk/>
          <pc:sldMk cId="3032733911" sldId="4364"/>
        </pc:sldMkLst>
      </pc:sldChg>
      <pc:sldChg chg="modNotesTx">
        <pc:chgData name="Amit Banerjee" userId="3be3e2ab-9fa1-40d3-a495-2728699c493f" providerId="ADAL" clId="{CD57DE23-EFAB-4051-A351-140A3378F615}" dt="2018-11-05T23:25:06.279" v="15" actId="20577"/>
        <pc:sldMkLst>
          <pc:docMk/>
          <pc:sldMk cId="3360446397" sldId="4369"/>
        </pc:sldMkLst>
      </pc:sldChg>
      <pc:sldChg chg="delSp modSp modAnim">
        <pc:chgData name="Amit Banerjee" userId="3be3e2ab-9fa1-40d3-a495-2728699c493f" providerId="ADAL" clId="{CD57DE23-EFAB-4051-A351-140A3378F615}" dt="2018-11-06T03:56:44.389" v="142" actId="20577"/>
        <pc:sldMkLst>
          <pc:docMk/>
          <pc:sldMk cId="4134612233" sldId="4375"/>
        </pc:sldMkLst>
        <pc:spChg chg="del">
          <ac:chgData name="Amit Banerjee" userId="3be3e2ab-9fa1-40d3-a495-2728699c493f" providerId="ADAL" clId="{CD57DE23-EFAB-4051-A351-140A3378F615}" dt="2018-11-06T03:56:13.586" v="116" actId="478"/>
          <ac:spMkLst>
            <pc:docMk/>
            <pc:sldMk cId="4134612233" sldId="4375"/>
            <ac:spMk id="4" creationId="{8A62B52D-95CB-8C4E-977F-7E0141C0C1E7}"/>
          </ac:spMkLst>
        </pc:spChg>
        <pc:spChg chg="mod">
          <ac:chgData name="Amit Banerjee" userId="3be3e2ab-9fa1-40d3-a495-2728699c493f" providerId="ADAL" clId="{CD57DE23-EFAB-4051-A351-140A3378F615}" dt="2018-11-06T03:56:44.389" v="142" actId="20577"/>
          <ac:spMkLst>
            <pc:docMk/>
            <pc:sldMk cId="4134612233" sldId="4375"/>
            <ac:spMk id="6" creationId="{00000000-0000-0000-0000-000000000000}"/>
          </ac:spMkLst>
        </pc:spChg>
        <pc:spChg chg="del mod">
          <ac:chgData name="Amit Banerjee" userId="3be3e2ab-9fa1-40d3-a495-2728699c493f" providerId="ADAL" clId="{CD57DE23-EFAB-4051-A351-140A3378F615}" dt="2018-11-06T03:56:26.208" v="120" actId="478"/>
          <ac:spMkLst>
            <pc:docMk/>
            <pc:sldMk cId="4134612233" sldId="4375"/>
            <ac:spMk id="85" creationId="{EC662379-BF93-4C2B-887E-1EB0293C0DAE}"/>
          </ac:spMkLst>
        </pc:spChg>
        <pc:spChg chg="del mod">
          <ac:chgData name="Amit Banerjee" userId="3be3e2ab-9fa1-40d3-a495-2728699c493f" providerId="ADAL" clId="{CD57DE23-EFAB-4051-A351-140A3378F615}" dt="2018-11-06T03:56:21.124" v="118" actId="478"/>
          <ac:spMkLst>
            <pc:docMk/>
            <pc:sldMk cId="4134612233" sldId="4375"/>
            <ac:spMk id="89" creationId="{41AF4ABE-F05A-4693-A474-D881230B68F0}"/>
          </ac:spMkLst>
        </pc:spChg>
      </pc:sldChg>
      <pc:sldChg chg="modNotesTx">
        <pc:chgData name="Amit Banerjee" userId="3be3e2ab-9fa1-40d3-a495-2728699c493f" providerId="ADAL" clId="{CD57DE23-EFAB-4051-A351-140A3378F615}" dt="2018-11-05T23:26:06.211" v="92" actId="20577"/>
        <pc:sldMkLst>
          <pc:docMk/>
          <pc:sldMk cId="3020045409" sldId="4378"/>
        </pc:sldMkLst>
      </pc:sldChg>
      <pc:sldChg chg="add mod modTransition modShow">
        <pc:chgData name="Amit Banerjee" userId="3be3e2ab-9fa1-40d3-a495-2728699c493f" providerId="ADAL" clId="{CD57DE23-EFAB-4051-A351-140A3378F615}" dt="2018-11-06T03:55:54.183" v="113"/>
        <pc:sldMkLst>
          <pc:docMk/>
          <pc:sldMk cId="198936585" sldId="4380"/>
        </pc:sldMkLst>
      </pc:sldChg>
    </pc:docChg>
  </pc:docChgLst>
  <pc:docChgLst>
    <pc:chgData name="Bob Ward" userId="6da7c2dd-8e2e-469f-a216-c384312e2a2d" providerId="ADAL" clId="{A38BE2B8-4FC7-4DB6-BA61-1BD2E37BAFED}"/>
    <pc:docChg chg="custSel modSld">
      <pc:chgData name="Bob Ward" userId="6da7c2dd-8e2e-469f-a216-c384312e2a2d" providerId="ADAL" clId="{A38BE2B8-4FC7-4DB6-BA61-1BD2E37BAFED}" dt="2018-09-24T15:33:48.846" v="924" actId="20577"/>
      <pc:docMkLst>
        <pc:docMk/>
      </pc:docMkLst>
      <pc:sldChg chg="modNotesTx">
        <pc:chgData name="Bob Ward" userId="6da7c2dd-8e2e-469f-a216-c384312e2a2d" providerId="ADAL" clId="{A38BE2B8-4FC7-4DB6-BA61-1BD2E37BAFED}" dt="2018-09-24T15:24:01.392" v="780" actId="20577"/>
        <pc:sldMkLst>
          <pc:docMk/>
          <pc:sldMk cId="1869999325" sldId="1861"/>
        </pc:sldMkLst>
      </pc:sldChg>
      <pc:sldChg chg="modNotesTx">
        <pc:chgData name="Bob Ward" userId="6da7c2dd-8e2e-469f-a216-c384312e2a2d" providerId="ADAL" clId="{A38BE2B8-4FC7-4DB6-BA61-1BD2E37BAFED}" dt="2018-09-24T15:21:13.630" v="510" actId="20577"/>
        <pc:sldMkLst>
          <pc:docMk/>
          <pc:sldMk cId="445609033" sldId="4351"/>
        </pc:sldMkLst>
      </pc:sldChg>
      <pc:sldChg chg="modNotesTx">
        <pc:chgData name="Bob Ward" userId="6da7c2dd-8e2e-469f-a216-c384312e2a2d" providerId="ADAL" clId="{A38BE2B8-4FC7-4DB6-BA61-1BD2E37BAFED}" dt="2018-09-24T15:08:24.331" v="159" actId="20577"/>
        <pc:sldMkLst>
          <pc:docMk/>
          <pc:sldMk cId="2973122093" sldId="4352"/>
        </pc:sldMkLst>
      </pc:sldChg>
      <pc:sldChg chg="modNotesTx">
        <pc:chgData name="Bob Ward" userId="6da7c2dd-8e2e-469f-a216-c384312e2a2d" providerId="ADAL" clId="{A38BE2B8-4FC7-4DB6-BA61-1BD2E37BAFED}" dt="2018-09-24T15:21:43.902" v="604" actId="20577"/>
        <pc:sldMkLst>
          <pc:docMk/>
          <pc:sldMk cId="1122910760" sldId="4353"/>
        </pc:sldMkLst>
      </pc:sldChg>
      <pc:sldChg chg="modNotesTx">
        <pc:chgData name="Bob Ward" userId="6da7c2dd-8e2e-469f-a216-c384312e2a2d" providerId="ADAL" clId="{A38BE2B8-4FC7-4DB6-BA61-1BD2E37BAFED}" dt="2018-09-24T15:23:07.341" v="665" actId="20577"/>
        <pc:sldMkLst>
          <pc:docMk/>
          <pc:sldMk cId="1087001240" sldId="4355"/>
        </pc:sldMkLst>
      </pc:sldChg>
      <pc:sldChg chg="modNotesTx">
        <pc:chgData name="Bob Ward" userId="6da7c2dd-8e2e-469f-a216-c384312e2a2d" providerId="ADAL" clId="{A38BE2B8-4FC7-4DB6-BA61-1BD2E37BAFED}" dt="2018-09-24T15:23:25.082" v="729" actId="20577"/>
        <pc:sldMkLst>
          <pc:docMk/>
          <pc:sldMk cId="1258176581" sldId="4356"/>
        </pc:sldMkLst>
      </pc:sldChg>
      <pc:sldChg chg="modNotesTx">
        <pc:chgData name="Bob Ward" userId="6da7c2dd-8e2e-469f-a216-c384312e2a2d" providerId="ADAL" clId="{A38BE2B8-4FC7-4DB6-BA61-1BD2E37BAFED}" dt="2018-09-24T15:21:34.669" v="585" actId="20577"/>
        <pc:sldMkLst>
          <pc:docMk/>
          <pc:sldMk cId="3580746693" sldId="4357"/>
        </pc:sldMkLst>
      </pc:sldChg>
      <pc:sldChg chg="modNotesTx">
        <pc:chgData name="Bob Ward" userId="6da7c2dd-8e2e-469f-a216-c384312e2a2d" providerId="ADAL" clId="{A38BE2B8-4FC7-4DB6-BA61-1BD2E37BAFED}" dt="2018-09-24T15:10:28.029" v="258" actId="20577"/>
        <pc:sldMkLst>
          <pc:docMk/>
          <pc:sldMk cId="870761287" sldId="4358"/>
        </pc:sldMkLst>
      </pc:sldChg>
      <pc:sldChg chg="modNotesTx">
        <pc:chgData name="Bob Ward" userId="6da7c2dd-8e2e-469f-a216-c384312e2a2d" providerId="ADAL" clId="{A38BE2B8-4FC7-4DB6-BA61-1BD2E37BAFED}" dt="2018-09-24T15:23:39.371" v="750" actId="20577"/>
        <pc:sldMkLst>
          <pc:docMk/>
          <pc:sldMk cId="3721142759" sldId="4359"/>
        </pc:sldMkLst>
      </pc:sldChg>
      <pc:sldChg chg="modNotesTx">
        <pc:chgData name="Bob Ward" userId="6da7c2dd-8e2e-469f-a216-c384312e2a2d" providerId="ADAL" clId="{A38BE2B8-4FC7-4DB6-BA61-1BD2E37BAFED}" dt="2018-09-24T15:11:30.096" v="300" actId="20577"/>
        <pc:sldMkLst>
          <pc:docMk/>
          <pc:sldMk cId="3766069067" sldId="4360"/>
        </pc:sldMkLst>
      </pc:sldChg>
      <pc:sldChg chg="modNotesTx">
        <pc:chgData name="Bob Ward" userId="6da7c2dd-8e2e-469f-a216-c384312e2a2d" providerId="ADAL" clId="{A38BE2B8-4FC7-4DB6-BA61-1BD2E37BAFED}" dt="2018-09-24T15:33:48.846" v="924" actId="20577"/>
        <pc:sldMkLst>
          <pc:docMk/>
          <pc:sldMk cId="3032733911" sldId="4364"/>
        </pc:sldMkLst>
      </pc:sldChg>
      <pc:sldChg chg="modNotesTx">
        <pc:chgData name="Bob Ward" userId="6da7c2dd-8e2e-469f-a216-c384312e2a2d" providerId="ADAL" clId="{A38BE2B8-4FC7-4DB6-BA61-1BD2E37BAFED}" dt="2018-09-24T15:11:36.299" v="305" actId="20577"/>
        <pc:sldMkLst>
          <pc:docMk/>
          <pc:sldMk cId="107596063" sldId="4365"/>
        </pc:sldMkLst>
      </pc:sldChg>
      <pc:sldChg chg="modNotesTx">
        <pc:chgData name="Bob Ward" userId="6da7c2dd-8e2e-469f-a216-c384312e2a2d" providerId="ADAL" clId="{A38BE2B8-4FC7-4DB6-BA61-1BD2E37BAFED}" dt="2018-09-24T15:21:07.983" v="487" actId="20577"/>
        <pc:sldMkLst>
          <pc:docMk/>
          <pc:sldMk cId="3562836415" sldId="4366"/>
        </pc:sldMkLst>
      </pc:sldChg>
      <pc:sldChg chg="modNotesTx">
        <pc:chgData name="Bob Ward" userId="6da7c2dd-8e2e-469f-a216-c384312e2a2d" providerId="ADAL" clId="{A38BE2B8-4FC7-4DB6-BA61-1BD2E37BAFED}" dt="2018-09-24T15:16:34.587" v="363" actId="20577"/>
        <pc:sldMkLst>
          <pc:docMk/>
          <pc:sldMk cId="276576014" sldId="4367"/>
        </pc:sldMkLst>
      </pc:sldChg>
      <pc:sldChg chg="modNotesTx">
        <pc:chgData name="Bob Ward" userId="6da7c2dd-8e2e-469f-a216-c384312e2a2d" providerId="ADAL" clId="{A38BE2B8-4FC7-4DB6-BA61-1BD2E37BAFED}" dt="2018-09-24T15:20:59.399" v="468" actId="20577"/>
        <pc:sldMkLst>
          <pc:docMk/>
          <pc:sldMk cId="3360446397" sldId="4369"/>
        </pc:sldMkLst>
      </pc:sldChg>
      <pc:sldChg chg="modNotesTx">
        <pc:chgData name="Bob Ward" userId="6da7c2dd-8e2e-469f-a216-c384312e2a2d" providerId="ADAL" clId="{A38BE2B8-4FC7-4DB6-BA61-1BD2E37BAFED}" dt="2018-09-24T15:22:42.656" v="627" actId="20577"/>
        <pc:sldMkLst>
          <pc:docMk/>
          <pc:sldMk cId="3020045409" sldId="437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44270985598"/>
          <c:y val="3.9964695040431965E-2"/>
          <c:w val="0.65969385040175499"/>
          <c:h val="0.7189528667664254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0078D7"/>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0078D7"/>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0078D7"/>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0078D7"/>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0078D7"/>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6</c:v>
                </c:pt>
                <c:pt idx="1">
                  <c:v>393</c:v>
                </c:pt>
                <c:pt idx="2">
                  <c:v>200</c:v>
                </c:pt>
                <c:pt idx="3">
                  <c:v>61</c:v>
                </c:pt>
                <c:pt idx="4">
                  <c:v>43</c:v>
                </c:pt>
                <c:pt idx="5">
                  <c:v>29</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Segoe UI" panose="020B0502040204020203" pitchFamily="34" charset="0"/>
                <a:ea typeface="+mn-ea"/>
                <a:cs typeface="Segoe UI" panose="020B0502040204020203" pitchFamily="34" charset="0"/>
              </a:defRPr>
            </a:pPr>
            <a:endParaRPr lang="en-US"/>
          </a:p>
        </c:txPr>
        <c:crossAx val="-1714280784"/>
        <c:crosses val="autoZero"/>
        <c:auto val="1"/>
        <c:lblAlgn val="ctr"/>
        <c:lblOffset val="100"/>
        <c:noMultiLvlLbl val="0"/>
      </c:catAx>
      <c:valAx>
        <c:axId val="-1714280784"/>
        <c:scaling>
          <c:orientation val="minMax"/>
          <c:max val="205"/>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dirty="0">
                    <a:solidFill>
                      <a:srgbClr val="000000"/>
                    </a:solidFill>
                    <a:effectLst/>
                    <a:latin typeface="Segoe UI Semibold" panose="020B0502040204020203" pitchFamily="34" charset="0"/>
                    <a:cs typeface="Segoe UI Semibold" panose="020B0502040204020203" pitchFamily="34" charset="0"/>
                  </a:rPr>
                  <a:t>Vulnerabilities (2010-2017)</a:t>
                </a:r>
                <a:endParaRPr lang="en-US" sz="700" b="1" i="0" dirty="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7.5646385974360297E-2"/>
              <c:y val="0.169173167029877"/>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en-US"/>
          </a:p>
        </c:txPr>
        <c:crossAx val="-158598259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ata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_rels/drawing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rawing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9A664-2D40-416D-A42F-CE18B9833F3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D6EE726-9166-4148-93D6-6AA7724F3FE1}">
      <dgm:prSet phldrT="[Text]"/>
      <dgm:spPr/>
      <dgm:t>
        <a:bodyPr/>
        <a:lstStyle/>
        <a:p>
          <a:r>
            <a:rPr lang="en-US" dirty="0"/>
            <a:t>SQL Server 2016</a:t>
          </a:r>
        </a:p>
      </dgm:t>
    </dgm:pt>
    <dgm:pt modelId="{7BB36E54-14D8-48DA-93E4-C212CE67A33E}" type="parTrans" cxnId="{128BB5F8-6672-4A7A-8C65-BE613802AD59}">
      <dgm:prSet/>
      <dgm:spPr/>
      <dgm:t>
        <a:bodyPr/>
        <a:lstStyle/>
        <a:p>
          <a:endParaRPr lang="en-US"/>
        </a:p>
      </dgm:t>
    </dgm:pt>
    <dgm:pt modelId="{FE6F2F45-5989-42E3-8EDE-BE0D22DF86BB}" type="sibTrans" cxnId="{128BB5F8-6672-4A7A-8C65-BE613802AD59}">
      <dgm:prSet/>
      <dgm:spPr/>
      <dgm:t>
        <a:bodyPr/>
        <a:lstStyle/>
        <a:p>
          <a:endParaRPr lang="en-US"/>
        </a:p>
      </dgm:t>
    </dgm:pt>
    <dgm:pt modelId="{881EB94D-3F62-48CE-94A5-13B9A9F84058}">
      <dgm:prSet phldrT="[Text]"/>
      <dgm:spPr/>
      <dgm:t>
        <a:bodyPr/>
        <a:lstStyle/>
        <a:p>
          <a:r>
            <a:rPr lang="en-US" dirty="0"/>
            <a:t>Query Store</a:t>
          </a:r>
        </a:p>
      </dgm:t>
    </dgm:pt>
    <dgm:pt modelId="{BC909361-7E12-4BE3-B7C4-7ED67F159DA2}" type="parTrans" cxnId="{DF63D9DC-623B-42CD-82F8-B3DB2BD64C3F}">
      <dgm:prSet/>
      <dgm:spPr/>
      <dgm:t>
        <a:bodyPr/>
        <a:lstStyle/>
        <a:p>
          <a:endParaRPr lang="en-US"/>
        </a:p>
      </dgm:t>
    </dgm:pt>
    <dgm:pt modelId="{F98EF4F1-C204-4EE4-8174-1E12A75CF540}" type="sibTrans" cxnId="{DF63D9DC-623B-42CD-82F8-B3DB2BD64C3F}">
      <dgm:prSet/>
      <dgm:spPr/>
      <dgm:t>
        <a:bodyPr/>
        <a:lstStyle/>
        <a:p>
          <a:endParaRPr lang="en-US"/>
        </a:p>
      </dgm:t>
    </dgm:pt>
    <dgm:pt modelId="{8AD665DB-0508-4D5B-B1AD-691EDEC4BD8D}">
      <dgm:prSet phldrT="[Text]"/>
      <dgm:spPr/>
      <dgm:t>
        <a:bodyPr/>
        <a:lstStyle/>
        <a:p>
          <a:r>
            <a:rPr lang="en-US" dirty="0"/>
            <a:t>SQL Server 2017</a:t>
          </a:r>
        </a:p>
      </dgm:t>
    </dgm:pt>
    <dgm:pt modelId="{83247137-A056-4C97-9251-7F0869287AF4}" type="parTrans" cxnId="{8CB127A4-50ED-4B07-B427-205A9F91F7E4}">
      <dgm:prSet/>
      <dgm:spPr/>
      <dgm:t>
        <a:bodyPr/>
        <a:lstStyle/>
        <a:p>
          <a:endParaRPr lang="en-US"/>
        </a:p>
      </dgm:t>
    </dgm:pt>
    <dgm:pt modelId="{15900B0D-A15C-4556-91E5-0B57D9693B81}" type="sibTrans" cxnId="{8CB127A4-50ED-4B07-B427-205A9F91F7E4}">
      <dgm:prSet/>
      <dgm:spPr/>
      <dgm:t>
        <a:bodyPr/>
        <a:lstStyle/>
        <a:p>
          <a:endParaRPr lang="en-US"/>
        </a:p>
      </dgm:t>
    </dgm:pt>
    <dgm:pt modelId="{C093F4C6-A700-48CB-9750-40366AB6AB0E}">
      <dgm:prSet phldrT="[Text]"/>
      <dgm:spPr/>
      <dgm:t>
        <a:bodyPr/>
        <a:lstStyle/>
        <a:p>
          <a:r>
            <a:rPr lang="en-US" dirty="0"/>
            <a:t>Linux and Containers</a:t>
          </a:r>
        </a:p>
      </dgm:t>
    </dgm:pt>
    <dgm:pt modelId="{C2FB4E9B-AFEF-43EB-9F24-ACC3DDBD03A5}" type="parTrans" cxnId="{8B6F7302-2958-4D40-ADC2-A1FD64B36EEC}">
      <dgm:prSet/>
      <dgm:spPr/>
      <dgm:t>
        <a:bodyPr/>
        <a:lstStyle/>
        <a:p>
          <a:endParaRPr lang="en-US"/>
        </a:p>
      </dgm:t>
    </dgm:pt>
    <dgm:pt modelId="{10730959-3164-41C0-A612-9A65CED1EEC6}" type="sibTrans" cxnId="{8B6F7302-2958-4D40-ADC2-A1FD64B36EEC}">
      <dgm:prSet/>
      <dgm:spPr/>
      <dgm:t>
        <a:bodyPr/>
        <a:lstStyle/>
        <a:p>
          <a:endParaRPr lang="en-US"/>
        </a:p>
      </dgm:t>
    </dgm:pt>
    <dgm:pt modelId="{2418D345-B411-4C58-BD23-E51F318848A8}">
      <dgm:prSet phldrT="[Text]"/>
      <dgm:spPr/>
      <dgm:t>
        <a:bodyPr/>
        <a:lstStyle/>
        <a:p>
          <a:r>
            <a:rPr lang="en-US" dirty="0"/>
            <a:t>Adaptive Query Processing</a:t>
          </a:r>
        </a:p>
      </dgm:t>
    </dgm:pt>
    <dgm:pt modelId="{F5A1D081-4D79-42CC-B0B0-B189721F85F1}" type="parTrans" cxnId="{89B051A5-273E-45D8-B9F3-E519F578F344}">
      <dgm:prSet/>
      <dgm:spPr/>
      <dgm:t>
        <a:bodyPr/>
        <a:lstStyle/>
        <a:p>
          <a:endParaRPr lang="en-US"/>
        </a:p>
      </dgm:t>
    </dgm:pt>
    <dgm:pt modelId="{C7117A94-F704-432E-A635-CFE495B2B2A6}" type="sibTrans" cxnId="{89B051A5-273E-45D8-B9F3-E519F578F344}">
      <dgm:prSet/>
      <dgm:spPr/>
      <dgm:t>
        <a:bodyPr/>
        <a:lstStyle/>
        <a:p>
          <a:endParaRPr lang="en-US"/>
        </a:p>
      </dgm:t>
    </dgm:pt>
    <dgm:pt modelId="{4B6AEE15-6C43-4717-8017-F0556BB33716}">
      <dgm:prSet phldrT="[Text]"/>
      <dgm:spPr/>
      <dgm:t>
        <a:bodyPr/>
        <a:lstStyle/>
        <a:p>
          <a:r>
            <a:rPr lang="en-US" dirty="0"/>
            <a:t>Temporal Tables</a:t>
          </a:r>
        </a:p>
      </dgm:t>
    </dgm:pt>
    <dgm:pt modelId="{0918F771-7E9F-4A4B-BD4A-8392A0C8DB84}" type="parTrans" cxnId="{6522B082-A16B-45FE-B1F3-F5C368CB5E90}">
      <dgm:prSet/>
      <dgm:spPr/>
      <dgm:t>
        <a:bodyPr/>
        <a:lstStyle/>
        <a:p>
          <a:endParaRPr lang="en-US"/>
        </a:p>
      </dgm:t>
    </dgm:pt>
    <dgm:pt modelId="{9497ADA9-A83E-462B-9453-6E825A59DD71}" type="sibTrans" cxnId="{6522B082-A16B-45FE-B1F3-F5C368CB5E90}">
      <dgm:prSet/>
      <dgm:spPr/>
      <dgm:t>
        <a:bodyPr/>
        <a:lstStyle/>
        <a:p>
          <a:endParaRPr lang="en-US"/>
        </a:p>
      </dgm:t>
    </dgm:pt>
    <dgm:pt modelId="{933C4498-AB0C-4E61-9879-AEB2129C493F}">
      <dgm:prSet phldrT="[Text]"/>
      <dgm:spPr/>
      <dgm:t>
        <a:bodyPr/>
        <a:lstStyle/>
        <a:p>
          <a:r>
            <a:rPr lang="en-US" dirty="0"/>
            <a:t>JSON</a:t>
          </a:r>
        </a:p>
      </dgm:t>
    </dgm:pt>
    <dgm:pt modelId="{E9E0D327-8837-4E20-A9A4-EBBEEB1C9C2D}" type="parTrans" cxnId="{EE4E61B9-71D3-4E22-8129-7D7D478F8E15}">
      <dgm:prSet/>
      <dgm:spPr/>
      <dgm:t>
        <a:bodyPr/>
        <a:lstStyle/>
        <a:p>
          <a:endParaRPr lang="en-US"/>
        </a:p>
      </dgm:t>
    </dgm:pt>
    <dgm:pt modelId="{892A4CA4-E336-4FA7-BC5B-C8F233008980}" type="sibTrans" cxnId="{EE4E61B9-71D3-4E22-8129-7D7D478F8E15}">
      <dgm:prSet/>
      <dgm:spPr/>
      <dgm:t>
        <a:bodyPr/>
        <a:lstStyle/>
        <a:p>
          <a:endParaRPr lang="en-US"/>
        </a:p>
      </dgm:t>
    </dgm:pt>
    <dgm:pt modelId="{66B7DDCB-EADA-40AD-BFE0-F80D0A6EA175}">
      <dgm:prSet phldrT="[Text]"/>
      <dgm:spPr/>
      <dgm:t>
        <a:bodyPr/>
        <a:lstStyle/>
        <a:p>
          <a:r>
            <a:rPr lang="en-US" dirty="0"/>
            <a:t>Always Encrypted</a:t>
          </a:r>
        </a:p>
      </dgm:t>
    </dgm:pt>
    <dgm:pt modelId="{0088B0B6-BD40-423F-9DC0-34E5F4236BE9}" type="parTrans" cxnId="{2887CED1-DFEA-4F2B-9C74-5128B8AE5003}">
      <dgm:prSet/>
      <dgm:spPr/>
      <dgm:t>
        <a:bodyPr/>
        <a:lstStyle/>
        <a:p>
          <a:endParaRPr lang="en-US"/>
        </a:p>
      </dgm:t>
    </dgm:pt>
    <dgm:pt modelId="{996929F7-9332-4238-AB68-7ADB6684F082}" type="sibTrans" cxnId="{2887CED1-DFEA-4F2B-9C74-5128B8AE5003}">
      <dgm:prSet/>
      <dgm:spPr/>
      <dgm:t>
        <a:bodyPr/>
        <a:lstStyle/>
        <a:p>
          <a:endParaRPr lang="en-US"/>
        </a:p>
      </dgm:t>
    </dgm:pt>
    <dgm:pt modelId="{02F92CA9-480A-46FD-9907-4A614B2177DF}">
      <dgm:prSet phldrT="[Text]"/>
      <dgm:spPr/>
      <dgm:t>
        <a:bodyPr/>
        <a:lstStyle/>
        <a:p>
          <a:r>
            <a:rPr lang="en-US" dirty="0"/>
            <a:t>Dynamic Data Masking</a:t>
          </a:r>
        </a:p>
      </dgm:t>
    </dgm:pt>
    <dgm:pt modelId="{48E3AB27-82E1-4C5A-8352-7B299CED45A0}" type="parTrans" cxnId="{A42BB6E4-99C1-4A6E-9D72-21E0C982FD2F}">
      <dgm:prSet/>
      <dgm:spPr/>
      <dgm:t>
        <a:bodyPr/>
        <a:lstStyle/>
        <a:p>
          <a:endParaRPr lang="en-US"/>
        </a:p>
      </dgm:t>
    </dgm:pt>
    <dgm:pt modelId="{AB2AF10C-ADAD-4271-88D4-DAEEB9F4C8F8}" type="sibTrans" cxnId="{A42BB6E4-99C1-4A6E-9D72-21E0C982FD2F}">
      <dgm:prSet/>
      <dgm:spPr/>
      <dgm:t>
        <a:bodyPr/>
        <a:lstStyle/>
        <a:p>
          <a:endParaRPr lang="en-US"/>
        </a:p>
      </dgm:t>
    </dgm:pt>
    <dgm:pt modelId="{EABAD62C-46BD-4727-835C-8BBB3D8E4241}">
      <dgm:prSet phldrT="[Text]"/>
      <dgm:spPr/>
      <dgm:t>
        <a:bodyPr/>
        <a:lstStyle/>
        <a:p>
          <a:r>
            <a:rPr lang="en-US" dirty="0"/>
            <a:t>Row Level Security</a:t>
          </a:r>
        </a:p>
      </dgm:t>
    </dgm:pt>
    <dgm:pt modelId="{DE9F6AEE-5A2E-42B3-BF15-C42CC1CD8999}" type="parTrans" cxnId="{798475E2-2C51-472B-9DA1-3EC7736528BB}">
      <dgm:prSet/>
      <dgm:spPr/>
      <dgm:t>
        <a:bodyPr/>
        <a:lstStyle/>
        <a:p>
          <a:endParaRPr lang="en-US"/>
        </a:p>
      </dgm:t>
    </dgm:pt>
    <dgm:pt modelId="{B56111E9-5F66-49A0-8D03-C5C61519361A}" type="sibTrans" cxnId="{798475E2-2C51-472B-9DA1-3EC7736528BB}">
      <dgm:prSet/>
      <dgm:spPr/>
      <dgm:t>
        <a:bodyPr/>
        <a:lstStyle/>
        <a:p>
          <a:endParaRPr lang="en-US"/>
        </a:p>
      </dgm:t>
    </dgm:pt>
    <dgm:pt modelId="{73DE29BF-5C84-43F5-83D6-86511FDB9144}">
      <dgm:prSet phldrT="[Text]"/>
      <dgm:spPr/>
      <dgm:t>
        <a:bodyPr/>
        <a:lstStyle/>
        <a:p>
          <a:r>
            <a:rPr lang="en-US" dirty="0"/>
            <a:t>It Just Runs Faster</a:t>
          </a:r>
        </a:p>
      </dgm:t>
    </dgm:pt>
    <dgm:pt modelId="{2D075395-F39A-40AE-88F8-8AD4267EC343}" type="parTrans" cxnId="{3BAB37DC-7FF9-4424-8C93-5234F5BA7753}">
      <dgm:prSet/>
      <dgm:spPr/>
      <dgm:t>
        <a:bodyPr/>
        <a:lstStyle/>
        <a:p>
          <a:endParaRPr lang="en-US"/>
        </a:p>
      </dgm:t>
    </dgm:pt>
    <dgm:pt modelId="{D322BB83-FD4A-46C4-848F-41BEA462395B}" type="sibTrans" cxnId="{3BAB37DC-7FF9-4424-8C93-5234F5BA7753}">
      <dgm:prSet/>
      <dgm:spPr/>
      <dgm:t>
        <a:bodyPr/>
        <a:lstStyle/>
        <a:p>
          <a:endParaRPr lang="en-US"/>
        </a:p>
      </dgm:t>
    </dgm:pt>
    <dgm:pt modelId="{67C9571E-0866-48FD-953B-A5E51383CF0B}">
      <dgm:prSet phldrT="[Text]"/>
      <dgm:spPr/>
      <dgm:t>
        <a:bodyPr/>
        <a:lstStyle/>
        <a:p>
          <a:r>
            <a:rPr lang="en-US" dirty="0"/>
            <a:t>Automatic Tuning</a:t>
          </a:r>
        </a:p>
      </dgm:t>
    </dgm:pt>
    <dgm:pt modelId="{370C454E-C8A7-4242-BEFF-C5D6900A3EA4}" type="parTrans" cxnId="{2365C6AD-4B59-48CF-B64D-AD7DC90E9799}">
      <dgm:prSet/>
      <dgm:spPr/>
      <dgm:t>
        <a:bodyPr/>
        <a:lstStyle/>
        <a:p>
          <a:endParaRPr lang="en-US"/>
        </a:p>
      </dgm:t>
    </dgm:pt>
    <dgm:pt modelId="{4202BB25-16EC-4D8C-997F-118049327917}" type="sibTrans" cxnId="{2365C6AD-4B59-48CF-B64D-AD7DC90E9799}">
      <dgm:prSet/>
      <dgm:spPr/>
      <dgm:t>
        <a:bodyPr/>
        <a:lstStyle/>
        <a:p>
          <a:endParaRPr lang="en-US"/>
        </a:p>
      </dgm:t>
    </dgm:pt>
    <dgm:pt modelId="{DAA69257-AC04-483F-9FA3-3FB312442C53}">
      <dgm:prSet phldrT="[Text]"/>
      <dgm:spPr/>
      <dgm:t>
        <a:bodyPr/>
        <a:lstStyle/>
        <a:p>
          <a:r>
            <a:rPr lang="en-US" dirty="0"/>
            <a:t>Graph database</a:t>
          </a:r>
        </a:p>
      </dgm:t>
    </dgm:pt>
    <dgm:pt modelId="{59E28238-36F9-4D0E-AB8D-886AC60331F0}" type="parTrans" cxnId="{DDD1CFB8-BC84-4153-9411-9EF8943F5A83}">
      <dgm:prSet/>
      <dgm:spPr/>
      <dgm:t>
        <a:bodyPr/>
        <a:lstStyle/>
        <a:p>
          <a:endParaRPr lang="en-US"/>
        </a:p>
      </dgm:t>
    </dgm:pt>
    <dgm:pt modelId="{834686C3-46B1-461A-91E6-CB62DF2D20A0}" type="sibTrans" cxnId="{DDD1CFB8-BC84-4153-9411-9EF8943F5A83}">
      <dgm:prSet/>
      <dgm:spPr/>
      <dgm:t>
        <a:bodyPr/>
        <a:lstStyle/>
        <a:p>
          <a:endParaRPr lang="en-US"/>
        </a:p>
      </dgm:t>
    </dgm:pt>
    <dgm:pt modelId="{376527D9-FB0E-48E3-A429-165126DBDF99}">
      <dgm:prSet phldrT="[Text]"/>
      <dgm:spPr/>
      <dgm:t>
        <a:bodyPr/>
        <a:lstStyle/>
        <a:p>
          <a:r>
            <a:rPr lang="en-US" dirty="0"/>
            <a:t>Python</a:t>
          </a:r>
        </a:p>
      </dgm:t>
    </dgm:pt>
    <dgm:pt modelId="{962C375E-57EE-4979-A3F8-739406CAF017}" type="parTrans" cxnId="{83823580-BD2F-4392-845F-0E29F70BAD9D}">
      <dgm:prSet/>
      <dgm:spPr/>
      <dgm:t>
        <a:bodyPr/>
        <a:lstStyle/>
        <a:p>
          <a:endParaRPr lang="en-US"/>
        </a:p>
      </dgm:t>
    </dgm:pt>
    <dgm:pt modelId="{12705BC6-E2DE-453F-AC95-41B2FDB6F682}" type="sibTrans" cxnId="{83823580-BD2F-4392-845F-0E29F70BAD9D}">
      <dgm:prSet/>
      <dgm:spPr/>
      <dgm:t>
        <a:bodyPr/>
        <a:lstStyle/>
        <a:p>
          <a:endParaRPr lang="en-US"/>
        </a:p>
      </dgm:t>
    </dgm:pt>
    <dgm:pt modelId="{4B1C64F6-F9F8-4731-A9D2-E568B4918206}">
      <dgm:prSet phldrT="[Text]"/>
      <dgm:spPr/>
      <dgm:t>
        <a:bodyPr/>
        <a:lstStyle/>
        <a:p>
          <a:r>
            <a:rPr lang="en-US" dirty="0"/>
            <a:t>R and Machine Learning</a:t>
          </a:r>
        </a:p>
      </dgm:t>
    </dgm:pt>
    <dgm:pt modelId="{FC046830-7185-4FE8-B9E7-E671CB7D9A0A}" type="parTrans" cxnId="{46BFEBA7-3871-463B-AD3F-11E6EEDC66D2}">
      <dgm:prSet/>
      <dgm:spPr/>
      <dgm:t>
        <a:bodyPr/>
        <a:lstStyle/>
        <a:p>
          <a:endParaRPr lang="en-US"/>
        </a:p>
      </dgm:t>
    </dgm:pt>
    <dgm:pt modelId="{B6154DC2-4D71-4E25-921E-463F2E5B3FD1}" type="sibTrans" cxnId="{46BFEBA7-3871-463B-AD3F-11E6EEDC66D2}">
      <dgm:prSet/>
      <dgm:spPr/>
      <dgm:t>
        <a:bodyPr/>
        <a:lstStyle/>
        <a:p>
          <a:endParaRPr lang="en-US"/>
        </a:p>
      </dgm:t>
    </dgm:pt>
    <dgm:pt modelId="{A7887D1E-4C4A-44B0-880D-B3F928A5BE56}">
      <dgm:prSet phldrT="[Text]"/>
      <dgm:spPr/>
      <dgm:t>
        <a:bodyPr/>
        <a:lstStyle/>
        <a:p>
          <a:r>
            <a:rPr lang="en-US" i="1" dirty="0"/>
            <a:t>Clusterless</a:t>
          </a:r>
          <a:r>
            <a:rPr lang="en-US" dirty="0"/>
            <a:t> Availability Groups</a:t>
          </a:r>
        </a:p>
      </dgm:t>
    </dgm:pt>
    <dgm:pt modelId="{050A0357-44D9-4E3C-95E8-2E2B4664C62F}" type="parTrans" cxnId="{9F9F7E0D-F788-4CC5-B85A-6AAB1A4DDEF6}">
      <dgm:prSet/>
      <dgm:spPr/>
      <dgm:t>
        <a:bodyPr/>
        <a:lstStyle/>
        <a:p>
          <a:endParaRPr lang="en-US"/>
        </a:p>
      </dgm:t>
    </dgm:pt>
    <dgm:pt modelId="{F09F779C-0CE6-403B-B4E3-32372A4B31E8}" type="sibTrans" cxnId="{9F9F7E0D-F788-4CC5-B85A-6AAB1A4DDEF6}">
      <dgm:prSet/>
      <dgm:spPr/>
      <dgm:t>
        <a:bodyPr/>
        <a:lstStyle/>
        <a:p>
          <a:endParaRPr lang="en-US"/>
        </a:p>
      </dgm:t>
    </dgm:pt>
    <dgm:pt modelId="{FD0EC0B1-1D4C-4A4D-B6D8-E311BFCDD36A}">
      <dgm:prSet phldrT="[Text]"/>
      <dgm:spPr/>
      <dgm:t>
        <a:bodyPr/>
        <a:lstStyle/>
        <a:p>
          <a:r>
            <a:rPr lang="en-US" dirty="0"/>
            <a:t>Polybase</a:t>
          </a:r>
        </a:p>
      </dgm:t>
    </dgm:pt>
    <dgm:pt modelId="{CEB21D40-FE8E-4205-A462-684EC1BF8F10}" type="parTrans" cxnId="{5304D238-4356-4455-9B0A-495187751C59}">
      <dgm:prSet/>
      <dgm:spPr/>
    </dgm:pt>
    <dgm:pt modelId="{035D6721-2015-439B-BD3F-8B776E89947A}" type="sibTrans" cxnId="{5304D238-4356-4455-9B0A-495187751C59}">
      <dgm:prSet/>
      <dgm:spPr/>
    </dgm:pt>
    <dgm:pt modelId="{EC87EC59-01C5-40AE-B50D-70B540F5FCBF}" type="pres">
      <dgm:prSet presAssocID="{8739A664-2D40-416D-A42F-CE18B9833F35}" presName="theList" presStyleCnt="0">
        <dgm:presLayoutVars>
          <dgm:dir/>
          <dgm:animLvl val="lvl"/>
          <dgm:resizeHandles val="exact"/>
        </dgm:presLayoutVars>
      </dgm:prSet>
      <dgm:spPr/>
    </dgm:pt>
    <dgm:pt modelId="{BFAC1E04-42FE-495B-A6BE-B903E3F96E30}" type="pres">
      <dgm:prSet presAssocID="{FD6EE726-9166-4148-93D6-6AA7724F3FE1}" presName="compNode" presStyleCnt="0"/>
      <dgm:spPr/>
    </dgm:pt>
    <dgm:pt modelId="{FEA0678B-6C37-4397-A984-AA0E5ECE5678}" type="pres">
      <dgm:prSet presAssocID="{FD6EE726-9166-4148-93D6-6AA7724F3FE1}" presName="aNode" presStyleLbl="bgShp" presStyleIdx="0" presStyleCnt="2"/>
      <dgm:spPr/>
    </dgm:pt>
    <dgm:pt modelId="{0380E71B-A44F-4341-B3B9-535A2FFCDA90}" type="pres">
      <dgm:prSet presAssocID="{FD6EE726-9166-4148-93D6-6AA7724F3FE1}" presName="textNode" presStyleLbl="bgShp" presStyleIdx="0" presStyleCnt="2"/>
      <dgm:spPr/>
    </dgm:pt>
    <dgm:pt modelId="{85030D90-8B22-40B0-90E7-926A235C2766}" type="pres">
      <dgm:prSet presAssocID="{FD6EE726-9166-4148-93D6-6AA7724F3FE1}" presName="compChildNode" presStyleCnt="0"/>
      <dgm:spPr/>
    </dgm:pt>
    <dgm:pt modelId="{21089143-B006-4232-B72C-3CCBBB0B544D}" type="pres">
      <dgm:prSet presAssocID="{FD6EE726-9166-4148-93D6-6AA7724F3FE1}" presName="theInnerList" presStyleCnt="0"/>
      <dgm:spPr/>
    </dgm:pt>
    <dgm:pt modelId="{C558B9F0-3221-4C2C-9357-5311FBAD3127}" type="pres">
      <dgm:prSet presAssocID="{881EB94D-3F62-48CE-94A5-13B9A9F84058}" presName="childNode" presStyleLbl="node1" presStyleIdx="0" presStyleCnt="15">
        <dgm:presLayoutVars>
          <dgm:bulletEnabled val="1"/>
        </dgm:presLayoutVars>
      </dgm:prSet>
      <dgm:spPr/>
    </dgm:pt>
    <dgm:pt modelId="{4D761E80-09AB-461D-ACF5-54A61EA5B01B}" type="pres">
      <dgm:prSet presAssocID="{881EB94D-3F62-48CE-94A5-13B9A9F84058}" presName="aSpace2" presStyleCnt="0"/>
      <dgm:spPr/>
    </dgm:pt>
    <dgm:pt modelId="{DA2D2C97-9906-40C6-BF8F-965C6E93AAC7}" type="pres">
      <dgm:prSet presAssocID="{FD0EC0B1-1D4C-4A4D-B6D8-E311BFCDD36A}" presName="childNode" presStyleLbl="node1" presStyleIdx="1" presStyleCnt="15">
        <dgm:presLayoutVars>
          <dgm:bulletEnabled val="1"/>
        </dgm:presLayoutVars>
      </dgm:prSet>
      <dgm:spPr/>
    </dgm:pt>
    <dgm:pt modelId="{56D65134-40D8-42AC-ABAB-FF5CD2DE5875}" type="pres">
      <dgm:prSet presAssocID="{FD0EC0B1-1D4C-4A4D-B6D8-E311BFCDD36A}" presName="aSpace2" presStyleCnt="0"/>
      <dgm:spPr/>
    </dgm:pt>
    <dgm:pt modelId="{14955BB3-7454-4B7C-857E-D4B3A808FBEA}" type="pres">
      <dgm:prSet presAssocID="{4B6AEE15-6C43-4717-8017-F0556BB33716}" presName="childNode" presStyleLbl="node1" presStyleIdx="2" presStyleCnt="15">
        <dgm:presLayoutVars>
          <dgm:bulletEnabled val="1"/>
        </dgm:presLayoutVars>
      </dgm:prSet>
      <dgm:spPr/>
    </dgm:pt>
    <dgm:pt modelId="{B5B13AA7-757C-43A0-89C4-79042F1DA97B}" type="pres">
      <dgm:prSet presAssocID="{4B6AEE15-6C43-4717-8017-F0556BB33716}" presName="aSpace2" presStyleCnt="0"/>
      <dgm:spPr/>
    </dgm:pt>
    <dgm:pt modelId="{9DAB298F-C7D7-40C3-AEAF-B3A9C1BE4F3E}" type="pres">
      <dgm:prSet presAssocID="{933C4498-AB0C-4E61-9879-AEB2129C493F}" presName="childNode" presStyleLbl="node1" presStyleIdx="3" presStyleCnt="15">
        <dgm:presLayoutVars>
          <dgm:bulletEnabled val="1"/>
        </dgm:presLayoutVars>
      </dgm:prSet>
      <dgm:spPr/>
    </dgm:pt>
    <dgm:pt modelId="{1EA12E93-AF65-4169-B4E7-BFB176B2F886}" type="pres">
      <dgm:prSet presAssocID="{933C4498-AB0C-4E61-9879-AEB2129C493F}" presName="aSpace2" presStyleCnt="0"/>
      <dgm:spPr/>
    </dgm:pt>
    <dgm:pt modelId="{6625B9DB-080B-407C-A753-4A21C2B032D8}" type="pres">
      <dgm:prSet presAssocID="{66B7DDCB-EADA-40AD-BFE0-F80D0A6EA175}" presName="childNode" presStyleLbl="node1" presStyleIdx="4" presStyleCnt="15">
        <dgm:presLayoutVars>
          <dgm:bulletEnabled val="1"/>
        </dgm:presLayoutVars>
      </dgm:prSet>
      <dgm:spPr/>
    </dgm:pt>
    <dgm:pt modelId="{50EAFB14-DF85-4F28-BC76-CF96C52FDC4E}" type="pres">
      <dgm:prSet presAssocID="{66B7DDCB-EADA-40AD-BFE0-F80D0A6EA175}" presName="aSpace2" presStyleCnt="0"/>
      <dgm:spPr/>
    </dgm:pt>
    <dgm:pt modelId="{F03BA2C8-0EA8-4027-9427-FC921CA28BFF}" type="pres">
      <dgm:prSet presAssocID="{02F92CA9-480A-46FD-9907-4A614B2177DF}" presName="childNode" presStyleLbl="node1" presStyleIdx="5" presStyleCnt="15">
        <dgm:presLayoutVars>
          <dgm:bulletEnabled val="1"/>
        </dgm:presLayoutVars>
      </dgm:prSet>
      <dgm:spPr/>
    </dgm:pt>
    <dgm:pt modelId="{8DDF0586-15E7-497C-A81E-7C9B345B2882}" type="pres">
      <dgm:prSet presAssocID="{02F92CA9-480A-46FD-9907-4A614B2177DF}" presName="aSpace2" presStyleCnt="0"/>
      <dgm:spPr/>
    </dgm:pt>
    <dgm:pt modelId="{CBCFF23A-7FA0-4F60-9358-40C4DE08C619}" type="pres">
      <dgm:prSet presAssocID="{EABAD62C-46BD-4727-835C-8BBB3D8E4241}" presName="childNode" presStyleLbl="node1" presStyleIdx="6" presStyleCnt="15">
        <dgm:presLayoutVars>
          <dgm:bulletEnabled val="1"/>
        </dgm:presLayoutVars>
      </dgm:prSet>
      <dgm:spPr/>
    </dgm:pt>
    <dgm:pt modelId="{129F5168-0064-47C2-A544-67C5CB292214}" type="pres">
      <dgm:prSet presAssocID="{EABAD62C-46BD-4727-835C-8BBB3D8E4241}" presName="aSpace2" presStyleCnt="0"/>
      <dgm:spPr/>
    </dgm:pt>
    <dgm:pt modelId="{BAF2D761-C3A4-4FC9-9E66-C10498E393CA}" type="pres">
      <dgm:prSet presAssocID="{4B1C64F6-F9F8-4731-A9D2-E568B4918206}" presName="childNode" presStyleLbl="node1" presStyleIdx="7" presStyleCnt="15">
        <dgm:presLayoutVars>
          <dgm:bulletEnabled val="1"/>
        </dgm:presLayoutVars>
      </dgm:prSet>
      <dgm:spPr/>
    </dgm:pt>
    <dgm:pt modelId="{FEF17998-9E4D-4C1B-8A2B-4C8D738CDAE5}" type="pres">
      <dgm:prSet presAssocID="{4B1C64F6-F9F8-4731-A9D2-E568B4918206}" presName="aSpace2" presStyleCnt="0"/>
      <dgm:spPr/>
    </dgm:pt>
    <dgm:pt modelId="{52436426-258F-43C8-BBCF-6E0C021BD3A2}" type="pres">
      <dgm:prSet presAssocID="{73DE29BF-5C84-43F5-83D6-86511FDB9144}" presName="childNode" presStyleLbl="node1" presStyleIdx="8" presStyleCnt="15">
        <dgm:presLayoutVars>
          <dgm:bulletEnabled val="1"/>
        </dgm:presLayoutVars>
      </dgm:prSet>
      <dgm:spPr/>
    </dgm:pt>
    <dgm:pt modelId="{6609A97F-C98D-4C5E-A61E-7F36BDE9C819}" type="pres">
      <dgm:prSet presAssocID="{FD6EE726-9166-4148-93D6-6AA7724F3FE1}" presName="aSpace" presStyleCnt="0"/>
      <dgm:spPr/>
    </dgm:pt>
    <dgm:pt modelId="{7D49D6FE-189B-44AF-85E9-A3B78B62E0C9}" type="pres">
      <dgm:prSet presAssocID="{8AD665DB-0508-4D5B-B1AD-691EDEC4BD8D}" presName="compNode" presStyleCnt="0"/>
      <dgm:spPr/>
    </dgm:pt>
    <dgm:pt modelId="{8177A520-5A0C-4244-ADC2-822920B3603A}" type="pres">
      <dgm:prSet presAssocID="{8AD665DB-0508-4D5B-B1AD-691EDEC4BD8D}" presName="aNode" presStyleLbl="bgShp" presStyleIdx="1" presStyleCnt="2"/>
      <dgm:spPr/>
    </dgm:pt>
    <dgm:pt modelId="{234D8CDB-D51E-439A-A8A1-EBFFEA6599DE}" type="pres">
      <dgm:prSet presAssocID="{8AD665DB-0508-4D5B-B1AD-691EDEC4BD8D}" presName="textNode" presStyleLbl="bgShp" presStyleIdx="1" presStyleCnt="2"/>
      <dgm:spPr/>
    </dgm:pt>
    <dgm:pt modelId="{8CB836F5-2C1B-4238-94C3-BA26BF7268A2}" type="pres">
      <dgm:prSet presAssocID="{8AD665DB-0508-4D5B-B1AD-691EDEC4BD8D}" presName="compChildNode" presStyleCnt="0"/>
      <dgm:spPr/>
    </dgm:pt>
    <dgm:pt modelId="{24975075-D217-4B1A-8D70-F75E0B154849}" type="pres">
      <dgm:prSet presAssocID="{8AD665DB-0508-4D5B-B1AD-691EDEC4BD8D}" presName="theInnerList" presStyleCnt="0"/>
      <dgm:spPr/>
    </dgm:pt>
    <dgm:pt modelId="{D9EA7C31-6A85-4C11-AF1A-E2FAB6E4C479}" type="pres">
      <dgm:prSet presAssocID="{C093F4C6-A700-48CB-9750-40366AB6AB0E}" presName="childNode" presStyleLbl="node1" presStyleIdx="9" presStyleCnt="15">
        <dgm:presLayoutVars>
          <dgm:bulletEnabled val="1"/>
        </dgm:presLayoutVars>
      </dgm:prSet>
      <dgm:spPr/>
    </dgm:pt>
    <dgm:pt modelId="{5F474629-4ADA-4ED7-8B17-7EAA559A6F0E}" type="pres">
      <dgm:prSet presAssocID="{C093F4C6-A700-48CB-9750-40366AB6AB0E}" presName="aSpace2" presStyleCnt="0"/>
      <dgm:spPr/>
    </dgm:pt>
    <dgm:pt modelId="{3BA22687-9C03-4BE3-B1D8-3AB7FB5EA104}" type="pres">
      <dgm:prSet presAssocID="{2418D345-B411-4C58-BD23-E51F318848A8}" presName="childNode" presStyleLbl="node1" presStyleIdx="10" presStyleCnt="15">
        <dgm:presLayoutVars>
          <dgm:bulletEnabled val="1"/>
        </dgm:presLayoutVars>
      </dgm:prSet>
      <dgm:spPr/>
    </dgm:pt>
    <dgm:pt modelId="{82BCE1AF-D8D5-4ACB-A2BB-D1F664C46C2B}" type="pres">
      <dgm:prSet presAssocID="{2418D345-B411-4C58-BD23-E51F318848A8}" presName="aSpace2" presStyleCnt="0"/>
      <dgm:spPr/>
    </dgm:pt>
    <dgm:pt modelId="{43EFC17D-4366-4EEF-A4EC-C09CFDE6CFA1}" type="pres">
      <dgm:prSet presAssocID="{67C9571E-0866-48FD-953B-A5E51383CF0B}" presName="childNode" presStyleLbl="node1" presStyleIdx="11" presStyleCnt="15">
        <dgm:presLayoutVars>
          <dgm:bulletEnabled val="1"/>
        </dgm:presLayoutVars>
      </dgm:prSet>
      <dgm:spPr/>
    </dgm:pt>
    <dgm:pt modelId="{6A15B4F8-A860-458D-9F5C-6A959B3E01B1}" type="pres">
      <dgm:prSet presAssocID="{67C9571E-0866-48FD-953B-A5E51383CF0B}" presName="aSpace2" presStyleCnt="0"/>
      <dgm:spPr/>
    </dgm:pt>
    <dgm:pt modelId="{0517F963-117B-4680-9A6B-E0356D8B1455}" type="pres">
      <dgm:prSet presAssocID="{A7887D1E-4C4A-44B0-880D-B3F928A5BE56}" presName="childNode" presStyleLbl="node1" presStyleIdx="12" presStyleCnt="15">
        <dgm:presLayoutVars>
          <dgm:bulletEnabled val="1"/>
        </dgm:presLayoutVars>
      </dgm:prSet>
      <dgm:spPr/>
    </dgm:pt>
    <dgm:pt modelId="{DB3B932D-5E03-46D3-A8E6-921238117D46}" type="pres">
      <dgm:prSet presAssocID="{A7887D1E-4C4A-44B0-880D-B3F928A5BE56}" presName="aSpace2" presStyleCnt="0"/>
      <dgm:spPr/>
    </dgm:pt>
    <dgm:pt modelId="{BAECC03D-F0C0-406C-9F35-25FF06F8EB49}" type="pres">
      <dgm:prSet presAssocID="{DAA69257-AC04-483F-9FA3-3FB312442C53}" presName="childNode" presStyleLbl="node1" presStyleIdx="13" presStyleCnt="15">
        <dgm:presLayoutVars>
          <dgm:bulletEnabled val="1"/>
        </dgm:presLayoutVars>
      </dgm:prSet>
      <dgm:spPr/>
    </dgm:pt>
    <dgm:pt modelId="{D2A4D120-1E50-4D77-A8A5-6D1F808588A5}" type="pres">
      <dgm:prSet presAssocID="{DAA69257-AC04-483F-9FA3-3FB312442C53}" presName="aSpace2" presStyleCnt="0"/>
      <dgm:spPr/>
    </dgm:pt>
    <dgm:pt modelId="{5D4E2A2F-3FEC-4A6B-A629-266559C51F3C}" type="pres">
      <dgm:prSet presAssocID="{376527D9-FB0E-48E3-A429-165126DBDF99}" presName="childNode" presStyleLbl="node1" presStyleIdx="14" presStyleCnt="15">
        <dgm:presLayoutVars>
          <dgm:bulletEnabled val="1"/>
        </dgm:presLayoutVars>
      </dgm:prSet>
      <dgm:spPr/>
    </dgm:pt>
  </dgm:ptLst>
  <dgm:cxnLst>
    <dgm:cxn modelId="{6CACA101-46EF-4A1F-98C5-92C6961583FF}" type="presOf" srcId="{02F92CA9-480A-46FD-9907-4A614B2177DF}" destId="{F03BA2C8-0EA8-4027-9427-FC921CA28BFF}" srcOrd="0" destOrd="0" presId="urn:microsoft.com/office/officeart/2005/8/layout/lProcess2"/>
    <dgm:cxn modelId="{8B6F7302-2958-4D40-ADC2-A1FD64B36EEC}" srcId="{8AD665DB-0508-4D5B-B1AD-691EDEC4BD8D}" destId="{C093F4C6-A700-48CB-9750-40366AB6AB0E}" srcOrd="0" destOrd="0" parTransId="{C2FB4E9B-AFEF-43EB-9F24-ACC3DDBD03A5}" sibTransId="{10730959-3164-41C0-A612-9A65CED1EEC6}"/>
    <dgm:cxn modelId="{A6D06405-7AE3-4D41-A547-BC1AD09EE3EC}" type="presOf" srcId="{881EB94D-3F62-48CE-94A5-13B9A9F84058}" destId="{C558B9F0-3221-4C2C-9357-5311FBAD3127}" srcOrd="0" destOrd="0" presId="urn:microsoft.com/office/officeart/2005/8/layout/lProcess2"/>
    <dgm:cxn modelId="{9F9F7E0D-F788-4CC5-B85A-6AAB1A4DDEF6}" srcId="{8AD665DB-0508-4D5B-B1AD-691EDEC4BD8D}" destId="{A7887D1E-4C4A-44B0-880D-B3F928A5BE56}" srcOrd="3" destOrd="0" parTransId="{050A0357-44D9-4E3C-95E8-2E2B4664C62F}" sibTransId="{F09F779C-0CE6-403B-B4E3-32372A4B31E8}"/>
    <dgm:cxn modelId="{3507422F-4C19-4FF6-B13A-6AA24C44C3CB}" type="presOf" srcId="{4B1C64F6-F9F8-4731-A9D2-E568B4918206}" destId="{BAF2D761-C3A4-4FC9-9E66-C10498E393CA}" srcOrd="0" destOrd="0" presId="urn:microsoft.com/office/officeart/2005/8/layout/lProcess2"/>
    <dgm:cxn modelId="{A7C8A230-21C9-4651-811A-D923C4FF855E}" type="presOf" srcId="{67C9571E-0866-48FD-953B-A5E51383CF0B}" destId="{43EFC17D-4366-4EEF-A4EC-C09CFDE6CFA1}" srcOrd="0" destOrd="0" presId="urn:microsoft.com/office/officeart/2005/8/layout/lProcess2"/>
    <dgm:cxn modelId="{5304D238-4356-4455-9B0A-495187751C59}" srcId="{FD6EE726-9166-4148-93D6-6AA7724F3FE1}" destId="{FD0EC0B1-1D4C-4A4D-B6D8-E311BFCDD36A}" srcOrd="1" destOrd="0" parTransId="{CEB21D40-FE8E-4205-A462-684EC1BF8F10}" sibTransId="{035D6721-2015-439B-BD3F-8B776E89947A}"/>
    <dgm:cxn modelId="{4DA93549-A615-45C4-AB15-6954730C514C}" type="presOf" srcId="{FD6EE726-9166-4148-93D6-6AA7724F3FE1}" destId="{FEA0678B-6C37-4397-A984-AA0E5ECE5678}" srcOrd="0" destOrd="0" presId="urn:microsoft.com/office/officeart/2005/8/layout/lProcess2"/>
    <dgm:cxn modelId="{2EAD0C4A-FE54-4248-ADD8-FE271ACA5C73}" type="presOf" srcId="{8AD665DB-0508-4D5B-B1AD-691EDEC4BD8D}" destId="{8177A520-5A0C-4244-ADC2-822920B3603A}" srcOrd="0" destOrd="0" presId="urn:microsoft.com/office/officeart/2005/8/layout/lProcess2"/>
    <dgm:cxn modelId="{9449AE50-415B-4B10-B415-4D4E4B84DB2E}" type="presOf" srcId="{2418D345-B411-4C58-BD23-E51F318848A8}" destId="{3BA22687-9C03-4BE3-B1D8-3AB7FB5EA104}" srcOrd="0" destOrd="0" presId="urn:microsoft.com/office/officeart/2005/8/layout/lProcess2"/>
    <dgm:cxn modelId="{318E2C55-CDEB-4E3E-9D81-7CE9FAAEAAC1}" type="presOf" srcId="{A7887D1E-4C4A-44B0-880D-B3F928A5BE56}" destId="{0517F963-117B-4680-9A6B-E0356D8B1455}" srcOrd="0" destOrd="0" presId="urn:microsoft.com/office/officeart/2005/8/layout/lProcess2"/>
    <dgm:cxn modelId="{8D192558-7301-4D7B-845F-DE2AB37BD24A}" type="presOf" srcId="{376527D9-FB0E-48E3-A429-165126DBDF99}" destId="{5D4E2A2F-3FEC-4A6B-A629-266559C51F3C}" srcOrd="0" destOrd="0" presId="urn:microsoft.com/office/officeart/2005/8/layout/lProcess2"/>
    <dgm:cxn modelId="{AD84797A-AE19-48D5-AB70-0F1DA2A83838}" type="presOf" srcId="{8739A664-2D40-416D-A42F-CE18B9833F35}" destId="{EC87EC59-01C5-40AE-B50D-70B540F5FCBF}" srcOrd="0" destOrd="0" presId="urn:microsoft.com/office/officeart/2005/8/layout/lProcess2"/>
    <dgm:cxn modelId="{83823580-BD2F-4392-845F-0E29F70BAD9D}" srcId="{8AD665DB-0508-4D5B-B1AD-691EDEC4BD8D}" destId="{376527D9-FB0E-48E3-A429-165126DBDF99}" srcOrd="5" destOrd="0" parTransId="{962C375E-57EE-4979-A3F8-739406CAF017}" sibTransId="{12705BC6-E2DE-453F-AC95-41B2FDB6F682}"/>
    <dgm:cxn modelId="{6522B082-A16B-45FE-B1F3-F5C368CB5E90}" srcId="{FD6EE726-9166-4148-93D6-6AA7724F3FE1}" destId="{4B6AEE15-6C43-4717-8017-F0556BB33716}" srcOrd="2" destOrd="0" parTransId="{0918F771-7E9F-4A4B-BD4A-8392A0C8DB84}" sibTransId="{9497ADA9-A83E-462B-9453-6E825A59DD71}"/>
    <dgm:cxn modelId="{101A108B-3CD3-4DB1-B0D2-B7B6410CFFB2}" type="presOf" srcId="{66B7DDCB-EADA-40AD-BFE0-F80D0A6EA175}" destId="{6625B9DB-080B-407C-A753-4A21C2B032D8}" srcOrd="0" destOrd="0" presId="urn:microsoft.com/office/officeart/2005/8/layout/lProcess2"/>
    <dgm:cxn modelId="{A9AD1491-3260-4D9C-8FC7-F2B63ED5307D}" type="presOf" srcId="{933C4498-AB0C-4E61-9879-AEB2129C493F}" destId="{9DAB298F-C7D7-40C3-AEAF-B3A9C1BE4F3E}" srcOrd="0" destOrd="0" presId="urn:microsoft.com/office/officeart/2005/8/layout/lProcess2"/>
    <dgm:cxn modelId="{DB67459A-548A-47A4-9353-244908445C65}" type="presOf" srcId="{DAA69257-AC04-483F-9FA3-3FB312442C53}" destId="{BAECC03D-F0C0-406C-9F35-25FF06F8EB49}" srcOrd="0" destOrd="0" presId="urn:microsoft.com/office/officeart/2005/8/layout/lProcess2"/>
    <dgm:cxn modelId="{8CB127A4-50ED-4B07-B427-205A9F91F7E4}" srcId="{8739A664-2D40-416D-A42F-CE18B9833F35}" destId="{8AD665DB-0508-4D5B-B1AD-691EDEC4BD8D}" srcOrd="1" destOrd="0" parTransId="{83247137-A056-4C97-9251-7F0869287AF4}" sibTransId="{15900B0D-A15C-4556-91E5-0B57D9693B81}"/>
    <dgm:cxn modelId="{5F5F68A5-D806-4BF1-A7B8-8079CFE26376}" type="presOf" srcId="{8AD665DB-0508-4D5B-B1AD-691EDEC4BD8D}" destId="{234D8CDB-D51E-439A-A8A1-EBFFEA6599DE}" srcOrd="1" destOrd="0" presId="urn:microsoft.com/office/officeart/2005/8/layout/lProcess2"/>
    <dgm:cxn modelId="{89B051A5-273E-45D8-B9F3-E519F578F344}" srcId="{8AD665DB-0508-4D5B-B1AD-691EDEC4BD8D}" destId="{2418D345-B411-4C58-BD23-E51F318848A8}" srcOrd="1" destOrd="0" parTransId="{F5A1D081-4D79-42CC-B0B0-B189721F85F1}" sibTransId="{C7117A94-F704-432E-A635-CFE495B2B2A6}"/>
    <dgm:cxn modelId="{46BFEBA7-3871-463B-AD3F-11E6EEDC66D2}" srcId="{FD6EE726-9166-4148-93D6-6AA7724F3FE1}" destId="{4B1C64F6-F9F8-4731-A9D2-E568B4918206}" srcOrd="7" destOrd="0" parTransId="{FC046830-7185-4FE8-B9E7-E671CB7D9A0A}" sibTransId="{B6154DC2-4D71-4E25-921E-463F2E5B3FD1}"/>
    <dgm:cxn modelId="{12644EAB-0098-49AF-B777-2D5A850D0491}" type="presOf" srcId="{FD6EE726-9166-4148-93D6-6AA7724F3FE1}" destId="{0380E71B-A44F-4341-B3B9-535A2FFCDA90}" srcOrd="1" destOrd="0" presId="urn:microsoft.com/office/officeart/2005/8/layout/lProcess2"/>
    <dgm:cxn modelId="{2365C6AD-4B59-48CF-B64D-AD7DC90E9799}" srcId="{8AD665DB-0508-4D5B-B1AD-691EDEC4BD8D}" destId="{67C9571E-0866-48FD-953B-A5E51383CF0B}" srcOrd="2" destOrd="0" parTransId="{370C454E-C8A7-4242-BEFF-C5D6900A3EA4}" sibTransId="{4202BB25-16EC-4D8C-997F-118049327917}"/>
    <dgm:cxn modelId="{DDD1CFB8-BC84-4153-9411-9EF8943F5A83}" srcId="{8AD665DB-0508-4D5B-B1AD-691EDEC4BD8D}" destId="{DAA69257-AC04-483F-9FA3-3FB312442C53}" srcOrd="4" destOrd="0" parTransId="{59E28238-36F9-4D0E-AB8D-886AC60331F0}" sibTransId="{834686C3-46B1-461A-91E6-CB62DF2D20A0}"/>
    <dgm:cxn modelId="{EE4E61B9-71D3-4E22-8129-7D7D478F8E15}" srcId="{FD6EE726-9166-4148-93D6-6AA7724F3FE1}" destId="{933C4498-AB0C-4E61-9879-AEB2129C493F}" srcOrd="3" destOrd="0" parTransId="{E9E0D327-8837-4E20-A9A4-EBBEEB1C9C2D}" sibTransId="{892A4CA4-E336-4FA7-BC5B-C8F233008980}"/>
    <dgm:cxn modelId="{D71FBCBE-5F92-41B8-AF5E-57EC1F20CD72}" type="presOf" srcId="{73DE29BF-5C84-43F5-83D6-86511FDB9144}" destId="{52436426-258F-43C8-BBCF-6E0C021BD3A2}" srcOrd="0" destOrd="0" presId="urn:microsoft.com/office/officeart/2005/8/layout/lProcess2"/>
    <dgm:cxn modelId="{2887CED1-DFEA-4F2B-9C74-5128B8AE5003}" srcId="{FD6EE726-9166-4148-93D6-6AA7724F3FE1}" destId="{66B7DDCB-EADA-40AD-BFE0-F80D0A6EA175}" srcOrd="4" destOrd="0" parTransId="{0088B0B6-BD40-423F-9DC0-34E5F4236BE9}" sibTransId="{996929F7-9332-4238-AB68-7ADB6684F082}"/>
    <dgm:cxn modelId="{7A5B47D8-6714-478A-A923-C72CB9E1494F}" type="presOf" srcId="{EABAD62C-46BD-4727-835C-8BBB3D8E4241}" destId="{CBCFF23A-7FA0-4F60-9358-40C4DE08C619}" srcOrd="0" destOrd="0" presId="urn:microsoft.com/office/officeart/2005/8/layout/lProcess2"/>
    <dgm:cxn modelId="{3BAB37DC-7FF9-4424-8C93-5234F5BA7753}" srcId="{FD6EE726-9166-4148-93D6-6AA7724F3FE1}" destId="{73DE29BF-5C84-43F5-83D6-86511FDB9144}" srcOrd="8" destOrd="0" parTransId="{2D075395-F39A-40AE-88F8-8AD4267EC343}" sibTransId="{D322BB83-FD4A-46C4-848F-41BEA462395B}"/>
    <dgm:cxn modelId="{DF63D9DC-623B-42CD-82F8-B3DB2BD64C3F}" srcId="{FD6EE726-9166-4148-93D6-6AA7724F3FE1}" destId="{881EB94D-3F62-48CE-94A5-13B9A9F84058}" srcOrd="0" destOrd="0" parTransId="{BC909361-7E12-4BE3-B7C4-7ED67F159DA2}" sibTransId="{F98EF4F1-C204-4EE4-8174-1E12A75CF540}"/>
    <dgm:cxn modelId="{F03985E1-C08B-4519-8626-8FCE183EF73C}" type="presOf" srcId="{4B6AEE15-6C43-4717-8017-F0556BB33716}" destId="{14955BB3-7454-4B7C-857E-D4B3A808FBEA}" srcOrd="0" destOrd="0" presId="urn:microsoft.com/office/officeart/2005/8/layout/lProcess2"/>
    <dgm:cxn modelId="{798475E2-2C51-472B-9DA1-3EC7736528BB}" srcId="{FD6EE726-9166-4148-93D6-6AA7724F3FE1}" destId="{EABAD62C-46BD-4727-835C-8BBB3D8E4241}" srcOrd="6" destOrd="0" parTransId="{DE9F6AEE-5A2E-42B3-BF15-C42CC1CD8999}" sibTransId="{B56111E9-5F66-49A0-8D03-C5C61519361A}"/>
    <dgm:cxn modelId="{A42BB6E4-99C1-4A6E-9D72-21E0C982FD2F}" srcId="{FD6EE726-9166-4148-93D6-6AA7724F3FE1}" destId="{02F92CA9-480A-46FD-9907-4A614B2177DF}" srcOrd="5" destOrd="0" parTransId="{48E3AB27-82E1-4C5A-8352-7B299CED45A0}" sibTransId="{AB2AF10C-ADAD-4271-88D4-DAEEB9F4C8F8}"/>
    <dgm:cxn modelId="{325B9EE8-3A65-429B-AB17-44DDB9FDC566}" type="presOf" srcId="{C093F4C6-A700-48CB-9750-40366AB6AB0E}" destId="{D9EA7C31-6A85-4C11-AF1A-E2FAB6E4C479}" srcOrd="0" destOrd="0" presId="urn:microsoft.com/office/officeart/2005/8/layout/lProcess2"/>
    <dgm:cxn modelId="{798F13E9-A54C-4546-95BB-B7F85EB632E4}" type="presOf" srcId="{FD0EC0B1-1D4C-4A4D-B6D8-E311BFCDD36A}" destId="{DA2D2C97-9906-40C6-BF8F-965C6E93AAC7}" srcOrd="0" destOrd="0" presId="urn:microsoft.com/office/officeart/2005/8/layout/lProcess2"/>
    <dgm:cxn modelId="{128BB5F8-6672-4A7A-8C65-BE613802AD59}" srcId="{8739A664-2D40-416D-A42F-CE18B9833F35}" destId="{FD6EE726-9166-4148-93D6-6AA7724F3FE1}" srcOrd="0" destOrd="0" parTransId="{7BB36E54-14D8-48DA-93E4-C212CE67A33E}" sibTransId="{FE6F2F45-5989-42E3-8EDE-BE0D22DF86BB}"/>
    <dgm:cxn modelId="{1600596F-3E27-434D-BB97-4244AD352676}" type="presParOf" srcId="{EC87EC59-01C5-40AE-B50D-70B540F5FCBF}" destId="{BFAC1E04-42FE-495B-A6BE-B903E3F96E30}" srcOrd="0" destOrd="0" presId="urn:microsoft.com/office/officeart/2005/8/layout/lProcess2"/>
    <dgm:cxn modelId="{BAB1132B-8EBF-435F-A341-1BFF66D2713E}" type="presParOf" srcId="{BFAC1E04-42FE-495B-A6BE-B903E3F96E30}" destId="{FEA0678B-6C37-4397-A984-AA0E5ECE5678}" srcOrd="0" destOrd="0" presId="urn:microsoft.com/office/officeart/2005/8/layout/lProcess2"/>
    <dgm:cxn modelId="{BDABE863-E095-4F52-9B22-A83AE85B14E6}" type="presParOf" srcId="{BFAC1E04-42FE-495B-A6BE-B903E3F96E30}" destId="{0380E71B-A44F-4341-B3B9-535A2FFCDA90}" srcOrd="1" destOrd="0" presId="urn:microsoft.com/office/officeart/2005/8/layout/lProcess2"/>
    <dgm:cxn modelId="{869EB781-BF71-4F53-8C76-0BC51C230725}" type="presParOf" srcId="{BFAC1E04-42FE-495B-A6BE-B903E3F96E30}" destId="{85030D90-8B22-40B0-90E7-926A235C2766}" srcOrd="2" destOrd="0" presId="urn:microsoft.com/office/officeart/2005/8/layout/lProcess2"/>
    <dgm:cxn modelId="{1FDF96D7-4813-43A2-80D5-33BDB4753A17}" type="presParOf" srcId="{85030D90-8B22-40B0-90E7-926A235C2766}" destId="{21089143-B006-4232-B72C-3CCBBB0B544D}" srcOrd="0" destOrd="0" presId="urn:microsoft.com/office/officeart/2005/8/layout/lProcess2"/>
    <dgm:cxn modelId="{DBAF464D-1F54-49E1-8D22-568D886E02AE}" type="presParOf" srcId="{21089143-B006-4232-B72C-3CCBBB0B544D}" destId="{C558B9F0-3221-4C2C-9357-5311FBAD3127}" srcOrd="0" destOrd="0" presId="urn:microsoft.com/office/officeart/2005/8/layout/lProcess2"/>
    <dgm:cxn modelId="{9531F6B3-E768-45EB-BB42-91104DBE3EDD}" type="presParOf" srcId="{21089143-B006-4232-B72C-3CCBBB0B544D}" destId="{4D761E80-09AB-461D-ACF5-54A61EA5B01B}" srcOrd="1" destOrd="0" presId="urn:microsoft.com/office/officeart/2005/8/layout/lProcess2"/>
    <dgm:cxn modelId="{2809DD01-CA04-4C50-A454-A78C78823603}" type="presParOf" srcId="{21089143-B006-4232-B72C-3CCBBB0B544D}" destId="{DA2D2C97-9906-40C6-BF8F-965C6E93AAC7}" srcOrd="2" destOrd="0" presId="urn:microsoft.com/office/officeart/2005/8/layout/lProcess2"/>
    <dgm:cxn modelId="{35D15C81-FDA1-4F53-8DA6-6D5F6E572368}" type="presParOf" srcId="{21089143-B006-4232-B72C-3CCBBB0B544D}" destId="{56D65134-40D8-42AC-ABAB-FF5CD2DE5875}" srcOrd="3" destOrd="0" presId="urn:microsoft.com/office/officeart/2005/8/layout/lProcess2"/>
    <dgm:cxn modelId="{D9D59200-5FB1-449C-B175-EFF04EF987F7}" type="presParOf" srcId="{21089143-B006-4232-B72C-3CCBBB0B544D}" destId="{14955BB3-7454-4B7C-857E-D4B3A808FBEA}" srcOrd="4" destOrd="0" presId="urn:microsoft.com/office/officeart/2005/8/layout/lProcess2"/>
    <dgm:cxn modelId="{AA5E003E-3124-4BAF-BE18-9327DED78D61}" type="presParOf" srcId="{21089143-B006-4232-B72C-3CCBBB0B544D}" destId="{B5B13AA7-757C-43A0-89C4-79042F1DA97B}" srcOrd="5" destOrd="0" presId="urn:microsoft.com/office/officeart/2005/8/layout/lProcess2"/>
    <dgm:cxn modelId="{392CD598-1FE8-47A5-AEFC-2FB07A3C92C1}" type="presParOf" srcId="{21089143-B006-4232-B72C-3CCBBB0B544D}" destId="{9DAB298F-C7D7-40C3-AEAF-B3A9C1BE4F3E}" srcOrd="6" destOrd="0" presId="urn:microsoft.com/office/officeart/2005/8/layout/lProcess2"/>
    <dgm:cxn modelId="{66387FC5-BE20-4AAD-A966-BE24D2EACAFB}" type="presParOf" srcId="{21089143-B006-4232-B72C-3CCBBB0B544D}" destId="{1EA12E93-AF65-4169-B4E7-BFB176B2F886}" srcOrd="7" destOrd="0" presId="urn:microsoft.com/office/officeart/2005/8/layout/lProcess2"/>
    <dgm:cxn modelId="{09F85AA8-1269-4EEB-8E58-087043E5EEFD}" type="presParOf" srcId="{21089143-B006-4232-B72C-3CCBBB0B544D}" destId="{6625B9DB-080B-407C-A753-4A21C2B032D8}" srcOrd="8" destOrd="0" presId="urn:microsoft.com/office/officeart/2005/8/layout/lProcess2"/>
    <dgm:cxn modelId="{374EBEA9-CF64-4FD7-957D-76F9FD534A99}" type="presParOf" srcId="{21089143-B006-4232-B72C-3CCBBB0B544D}" destId="{50EAFB14-DF85-4F28-BC76-CF96C52FDC4E}" srcOrd="9" destOrd="0" presId="urn:microsoft.com/office/officeart/2005/8/layout/lProcess2"/>
    <dgm:cxn modelId="{E6F42921-67FB-434A-92FF-34F25D1CAB81}" type="presParOf" srcId="{21089143-B006-4232-B72C-3CCBBB0B544D}" destId="{F03BA2C8-0EA8-4027-9427-FC921CA28BFF}" srcOrd="10" destOrd="0" presId="urn:microsoft.com/office/officeart/2005/8/layout/lProcess2"/>
    <dgm:cxn modelId="{38CE3A5B-30EB-4124-BC5B-D9D11B1EF786}" type="presParOf" srcId="{21089143-B006-4232-B72C-3CCBBB0B544D}" destId="{8DDF0586-15E7-497C-A81E-7C9B345B2882}" srcOrd="11" destOrd="0" presId="urn:microsoft.com/office/officeart/2005/8/layout/lProcess2"/>
    <dgm:cxn modelId="{9638B5E3-60EC-475F-A775-B3159162F22C}" type="presParOf" srcId="{21089143-B006-4232-B72C-3CCBBB0B544D}" destId="{CBCFF23A-7FA0-4F60-9358-40C4DE08C619}" srcOrd="12" destOrd="0" presId="urn:microsoft.com/office/officeart/2005/8/layout/lProcess2"/>
    <dgm:cxn modelId="{9E04262A-B5BC-486A-9ED5-6E9AC007150B}" type="presParOf" srcId="{21089143-B006-4232-B72C-3CCBBB0B544D}" destId="{129F5168-0064-47C2-A544-67C5CB292214}" srcOrd="13" destOrd="0" presId="urn:microsoft.com/office/officeart/2005/8/layout/lProcess2"/>
    <dgm:cxn modelId="{E3AB69E1-56A9-4E07-BDE3-3B1A4DF0D2CC}" type="presParOf" srcId="{21089143-B006-4232-B72C-3CCBBB0B544D}" destId="{BAF2D761-C3A4-4FC9-9E66-C10498E393CA}" srcOrd="14" destOrd="0" presId="urn:microsoft.com/office/officeart/2005/8/layout/lProcess2"/>
    <dgm:cxn modelId="{CE7FF374-DA10-4FC8-9FFD-5F7971638153}" type="presParOf" srcId="{21089143-B006-4232-B72C-3CCBBB0B544D}" destId="{FEF17998-9E4D-4C1B-8A2B-4C8D738CDAE5}" srcOrd="15" destOrd="0" presId="urn:microsoft.com/office/officeart/2005/8/layout/lProcess2"/>
    <dgm:cxn modelId="{E850B33F-ABB6-49C1-B35D-2B28D90277B9}" type="presParOf" srcId="{21089143-B006-4232-B72C-3CCBBB0B544D}" destId="{52436426-258F-43C8-BBCF-6E0C021BD3A2}" srcOrd="16" destOrd="0" presId="urn:microsoft.com/office/officeart/2005/8/layout/lProcess2"/>
    <dgm:cxn modelId="{BB3ACED3-115D-4134-A689-58523CD0F8E6}" type="presParOf" srcId="{EC87EC59-01C5-40AE-B50D-70B540F5FCBF}" destId="{6609A97F-C98D-4C5E-A61E-7F36BDE9C819}" srcOrd="1" destOrd="0" presId="urn:microsoft.com/office/officeart/2005/8/layout/lProcess2"/>
    <dgm:cxn modelId="{51B8E22E-41BC-4430-A93F-9E27C9E67554}" type="presParOf" srcId="{EC87EC59-01C5-40AE-B50D-70B540F5FCBF}" destId="{7D49D6FE-189B-44AF-85E9-A3B78B62E0C9}" srcOrd="2" destOrd="0" presId="urn:microsoft.com/office/officeart/2005/8/layout/lProcess2"/>
    <dgm:cxn modelId="{DBE90816-45E2-4F55-B6C6-70D99B57885B}" type="presParOf" srcId="{7D49D6FE-189B-44AF-85E9-A3B78B62E0C9}" destId="{8177A520-5A0C-4244-ADC2-822920B3603A}" srcOrd="0" destOrd="0" presId="urn:microsoft.com/office/officeart/2005/8/layout/lProcess2"/>
    <dgm:cxn modelId="{4D14FF3A-E585-49F5-8CD3-F330A0980704}" type="presParOf" srcId="{7D49D6FE-189B-44AF-85E9-A3B78B62E0C9}" destId="{234D8CDB-D51E-439A-A8A1-EBFFEA6599DE}" srcOrd="1" destOrd="0" presId="urn:microsoft.com/office/officeart/2005/8/layout/lProcess2"/>
    <dgm:cxn modelId="{567FE808-931A-45FE-A5A9-2DA0F564F9A1}" type="presParOf" srcId="{7D49D6FE-189B-44AF-85E9-A3B78B62E0C9}" destId="{8CB836F5-2C1B-4238-94C3-BA26BF7268A2}" srcOrd="2" destOrd="0" presId="urn:microsoft.com/office/officeart/2005/8/layout/lProcess2"/>
    <dgm:cxn modelId="{5C3901C8-BE59-4B98-8DEE-148B12A83766}" type="presParOf" srcId="{8CB836F5-2C1B-4238-94C3-BA26BF7268A2}" destId="{24975075-D217-4B1A-8D70-F75E0B154849}" srcOrd="0" destOrd="0" presId="urn:microsoft.com/office/officeart/2005/8/layout/lProcess2"/>
    <dgm:cxn modelId="{15514D10-F2BE-4CD1-93E3-006F2601788E}" type="presParOf" srcId="{24975075-D217-4B1A-8D70-F75E0B154849}" destId="{D9EA7C31-6A85-4C11-AF1A-E2FAB6E4C479}" srcOrd="0" destOrd="0" presId="urn:microsoft.com/office/officeart/2005/8/layout/lProcess2"/>
    <dgm:cxn modelId="{0B3361D8-10BA-43E0-8651-3F499866E03C}" type="presParOf" srcId="{24975075-D217-4B1A-8D70-F75E0B154849}" destId="{5F474629-4ADA-4ED7-8B17-7EAA559A6F0E}" srcOrd="1" destOrd="0" presId="urn:microsoft.com/office/officeart/2005/8/layout/lProcess2"/>
    <dgm:cxn modelId="{0F02BC7C-D3EF-4C6C-8F49-873BE15B3F33}" type="presParOf" srcId="{24975075-D217-4B1A-8D70-F75E0B154849}" destId="{3BA22687-9C03-4BE3-B1D8-3AB7FB5EA104}" srcOrd="2" destOrd="0" presId="urn:microsoft.com/office/officeart/2005/8/layout/lProcess2"/>
    <dgm:cxn modelId="{D6DDA1CA-4EE8-4628-826D-B76AEDCB4341}" type="presParOf" srcId="{24975075-D217-4B1A-8D70-F75E0B154849}" destId="{82BCE1AF-D8D5-4ACB-A2BB-D1F664C46C2B}" srcOrd="3" destOrd="0" presId="urn:microsoft.com/office/officeart/2005/8/layout/lProcess2"/>
    <dgm:cxn modelId="{9CBD7EA4-3719-4805-8854-0BCAF1CED9A1}" type="presParOf" srcId="{24975075-D217-4B1A-8D70-F75E0B154849}" destId="{43EFC17D-4366-4EEF-A4EC-C09CFDE6CFA1}" srcOrd="4" destOrd="0" presId="urn:microsoft.com/office/officeart/2005/8/layout/lProcess2"/>
    <dgm:cxn modelId="{6F7F53C7-FA7E-4F9A-BC6D-7504FE78E547}" type="presParOf" srcId="{24975075-D217-4B1A-8D70-F75E0B154849}" destId="{6A15B4F8-A860-458D-9F5C-6A959B3E01B1}" srcOrd="5" destOrd="0" presId="urn:microsoft.com/office/officeart/2005/8/layout/lProcess2"/>
    <dgm:cxn modelId="{669AE2F8-6A5A-4C78-BA11-4BC9CF224BE2}" type="presParOf" srcId="{24975075-D217-4B1A-8D70-F75E0B154849}" destId="{0517F963-117B-4680-9A6B-E0356D8B1455}" srcOrd="6" destOrd="0" presId="urn:microsoft.com/office/officeart/2005/8/layout/lProcess2"/>
    <dgm:cxn modelId="{17AEC8CC-77FE-45A9-ADFD-E46AE45AFDFC}" type="presParOf" srcId="{24975075-D217-4B1A-8D70-F75E0B154849}" destId="{DB3B932D-5E03-46D3-A8E6-921238117D46}" srcOrd="7" destOrd="0" presId="urn:microsoft.com/office/officeart/2005/8/layout/lProcess2"/>
    <dgm:cxn modelId="{6B53C81D-56FC-4F28-AA73-E6358602ED05}" type="presParOf" srcId="{24975075-D217-4B1A-8D70-F75E0B154849}" destId="{BAECC03D-F0C0-406C-9F35-25FF06F8EB49}" srcOrd="8" destOrd="0" presId="urn:microsoft.com/office/officeart/2005/8/layout/lProcess2"/>
    <dgm:cxn modelId="{45AFCFA0-F810-43AA-8C2F-2A57F0268C31}" type="presParOf" srcId="{24975075-D217-4B1A-8D70-F75E0B154849}" destId="{D2A4D120-1E50-4D77-A8A5-6D1F808588A5}" srcOrd="9" destOrd="0" presId="urn:microsoft.com/office/officeart/2005/8/layout/lProcess2"/>
    <dgm:cxn modelId="{D535FE7A-226B-4867-923E-823CBFD9793A}" type="presParOf" srcId="{24975075-D217-4B1A-8D70-F75E0B154849}" destId="{5D4E2A2F-3FEC-4A6B-A629-266559C51F3C}" srcOrd="1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DB689AB-0CF4-45E1-B435-3DD939704B3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7B5247F-2C3B-45C0-A1BA-ED9E9619DE0D}">
      <dgm:prSet/>
      <dgm:spPr/>
      <dgm:t>
        <a:bodyPr/>
        <a:lstStyle/>
        <a:p>
          <a:r>
            <a:rPr lang="en-US" baseline="0" dirty="0"/>
            <a:t>11M+ Docker Pulls</a:t>
          </a:r>
          <a:endParaRPr lang="en-US" dirty="0"/>
        </a:p>
      </dgm:t>
    </dgm:pt>
    <dgm:pt modelId="{106611EF-B255-4762-A50F-417B11FECEB4}" type="parTrans" cxnId="{8C2CEA1A-0807-42A4-862E-EEA3FCD65E52}">
      <dgm:prSet/>
      <dgm:spPr/>
      <dgm:t>
        <a:bodyPr/>
        <a:lstStyle/>
        <a:p>
          <a:endParaRPr lang="en-US"/>
        </a:p>
      </dgm:t>
    </dgm:pt>
    <dgm:pt modelId="{16104D13-401B-4A2D-808E-D1CF48487CBD}" type="sibTrans" cxnId="{8C2CEA1A-0807-42A4-862E-EEA3FCD65E52}">
      <dgm:prSet/>
      <dgm:spPr/>
      <dgm:t>
        <a:bodyPr/>
        <a:lstStyle/>
        <a:p>
          <a:endParaRPr lang="en-US"/>
        </a:p>
      </dgm:t>
    </dgm:pt>
    <dgm:pt modelId="{3754A8D2-187B-4F3C-82B7-67AA92B1FC31}">
      <dgm:prSet/>
      <dgm:spPr/>
      <dgm:t>
        <a:bodyPr/>
        <a:lstStyle/>
        <a:p>
          <a:r>
            <a:rPr lang="en-US" dirty="0"/>
            <a:t>Thousands of instances and CPUs using SQL Server on Linux</a:t>
          </a:r>
        </a:p>
      </dgm:t>
    </dgm:pt>
    <dgm:pt modelId="{1A62A2EC-9E72-48FF-B3A7-F4B3FCF81C5D}" type="sibTrans" cxnId="{748FAFCE-7DA9-4D79-A868-CB7FC4D51482}">
      <dgm:prSet/>
      <dgm:spPr/>
      <dgm:t>
        <a:bodyPr/>
        <a:lstStyle/>
        <a:p>
          <a:endParaRPr lang="en-US"/>
        </a:p>
      </dgm:t>
    </dgm:pt>
    <dgm:pt modelId="{18A83B81-62B1-4BBB-ACC2-5DA53ECF7685}" type="parTrans" cxnId="{748FAFCE-7DA9-4D79-A868-CB7FC4D51482}">
      <dgm:prSet/>
      <dgm:spPr/>
      <dgm:t>
        <a:bodyPr/>
        <a:lstStyle/>
        <a:p>
          <a:endParaRPr lang="en-US"/>
        </a:p>
      </dgm:t>
    </dgm:pt>
    <dgm:pt modelId="{9890CA17-DEAE-4F85-8FFB-A99F37E8BE45}" type="pres">
      <dgm:prSet presAssocID="{2DB689AB-0CF4-45E1-B435-3DD939704B39}" presName="diagram" presStyleCnt="0">
        <dgm:presLayoutVars>
          <dgm:dir/>
          <dgm:resizeHandles val="exact"/>
        </dgm:presLayoutVars>
      </dgm:prSet>
      <dgm:spPr/>
    </dgm:pt>
    <dgm:pt modelId="{D815B289-DAEE-446B-A637-A4D6355BA418}" type="pres">
      <dgm:prSet presAssocID="{B7B5247F-2C3B-45C0-A1BA-ED9E9619DE0D}" presName="node" presStyleLbl="node1" presStyleIdx="0" presStyleCnt="2">
        <dgm:presLayoutVars>
          <dgm:bulletEnabled val="1"/>
        </dgm:presLayoutVars>
      </dgm:prSet>
      <dgm:spPr/>
    </dgm:pt>
    <dgm:pt modelId="{B9863359-8DFF-4B9E-A4BB-FA74D23291C9}" type="pres">
      <dgm:prSet presAssocID="{16104D13-401B-4A2D-808E-D1CF48487CBD}" presName="sibTrans" presStyleCnt="0"/>
      <dgm:spPr/>
    </dgm:pt>
    <dgm:pt modelId="{8624D9B7-1B60-421A-A038-6AA038836560}" type="pres">
      <dgm:prSet presAssocID="{3754A8D2-187B-4F3C-82B7-67AA92B1FC31}" presName="node" presStyleLbl="node1" presStyleIdx="1" presStyleCnt="2">
        <dgm:presLayoutVars>
          <dgm:bulletEnabled val="1"/>
        </dgm:presLayoutVars>
      </dgm:prSet>
      <dgm:spPr/>
    </dgm:pt>
  </dgm:ptLst>
  <dgm:cxnLst>
    <dgm:cxn modelId="{C4132702-735A-4718-9A74-BC386E8721FF}" type="presOf" srcId="{2DB689AB-0CF4-45E1-B435-3DD939704B39}" destId="{9890CA17-DEAE-4F85-8FFB-A99F37E8BE45}" srcOrd="0" destOrd="0" presId="urn:microsoft.com/office/officeart/2005/8/layout/default"/>
    <dgm:cxn modelId="{8C2CEA1A-0807-42A4-862E-EEA3FCD65E52}" srcId="{2DB689AB-0CF4-45E1-B435-3DD939704B39}" destId="{B7B5247F-2C3B-45C0-A1BA-ED9E9619DE0D}" srcOrd="0" destOrd="0" parTransId="{106611EF-B255-4762-A50F-417B11FECEB4}" sibTransId="{16104D13-401B-4A2D-808E-D1CF48487CBD}"/>
    <dgm:cxn modelId="{ADCBAF30-73B0-4676-90AC-8957A5E98FA6}" type="presOf" srcId="{3754A8D2-187B-4F3C-82B7-67AA92B1FC31}" destId="{8624D9B7-1B60-421A-A038-6AA038836560}" srcOrd="0" destOrd="0" presId="urn:microsoft.com/office/officeart/2005/8/layout/default"/>
    <dgm:cxn modelId="{6F6C13A7-F65E-48E4-9766-958B7B37ADAB}" type="presOf" srcId="{B7B5247F-2C3B-45C0-A1BA-ED9E9619DE0D}" destId="{D815B289-DAEE-446B-A637-A4D6355BA418}" srcOrd="0" destOrd="0" presId="urn:microsoft.com/office/officeart/2005/8/layout/default"/>
    <dgm:cxn modelId="{748FAFCE-7DA9-4D79-A868-CB7FC4D51482}" srcId="{2DB689AB-0CF4-45E1-B435-3DD939704B39}" destId="{3754A8D2-187B-4F3C-82B7-67AA92B1FC31}" srcOrd="1" destOrd="0" parTransId="{18A83B81-62B1-4BBB-ACC2-5DA53ECF7685}" sibTransId="{1A62A2EC-9E72-48FF-B3A7-F4B3FCF81C5D}"/>
    <dgm:cxn modelId="{8D57CFEE-E425-42DC-8557-10837686E6EA}" type="presParOf" srcId="{9890CA17-DEAE-4F85-8FFB-A99F37E8BE45}" destId="{D815B289-DAEE-446B-A637-A4D6355BA418}" srcOrd="0" destOrd="0" presId="urn:microsoft.com/office/officeart/2005/8/layout/default"/>
    <dgm:cxn modelId="{C3E9F7F7-E131-4301-9EB8-6A6455AEAE4A}" type="presParOf" srcId="{9890CA17-DEAE-4F85-8FFB-A99F37E8BE45}" destId="{B9863359-8DFF-4B9E-A4BB-FA74D23291C9}" srcOrd="1" destOrd="0" presId="urn:microsoft.com/office/officeart/2005/8/layout/default"/>
    <dgm:cxn modelId="{EEF66A43-3F35-444A-8709-A799DACDBAF6}" type="presParOf" srcId="{9890CA17-DEAE-4F85-8FFB-A99F37E8BE45}" destId="{8624D9B7-1B60-421A-A038-6AA03883656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AF51A7-CD06-4005-9D8B-66650501BE9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2EE6CC41-9DCE-4CEB-BD27-BE3B6AF2DB12}">
      <dgm:prSet phldrT="[Text]"/>
      <dgm:spPr/>
      <dgm:t>
        <a:bodyPr/>
        <a:lstStyle/>
        <a:p>
          <a:r>
            <a:rPr lang="en-US" dirty="0"/>
            <a:t>Is it the same as Windows?</a:t>
          </a:r>
        </a:p>
      </dgm:t>
    </dgm:pt>
    <dgm:pt modelId="{CEBA8CE4-7598-4664-A85D-7F7ECE061CD5}" type="parTrans" cxnId="{89F91B5D-7B1B-432B-9534-19CF7EF64D67}">
      <dgm:prSet/>
      <dgm:spPr/>
      <dgm:t>
        <a:bodyPr/>
        <a:lstStyle/>
        <a:p>
          <a:endParaRPr lang="en-US"/>
        </a:p>
      </dgm:t>
    </dgm:pt>
    <dgm:pt modelId="{28A89C2F-2974-4134-AC79-724ACEDFEBFF}" type="sibTrans" cxnId="{89F91B5D-7B1B-432B-9534-19CF7EF64D67}">
      <dgm:prSet/>
      <dgm:spPr/>
      <dgm:t>
        <a:bodyPr/>
        <a:lstStyle/>
        <a:p>
          <a:endParaRPr lang="en-US"/>
        </a:p>
      </dgm:t>
    </dgm:pt>
    <dgm:pt modelId="{F96DC6FF-591D-4F98-99B7-2A278268E7EC}">
      <dgm:prSet phldrT="[Text]"/>
      <dgm:spPr/>
      <dgm:t>
        <a:bodyPr/>
        <a:lstStyle/>
        <a:p>
          <a:r>
            <a:rPr lang="en-US" dirty="0"/>
            <a:t>Is the performance the same as on Windows?</a:t>
          </a:r>
        </a:p>
      </dgm:t>
    </dgm:pt>
    <dgm:pt modelId="{712AF434-BE9B-42F6-8516-063F12DEE66A}" type="parTrans" cxnId="{FD41F417-88D4-40D0-9EDB-8A636EFDBC3B}">
      <dgm:prSet/>
      <dgm:spPr/>
      <dgm:t>
        <a:bodyPr/>
        <a:lstStyle/>
        <a:p>
          <a:endParaRPr lang="en-US"/>
        </a:p>
      </dgm:t>
    </dgm:pt>
    <dgm:pt modelId="{F0C5F008-8111-4D75-98E3-BFC2ACC6CAC8}" type="sibTrans" cxnId="{FD41F417-88D4-40D0-9EDB-8A636EFDBC3B}">
      <dgm:prSet/>
      <dgm:spPr/>
      <dgm:t>
        <a:bodyPr/>
        <a:lstStyle/>
        <a:p>
          <a:endParaRPr lang="en-US"/>
        </a:p>
      </dgm:t>
    </dgm:pt>
    <dgm:pt modelId="{6A44E862-0851-49BF-B5C1-EF2F1A7F8BF4}">
      <dgm:prSet phldrT="[Text]"/>
      <dgm:spPr/>
      <dgm:t>
        <a:bodyPr/>
        <a:lstStyle/>
        <a:p>
          <a:r>
            <a:rPr lang="en-US" dirty="0"/>
            <a:t>Is the licensing the same as on Windows?</a:t>
          </a:r>
        </a:p>
      </dgm:t>
    </dgm:pt>
    <dgm:pt modelId="{CCBA2F5A-0D9D-4CFF-B1F9-76971F7A0B1F}" type="parTrans" cxnId="{20A752F5-7AE9-421A-969D-FC7B88788525}">
      <dgm:prSet/>
      <dgm:spPr/>
      <dgm:t>
        <a:bodyPr/>
        <a:lstStyle/>
        <a:p>
          <a:endParaRPr lang="en-US"/>
        </a:p>
      </dgm:t>
    </dgm:pt>
    <dgm:pt modelId="{B4436F00-0764-41D6-88D9-5D58580687B8}" type="sibTrans" cxnId="{20A752F5-7AE9-421A-969D-FC7B88788525}">
      <dgm:prSet/>
      <dgm:spPr/>
      <dgm:t>
        <a:bodyPr/>
        <a:lstStyle/>
        <a:p>
          <a:endParaRPr lang="en-US"/>
        </a:p>
      </dgm:t>
    </dgm:pt>
    <dgm:pt modelId="{E6C1CECE-0279-46D2-8CDD-B6EE42FD6F59}">
      <dgm:prSet phldrT="[Text]"/>
      <dgm:spPr/>
      <dgm:t>
        <a:bodyPr/>
        <a:lstStyle/>
        <a:p>
          <a:r>
            <a:rPr lang="en-US" dirty="0"/>
            <a:t>Do I need to know Linux?</a:t>
          </a:r>
        </a:p>
      </dgm:t>
    </dgm:pt>
    <dgm:pt modelId="{C5A88DC1-96CC-44D6-A6AA-65DB6AE83440}" type="parTrans" cxnId="{17A6811D-7A6A-4E17-BF75-3FD25FEE8533}">
      <dgm:prSet/>
      <dgm:spPr/>
      <dgm:t>
        <a:bodyPr/>
        <a:lstStyle/>
        <a:p>
          <a:endParaRPr lang="en-US"/>
        </a:p>
      </dgm:t>
    </dgm:pt>
    <dgm:pt modelId="{859DAE4D-4B92-4541-AC2C-9DF8B031FE93}" type="sibTrans" cxnId="{17A6811D-7A6A-4E17-BF75-3FD25FEE8533}">
      <dgm:prSet/>
      <dgm:spPr/>
      <dgm:t>
        <a:bodyPr/>
        <a:lstStyle/>
        <a:p>
          <a:endParaRPr lang="en-US"/>
        </a:p>
      </dgm:t>
    </dgm:pt>
    <dgm:pt modelId="{1EA96472-BEB7-4A69-9370-1CCC6E0420BB}">
      <dgm:prSet phldrT="[Text]"/>
      <dgm:spPr/>
      <dgm:t>
        <a:bodyPr/>
        <a:lstStyle/>
        <a:p>
          <a:r>
            <a:rPr lang="en-US" dirty="0"/>
            <a:t>Is SQL Server different in a container?</a:t>
          </a:r>
        </a:p>
      </dgm:t>
    </dgm:pt>
    <dgm:pt modelId="{085394AE-2F64-4CF9-9C03-C449CF187660}" type="parTrans" cxnId="{04BDC7A1-5493-47E3-BFD6-2F50811D1FB6}">
      <dgm:prSet/>
      <dgm:spPr/>
      <dgm:t>
        <a:bodyPr/>
        <a:lstStyle/>
        <a:p>
          <a:endParaRPr lang="en-US"/>
        </a:p>
      </dgm:t>
    </dgm:pt>
    <dgm:pt modelId="{B57F7E17-A4E4-417D-B6C0-9DD72EB95B51}" type="sibTrans" cxnId="{04BDC7A1-5493-47E3-BFD6-2F50811D1FB6}">
      <dgm:prSet/>
      <dgm:spPr/>
      <dgm:t>
        <a:bodyPr/>
        <a:lstStyle/>
        <a:p>
          <a:endParaRPr lang="en-US"/>
        </a:p>
      </dgm:t>
    </dgm:pt>
    <dgm:pt modelId="{BF002852-C5CA-4201-A969-C2385C9F7E8B}">
      <dgm:prSet phldrT="[Text]"/>
      <dgm:spPr/>
      <dgm:t>
        <a:bodyPr/>
        <a:lstStyle/>
        <a:p>
          <a:r>
            <a:rPr lang="en-US" dirty="0"/>
            <a:t>Need multi-instance? Use containers</a:t>
          </a:r>
        </a:p>
      </dgm:t>
    </dgm:pt>
    <dgm:pt modelId="{CAD197FB-AB8D-43B7-97B0-6BF48D645E8C}" type="parTrans" cxnId="{A0B85A84-3623-45F4-BA45-DE78A819332F}">
      <dgm:prSet/>
      <dgm:spPr/>
      <dgm:t>
        <a:bodyPr/>
        <a:lstStyle/>
        <a:p>
          <a:endParaRPr lang="en-US"/>
        </a:p>
      </dgm:t>
    </dgm:pt>
    <dgm:pt modelId="{5A7100EF-6DFE-4D7A-BF9A-A967B28A7C56}" type="sibTrans" cxnId="{A0B85A84-3623-45F4-BA45-DE78A819332F}">
      <dgm:prSet/>
      <dgm:spPr/>
      <dgm:t>
        <a:bodyPr/>
        <a:lstStyle/>
        <a:p>
          <a:endParaRPr lang="en-US"/>
        </a:p>
      </dgm:t>
    </dgm:pt>
    <dgm:pt modelId="{EC86CA7E-A80F-4C80-87FC-24A920D51190}" type="pres">
      <dgm:prSet presAssocID="{2EAF51A7-CD06-4005-9D8B-66650501BE93}" presName="linear" presStyleCnt="0">
        <dgm:presLayoutVars>
          <dgm:animLvl val="lvl"/>
          <dgm:resizeHandles val="exact"/>
        </dgm:presLayoutVars>
      </dgm:prSet>
      <dgm:spPr/>
    </dgm:pt>
    <dgm:pt modelId="{CECDE6F6-E719-45CB-8223-453D552928EE}" type="pres">
      <dgm:prSet presAssocID="{2EE6CC41-9DCE-4CEB-BD27-BE3B6AF2DB12}" presName="parentText" presStyleLbl="node1" presStyleIdx="0" presStyleCnt="6">
        <dgm:presLayoutVars>
          <dgm:chMax val="0"/>
          <dgm:bulletEnabled val="1"/>
        </dgm:presLayoutVars>
      </dgm:prSet>
      <dgm:spPr/>
    </dgm:pt>
    <dgm:pt modelId="{04165F02-B641-4DE9-BF0F-F10C1D3B9BAA}" type="pres">
      <dgm:prSet presAssocID="{28A89C2F-2974-4134-AC79-724ACEDFEBFF}" presName="spacer" presStyleCnt="0"/>
      <dgm:spPr/>
    </dgm:pt>
    <dgm:pt modelId="{3ABBD336-40E8-4549-9A99-20E97504E217}" type="pres">
      <dgm:prSet presAssocID="{F96DC6FF-591D-4F98-99B7-2A278268E7EC}" presName="parentText" presStyleLbl="node1" presStyleIdx="1" presStyleCnt="6">
        <dgm:presLayoutVars>
          <dgm:chMax val="0"/>
          <dgm:bulletEnabled val="1"/>
        </dgm:presLayoutVars>
      </dgm:prSet>
      <dgm:spPr/>
    </dgm:pt>
    <dgm:pt modelId="{4367253A-9D4F-4E0C-8322-136CFB22F384}" type="pres">
      <dgm:prSet presAssocID="{F0C5F008-8111-4D75-98E3-BFC2ACC6CAC8}" presName="spacer" presStyleCnt="0"/>
      <dgm:spPr/>
    </dgm:pt>
    <dgm:pt modelId="{CA4A3630-1C2E-4A1F-BE87-D2F87469B0AE}" type="pres">
      <dgm:prSet presAssocID="{6A44E862-0851-49BF-B5C1-EF2F1A7F8BF4}" presName="parentText" presStyleLbl="node1" presStyleIdx="2" presStyleCnt="6">
        <dgm:presLayoutVars>
          <dgm:chMax val="0"/>
          <dgm:bulletEnabled val="1"/>
        </dgm:presLayoutVars>
      </dgm:prSet>
      <dgm:spPr/>
    </dgm:pt>
    <dgm:pt modelId="{264C8BFE-6521-42F1-A31B-9124213D7974}" type="pres">
      <dgm:prSet presAssocID="{B4436F00-0764-41D6-88D9-5D58580687B8}" presName="spacer" presStyleCnt="0"/>
      <dgm:spPr/>
    </dgm:pt>
    <dgm:pt modelId="{E64BC9FD-807C-409A-9805-720EA7503BF4}" type="pres">
      <dgm:prSet presAssocID="{E6C1CECE-0279-46D2-8CDD-B6EE42FD6F59}" presName="parentText" presStyleLbl="node1" presStyleIdx="3" presStyleCnt="6">
        <dgm:presLayoutVars>
          <dgm:chMax val="0"/>
          <dgm:bulletEnabled val="1"/>
        </dgm:presLayoutVars>
      </dgm:prSet>
      <dgm:spPr/>
    </dgm:pt>
    <dgm:pt modelId="{FA8A9148-F489-4B8A-97DA-1D61FE8D0F79}" type="pres">
      <dgm:prSet presAssocID="{859DAE4D-4B92-4541-AC2C-9DF8B031FE93}" presName="spacer" presStyleCnt="0"/>
      <dgm:spPr/>
    </dgm:pt>
    <dgm:pt modelId="{CCAEB940-CC1B-48F2-95A4-8902D8908AB9}" type="pres">
      <dgm:prSet presAssocID="{1EA96472-BEB7-4A69-9370-1CCC6E0420BB}" presName="parentText" presStyleLbl="node1" presStyleIdx="4" presStyleCnt="6">
        <dgm:presLayoutVars>
          <dgm:chMax val="0"/>
          <dgm:bulletEnabled val="1"/>
        </dgm:presLayoutVars>
      </dgm:prSet>
      <dgm:spPr/>
    </dgm:pt>
    <dgm:pt modelId="{CE2EBAC0-3674-4A01-BDA9-63A1093DB57B}" type="pres">
      <dgm:prSet presAssocID="{B57F7E17-A4E4-417D-B6C0-9DD72EB95B51}" presName="spacer" presStyleCnt="0"/>
      <dgm:spPr/>
    </dgm:pt>
    <dgm:pt modelId="{C40AE0EB-D8AA-451C-BEE8-21CE03FDFD29}" type="pres">
      <dgm:prSet presAssocID="{BF002852-C5CA-4201-A969-C2385C9F7E8B}" presName="parentText" presStyleLbl="node1" presStyleIdx="5" presStyleCnt="6">
        <dgm:presLayoutVars>
          <dgm:chMax val="0"/>
          <dgm:bulletEnabled val="1"/>
        </dgm:presLayoutVars>
      </dgm:prSet>
      <dgm:spPr/>
    </dgm:pt>
  </dgm:ptLst>
  <dgm:cxnLst>
    <dgm:cxn modelId="{FD41F417-88D4-40D0-9EDB-8A636EFDBC3B}" srcId="{2EAF51A7-CD06-4005-9D8B-66650501BE93}" destId="{F96DC6FF-591D-4F98-99B7-2A278268E7EC}" srcOrd="1" destOrd="0" parTransId="{712AF434-BE9B-42F6-8516-063F12DEE66A}" sibTransId="{F0C5F008-8111-4D75-98E3-BFC2ACC6CAC8}"/>
    <dgm:cxn modelId="{17A6811D-7A6A-4E17-BF75-3FD25FEE8533}" srcId="{2EAF51A7-CD06-4005-9D8B-66650501BE93}" destId="{E6C1CECE-0279-46D2-8CDD-B6EE42FD6F59}" srcOrd="3" destOrd="0" parTransId="{C5A88DC1-96CC-44D6-A6AA-65DB6AE83440}" sibTransId="{859DAE4D-4B92-4541-AC2C-9DF8B031FE93}"/>
    <dgm:cxn modelId="{9CE85F20-01E5-4C5E-B60C-E702BCF7AB6A}" type="presOf" srcId="{1EA96472-BEB7-4A69-9370-1CCC6E0420BB}" destId="{CCAEB940-CC1B-48F2-95A4-8902D8908AB9}" srcOrd="0" destOrd="0" presId="urn:microsoft.com/office/officeart/2005/8/layout/vList2"/>
    <dgm:cxn modelId="{DD147723-04AB-418F-99BE-6671E2D4AD4E}" type="presOf" srcId="{2EAF51A7-CD06-4005-9D8B-66650501BE93}" destId="{EC86CA7E-A80F-4C80-87FC-24A920D51190}" srcOrd="0" destOrd="0" presId="urn:microsoft.com/office/officeart/2005/8/layout/vList2"/>
    <dgm:cxn modelId="{F172F936-40C0-480A-AFED-7CF5CE445E24}" type="presOf" srcId="{E6C1CECE-0279-46D2-8CDD-B6EE42FD6F59}" destId="{E64BC9FD-807C-409A-9805-720EA7503BF4}" srcOrd="0" destOrd="0" presId="urn:microsoft.com/office/officeart/2005/8/layout/vList2"/>
    <dgm:cxn modelId="{89F91B5D-7B1B-432B-9534-19CF7EF64D67}" srcId="{2EAF51A7-CD06-4005-9D8B-66650501BE93}" destId="{2EE6CC41-9DCE-4CEB-BD27-BE3B6AF2DB12}" srcOrd="0" destOrd="0" parTransId="{CEBA8CE4-7598-4664-A85D-7F7ECE061CD5}" sibTransId="{28A89C2F-2974-4134-AC79-724ACEDFEBFF}"/>
    <dgm:cxn modelId="{E9AFA055-8EC0-4A28-A930-FDF7B46BE424}" type="presOf" srcId="{F96DC6FF-591D-4F98-99B7-2A278268E7EC}" destId="{3ABBD336-40E8-4549-9A99-20E97504E217}" srcOrd="0" destOrd="0" presId="urn:microsoft.com/office/officeart/2005/8/layout/vList2"/>
    <dgm:cxn modelId="{A0B85A84-3623-45F4-BA45-DE78A819332F}" srcId="{2EAF51A7-CD06-4005-9D8B-66650501BE93}" destId="{BF002852-C5CA-4201-A969-C2385C9F7E8B}" srcOrd="5" destOrd="0" parTransId="{CAD197FB-AB8D-43B7-97B0-6BF48D645E8C}" sibTransId="{5A7100EF-6DFE-4D7A-BF9A-A967B28A7C56}"/>
    <dgm:cxn modelId="{04BDC7A1-5493-47E3-BFD6-2F50811D1FB6}" srcId="{2EAF51A7-CD06-4005-9D8B-66650501BE93}" destId="{1EA96472-BEB7-4A69-9370-1CCC6E0420BB}" srcOrd="4" destOrd="0" parTransId="{085394AE-2F64-4CF9-9C03-C449CF187660}" sibTransId="{B57F7E17-A4E4-417D-B6C0-9DD72EB95B51}"/>
    <dgm:cxn modelId="{CE2FAEA3-3A05-42B7-B783-D8BAFEF1FD8C}" type="presOf" srcId="{BF002852-C5CA-4201-A969-C2385C9F7E8B}" destId="{C40AE0EB-D8AA-451C-BEE8-21CE03FDFD29}" srcOrd="0" destOrd="0" presId="urn:microsoft.com/office/officeart/2005/8/layout/vList2"/>
    <dgm:cxn modelId="{22AFB4B0-E506-4DB2-9B00-425359EB9158}" type="presOf" srcId="{2EE6CC41-9DCE-4CEB-BD27-BE3B6AF2DB12}" destId="{CECDE6F6-E719-45CB-8223-453D552928EE}" srcOrd="0" destOrd="0" presId="urn:microsoft.com/office/officeart/2005/8/layout/vList2"/>
    <dgm:cxn modelId="{20A752F5-7AE9-421A-969D-FC7B88788525}" srcId="{2EAF51A7-CD06-4005-9D8B-66650501BE93}" destId="{6A44E862-0851-49BF-B5C1-EF2F1A7F8BF4}" srcOrd="2" destOrd="0" parTransId="{CCBA2F5A-0D9D-4CFF-B1F9-76971F7A0B1F}" sibTransId="{B4436F00-0764-41D6-88D9-5D58580687B8}"/>
    <dgm:cxn modelId="{3099B8FF-2311-4598-BE15-01920B360812}" type="presOf" srcId="{6A44E862-0851-49BF-B5C1-EF2F1A7F8BF4}" destId="{CA4A3630-1C2E-4A1F-BE87-D2F87469B0AE}" srcOrd="0" destOrd="0" presId="urn:microsoft.com/office/officeart/2005/8/layout/vList2"/>
    <dgm:cxn modelId="{D7FB7961-8394-4AC8-BD8E-FDC43330B6C3}" type="presParOf" srcId="{EC86CA7E-A80F-4C80-87FC-24A920D51190}" destId="{CECDE6F6-E719-45CB-8223-453D552928EE}" srcOrd="0" destOrd="0" presId="urn:microsoft.com/office/officeart/2005/8/layout/vList2"/>
    <dgm:cxn modelId="{2C764A5D-8356-4C53-B85E-CA2B647024E8}" type="presParOf" srcId="{EC86CA7E-A80F-4C80-87FC-24A920D51190}" destId="{04165F02-B641-4DE9-BF0F-F10C1D3B9BAA}" srcOrd="1" destOrd="0" presId="urn:microsoft.com/office/officeart/2005/8/layout/vList2"/>
    <dgm:cxn modelId="{0554A405-76B9-49A8-8721-1BBA443A8582}" type="presParOf" srcId="{EC86CA7E-A80F-4C80-87FC-24A920D51190}" destId="{3ABBD336-40E8-4549-9A99-20E97504E217}" srcOrd="2" destOrd="0" presId="urn:microsoft.com/office/officeart/2005/8/layout/vList2"/>
    <dgm:cxn modelId="{D518094B-4927-4DE5-9A1E-1D321C7AB747}" type="presParOf" srcId="{EC86CA7E-A80F-4C80-87FC-24A920D51190}" destId="{4367253A-9D4F-4E0C-8322-136CFB22F384}" srcOrd="3" destOrd="0" presId="urn:microsoft.com/office/officeart/2005/8/layout/vList2"/>
    <dgm:cxn modelId="{B6135CDB-5DC3-4DCB-B1AD-28D8E6AA246F}" type="presParOf" srcId="{EC86CA7E-A80F-4C80-87FC-24A920D51190}" destId="{CA4A3630-1C2E-4A1F-BE87-D2F87469B0AE}" srcOrd="4" destOrd="0" presId="urn:microsoft.com/office/officeart/2005/8/layout/vList2"/>
    <dgm:cxn modelId="{4049807D-AED7-4EDA-9E8B-0EDC94169EC6}" type="presParOf" srcId="{EC86CA7E-A80F-4C80-87FC-24A920D51190}" destId="{264C8BFE-6521-42F1-A31B-9124213D7974}" srcOrd="5" destOrd="0" presId="urn:microsoft.com/office/officeart/2005/8/layout/vList2"/>
    <dgm:cxn modelId="{EE3A672A-AFCB-4F66-92C1-97770CFE7D4A}" type="presParOf" srcId="{EC86CA7E-A80F-4C80-87FC-24A920D51190}" destId="{E64BC9FD-807C-409A-9805-720EA7503BF4}" srcOrd="6" destOrd="0" presId="urn:microsoft.com/office/officeart/2005/8/layout/vList2"/>
    <dgm:cxn modelId="{CAFC64B1-F883-402B-91D9-E90D33D5BFBC}" type="presParOf" srcId="{EC86CA7E-A80F-4C80-87FC-24A920D51190}" destId="{FA8A9148-F489-4B8A-97DA-1D61FE8D0F79}" srcOrd="7" destOrd="0" presId="urn:microsoft.com/office/officeart/2005/8/layout/vList2"/>
    <dgm:cxn modelId="{FEC4111F-FC9D-4BF3-B107-0CBCA85C9C72}" type="presParOf" srcId="{EC86CA7E-A80F-4C80-87FC-24A920D51190}" destId="{CCAEB940-CC1B-48F2-95A4-8902D8908AB9}" srcOrd="8" destOrd="0" presId="urn:microsoft.com/office/officeart/2005/8/layout/vList2"/>
    <dgm:cxn modelId="{740A3EF2-A610-40C8-B397-CC38A3464CB6}" type="presParOf" srcId="{EC86CA7E-A80F-4C80-87FC-24A920D51190}" destId="{CE2EBAC0-3674-4A01-BDA9-63A1093DB57B}" srcOrd="9" destOrd="0" presId="urn:microsoft.com/office/officeart/2005/8/layout/vList2"/>
    <dgm:cxn modelId="{A204608B-D2BC-4070-9A09-6CFA63F6210E}" type="presParOf" srcId="{EC86CA7E-A80F-4C80-87FC-24A920D51190}" destId="{C40AE0EB-D8AA-451C-BEE8-21CE03FDFD29}"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0C936EB-3105-43C1-936E-84CFF94A9D2A}"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043F8C45-D6F4-4710-B24E-57A200ED1113}">
      <dgm:prSet phldrT="[Text]"/>
      <dgm:spPr/>
      <dgm:t>
        <a:bodyPr/>
        <a:lstStyle/>
        <a:p>
          <a:r>
            <a:rPr lang="en-US" dirty="0"/>
            <a:t>mssql-server</a:t>
          </a:r>
        </a:p>
      </dgm:t>
    </dgm:pt>
    <dgm:pt modelId="{35B6380E-019E-4E98-B3DE-2497A2E9458A}" type="parTrans" cxnId="{EFA1F917-34C8-40BB-9E79-5CF86F74B247}">
      <dgm:prSet/>
      <dgm:spPr/>
      <dgm:t>
        <a:bodyPr/>
        <a:lstStyle/>
        <a:p>
          <a:endParaRPr lang="en-US"/>
        </a:p>
      </dgm:t>
    </dgm:pt>
    <dgm:pt modelId="{250F6AAB-882C-4EC8-A18D-1C1BC0119275}" type="sibTrans" cxnId="{EFA1F917-34C8-40BB-9E79-5CF86F74B247}">
      <dgm:prSet/>
      <dgm:spPr/>
      <dgm:t>
        <a:bodyPr/>
        <a:lstStyle/>
        <a:p>
          <a:endParaRPr lang="en-US"/>
        </a:p>
      </dgm:t>
    </dgm:pt>
    <dgm:pt modelId="{5F5C0B6B-A29D-4AEF-AD70-9E80744B39F0}">
      <dgm:prSet phldrT="[Text]"/>
      <dgm:spPr/>
      <dgm:t>
        <a:bodyPr/>
        <a:lstStyle/>
        <a:p>
          <a:r>
            <a:rPr lang="en-US" dirty="0"/>
            <a:t>mssql-server-fts</a:t>
          </a:r>
        </a:p>
      </dgm:t>
    </dgm:pt>
    <dgm:pt modelId="{AA288CCA-4B1C-4489-B2AC-CEAB07687359}" type="parTrans" cxnId="{FA493F14-2631-4754-8268-38D40BD72599}">
      <dgm:prSet/>
      <dgm:spPr/>
      <dgm:t>
        <a:bodyPr/>
        <a:lstStyle/>
        <a:p>
          <a:endParaRPr lang="en-US"/>
        </a:p>
      </dgm:t>
    </dgm:pt>
    <dgm:pt modelId="{2ED67C6D-0D0A-4BA4-A42C-E363E89974E9}" type="sibTrans" cxnId="{FA493F14-2631-4754-8268-38D40BD72599}">
      <dgm:prSet/>
      <dgm:spPr/>
      <dgm:t>
        <a:bodyPr/>
        <a:lstStyle/>
        <a:p>
          <a:endParaRPr lang="en-US"/>
        </a:p>
      </dgm:t>
    </dgm:pt>
    <dgm:pt modelId="{1B7B03AF-B257-44C1-AEB2-61D68C2A147C}">
      <dgm:prSet phldrT="[Text]"/>
      <dgm:spPr/>
      <dgm:t>
        <a:bodyPr/>
        <a:lstStyle/>
        <a:p>
          <a:r>
            <a:rPr lang="en-US" dirty="0"/>
            <a:t>mssql-server-ha</a:t>
          </a:r>
        </a:p>
      </dgm:t>
    </dgm:pt>
    <dgm:pt modelId="{5913D297-559E-49DD-A810-2D1714AB5F7C}" type="parTrans" cxnId="{A2CFACE1-921E-4E04-8E6E-8CE034CC07DB}">
      <dgm:prSet/>
      <dgm:spPr/>
      <dgm:t>
        <a:bodyPr/>
        <a:lstStyle/>
        <a:p>
          <a:endParaRPr lang="en-US"/>
        </a:p>
      </dgm:t>
    </dgm:pt>
    <dgm:pt modelId="{7D026376-CC08-414E-ABCD-5C0126BB060E}" type="sibTrans" cxnId="{A2CFACE1-921E-4E04-8E6E-8CE034CC07DB}">
      <dgm:prSet/>
      <dgm:spPr/>
      <dgm:t>
        <a:bodyPr/>
        <a:lstStyle/>
        <a:p>
          <a:endParaRPr lang="en-US"/>
        </a:p>
      </dgm:t>
    </dgm:pt>
    <dgm:pt modelId="{DD451780-5077-4F1A-9324-F1AE519E63E6}">
      <dgm:prSet phldrT="[Text]"/>
      <dgm:spPr/>
      <dgm:t>
        <a:bodyPr/>
        <a:lstStyle/>
        <a:p>
          <a:r>
            <a:rPr lang="en-US" dirty="0"/>
            <a:t>mssql-server-is</a:t>
          </a:r>
        </a:p>
      </dgm:t>
    </dgm:pt>
    <dgm:pt modelId="{7B66BF3A-8C64-4E1C-97D8-66B8E01B318A}" type="parTrans" cxnId="{387264DE-7CAD-4D47-8EB2-1627009B09CB}">
      <dgm:prSet/>
      <dgm:spPr/>
      <dgm:t>
        <a:bodyPr/>
        <a:lstStyle/>
        <a:p>
          <a:endParaRPr lang="en-US"/>
        </a:p>
      </dgm:t>
    </dgm:pt>
    <dgm:pt modelId="{6627EE14-8535-416E-B184-5469A66BCB88}" type="sibTrans" cxnId="{387264DE-7CAD-4D47-8EB2-1627009B09CB}">
      <dgm:prSet/>
      <dgm:spPr/>
      <dgm:t>
        <a:bodyPr/>
        <a:lstStyle/>
        <a:p>
          <a:endParaRPr lang="en-US"/>
        </a:p>
      </dgm:t>
    </dgm:pt>
    <dgm:pt modelId="{EA5A818B-F52C-40E7-89B6-6DFA99B263A3}">
      <dgm:prSet phldrT="[Text]"/>
      <dgm:spPr/>
      <dgm:t>
        <a:bodyPr/>
        <a:lstStyle/>
        <a:p>
          <a:r>
            <a:rPr lang="en-US" dirty="0"/>
            <a:t>mssql-tools</a:t>
          </a:r>
        </a:p>
      </dgm:t>
    </dgm:pt>
    <dgm:pt modelId="{2A6AA7DF-1C47-4309-A476-4C1CED0219D3}" type="parTrans" cxnId="{BCD13150-29F7-477B-AC61-2E0AEA44EFF1}">
      <dgm:prSet/>
      <dgm:spPr/>
      <dgm:t>
        <a:bodyPr/>
        <a:lstStyle/>
        <a:p>
          <a:endParaRPr lang="en-US"/>
        </a:p>
      </dgm:t>
    </dgm:pt>
    <dgm:pt modelId="{BF71CB00-A31F-479A-8A30-8B881CEC932E}" type="sibTrans" cxnId="{BCD13150-29F7-477B-AC61-2E0AEA44EFF1}">
      <dgm:prSet/>
      <dgm:spPr/>
      <dgm:t>
        <a:bodyPr/>
        <a:lstStyle/>
        <a:p>
          <a:endParaRPr lang="en-US"/>
        </a:p>
      </dgm:t>
    </dgm:pt>
    <dgm:pt modelId="{F028C3F6-956F-42F3-8959-AAB44A94D719}">
      <dgm:prSet phldrT="[Text]"/>
      <dgm:spPr/>
      <dgm:t>
        <a:bodyPr/>
        <a:lstStyle/>
        <a:p>
          <a:r>
            <a:rPr lang="en-US" dirty="0">
              <a:hlinkClick xmlns:r="http://schemas.openxmlformats.org/officeDocument/2006/relationships" r:id="rId1"/>
            </a:rPr>
            <a:t>“extensibility, Java, and ML Services”</a:t>
          </a:r>
          <a:endParaRPr lang="en-US" dirty="0"/>
        </a:p>
      </dgm:t>
    </dgm:pt>
    <dgm:pt modelId="{FD306E0E-5784-4825-8C7E-B3CF0FF4A18B}" type="parTrans" cxnId="{C4DCF45F-6E72-4C52-B8E4-62327864014D}">
      <dgm:prSet/>
      <dgm:spPr/>
      <dgm:t>
        <a:bodyPr/>
        <a:lstStyle/>
        <a:p>
          <a:endParaRPr lang="en-US"/>
        </a:p>
      </dgm:t>
    </dgm:pt>
    <dgm:pt modelId="{F37C4C1F-3BFB-4545-B5F5-AC93DBEB9011}" type="sibTrans" cxnId="{C4DCF45F-6E72-4C52-B8E4-62327864014D}">
      <dgm:prSet/>
      <dgm:spPr/>
      <dgm:t>
        <a:bodyPr/>
        <a:lstStyle/>
        <a:p>
          <a:endParaRPr lang="en-US"/>
        </a:p>
      </dgm:t>
    </dgm:pt>
    <dgm:pt modelId="{93C6708A-A898-4C79-801E-67302067FB14}">
      <dgm:prSet phldrT="[Text]"/>
      <dgm:spPr/>
      <dgm:t>
        <a:bodyPr/>
        <a:lstStyle/>
        <a:p>
          <a:r>
            <a:rPr lang="en-US"/>
            <a:t>mssql-server-polybase</a:t>
          </a:r>
          <a:endParaRPr lang="en-US" dirty="0"/>
        </a:p>
      </dgm:t>
    </dgm:pt>
    <dgm:pt modelId="{D37B56F9-982E-4959-913A-9E783A47C394}" type="parTrans" cxnId="{8212D914-F929-434B-B809-1B4A50007408}">
      <dgm:prSet/>
      <dgm:spPr/>
      <dgm:t>
        <a:bodyPr/>
        <a:lstStyle/>
        <a:p>
          <a:endParaRPr lang="en-US"/>
        </a:p>
      </dgm:t>
    </dgm:pt>
    <dgm:pt modelId="{7BE5544B-C2BD-4A96-9C5D-7435F983C69A}" type="sibTrans" cxnId="{8212D914-F929-434B-B809-1B4A50007408}">
      <dgm:prSet/>
      <dgm:spPr/>
      <dgm:t>
        <a:bodyPr/>
        <a:lstStyle/>
        <a:p>
          <a:endParaRPr lang="en-US"/>
        </a:p>
      </dgm:t>
    </dgm:pt>
    <dgm:pt modelId="{B8163D97-6556-451A-9A16-832A23B08F6F}" type="pres">
      <dgm:prSet presAssocID="{B0C936EB-3105-43C1-936E-84CFF94A9D2A}" presName="diagram" presStyleCnt="0">
        <dgm:presLayoutVars>
          <dgm:dir/>
          <dgm:resizeHandles val="exact"/>
        </dgm:presLayoutVars>
      </dgm:prSet>
      <dgm:spPr/>
    </dgm:pt>
    <dgm:pt modelId="{8E57659E-DBBA-4CD4-867F-27361D1003B4}" type="pres">
      <dgm:prSet presAssocID="{043F8C45-D6F4-4710-B24E-57A200ED1113}" presName="node" presStyleLbl="node1" presStyleIdx="0" presStyleCnt="7">
        <dgm:presLayoutVars>
          <dgm:bulletEnabled val="1"/>
        </dgm:presLayoutVars>
      </dgm:prSet>
      <dgm:spPr/>
    </dgm:pt>
    <dgm:pt modelId="{C7875BFF-76E9-4C8D-AA44-E2E99DCF4BA7}" type="pres">
      <dgm:prSet presAssocID="{250F6AAB-882C-4EC8-A18D-1C1BC0119275}" presName="sibTrans" presStyleCnt="0"/>
      <dgm:spPr/>
    </dgm:pt>
    <dgm:pt modelId="{08BD63EA-CEE8-40D6-9CD7-E336968F521F}" type="pres">
      <dgm:prSet presAssocID="{EA5A818B-F52C-40E7-89B6-6DFA99B263A3}" presName="node" presStyleLbl="node1" presStyleIdx="1" presStyleCnt="7">
        <dgm:presLayoutVars>
          <dgm:bulletEnabled val="1"/>
        </dgm:presLayoutVars>
      </dgm:prSet>
      <dgm:spPr/>
    </dgm:pt>
    <dgm:pt modelId="{A13FBDA4-A131-44E2-8728-27C1DAE723F8}" type="pres">
      <dgm:prSet presAssocID="{BF71CB00-A31F-479A-8A30-8B881CEC932E}" presName="sibTrans" presStyleCnt="0"/>
      <dgm:spPr/>
    </dgm:pt>
    <dgm:pt modelId="{C9A64BF8-7013-4702-A8E8-11930FC18B2E}" type="pres">
      <dgm:prSet presAssocID="{5F5C0B6B-A29D-4AEF-AD70-9E80744B39F0}" presName="node" presStyleLbl="node1" presStyleIdx="2" presStyleCnt="7">
        <dgm:presLayoutVars>
          <dgm:bulletEnabled val="1"/>
        </dgm:presLayoutVars>
      </dgm:prSet>
      <dgm:spPr/>
    </dgm:pt>
    <dgm:pt modelId="{5A43A17F-741E-4499-BF1A-9577202B29ED}" type="pres">
      <dgm:prSet presAssocID="{2ED67C6D-0D0A-4BA4-A42C-E363E89974E9}" presName="sibTrans" presStyleCnt="0"/>
      <dgm:spPr/>
    </dgm:pt>
    <dgm:pt modelId="{62A692D1-E9B0-4E60-B17C-FDA65098E03F}" type="pres">
      <dgm:prSet presAssocID="{1B7B03AF-B257-44C1-AEB2-61D68C2A147C}" presName="node" presStyleLbl="node1" presStyleIdx="3" presStyleCnt="7">
        <dgm:presLayoutVars>
          <dgm:bulletEnabled val="1"/>
        </dgm:presLayoutVars>
      </dgm:prSet>
      <dgm:spPr/>
    </dgm:pt>
    <dgm:pt modelId="{9726F59D-2BEE-4B54-A755-2D44A66BB0B3}" type="pres">
      <dgm:prSet presAssocID="{7D026376-CC08-414E-ABCD-5C0126BB060E}" presName="sibTrans" presStyleCnt="0"/>
      <dgm:spPr/>
    </dgm:pt>
    <dgm:pt modelId="{40EAA6A1-C5F3-48C0-A627-D89ECF4DE8EE}" type="pres">
      <dgm:prSet presAssocID="{DD451780-5077-4F1A-9324-F1AE519E63E6}" presName="node" presStyleLbl="node1" presStyleIdx="4" presStyleCnt="7">
        <dgm:presLayoutVars>
          <dgm:bulletEnabled val="1"/>
        </dgm:presLayoutVars>
      </dgm:prSet>
      <dgm:spPr/>
    </dgm:pt>
    <dgm:pt modelId="{D11FC032-816B-4B9A-B865-B4A1BD8DD7B6}" type="pres">
      <dgm:prSet presAssocID="{6627EE14-8535-416E-B184-5469A66BCB88}" presName="sibTrans" presStyleCnt="0"/>
      <dgm:spPr/>
    </dgm:pt>
    <dgm:pt modelId="{4243F23D-D958-4B07-953A-95F00D0DF05D}" type="pres">
      <dgm:prSet presAssocID="{F028C3F6-956F-42F3-8959-AAB44A94D719}" presName="node" presStyleLbl="node1" presStyleIdx="5" presStyleCnt="7">
        <dgm:presLayoutVars>
          <dgm:bulletEnabled val="1"/>
        </dgm:presLayoutVars>
      </dgm:prSet>
      <dgm:spPr/>
    </dgm:pt>
    <dgm:pt modelId="{393FD496-B58F-4665-8FB6-895385126534}" type="pres">
      <dgm:prSet presAssocID="{F37C4C1F-3BFB-4545-B5F5-AC93DBEB9011}" presName="sibTrans" presStyleCnt="0"/>
      <dgm:spPr/>
    </dgm:pt>
    <dgm:pt modelId="{68561884-0745-4510-9543-F7D214C60D44}" type="pres">
      <dgm:prSet presAssocID="{93C6708A-A898-4C79-801E-67302067FB14}" presName="node" presStyleLbl="node1" presStyleIdx="6" presStyleCnt="7">
        <dgm:presLayoutVars>
          <dgm:bulletEnabled val="1"/>
        </dgm:presLayoutVars>
      </dgm:prSet>
      <dgm:spPr/>
    </dgm:pt>
  </dgm:ptLst>
  <dgm:cxnLst>
    <dgm:cxn modelId="{FA493F14-2631-4754-8268-38D40BD72599}" srcId="{B0C936EB-3105-43C1-936E-84CFF94A9D2A}" destId="{5F5C0B6B-A29D-4AEF-AD70-9E80744B39F0}" srcOrd="2" destOrd="0" parTransId="{AA288CCA-4B1C-4489-B2AC-CEAB07687359}" sibTransId="{2ED67C6D-0D0A-4BA4-A42C-E363E89974E9}"/>
    <dgm:cxn modelId="{8212D914-F929-434B-B809-1B4A50007408}" srcId="{B0C936EB-3105-43C1-936E-84CFF94A9D2A}" destId="{93C6708A-A898-4C79-801E-67302067FB14}" srcOrd="6" destOrd="0" parTransId="{D37B56F9-982E-4959-913A-9E783A47C394}" sibTransId="{7BE5544B-C2BD-4A96-9C5D-7435F983C69A}"/>
    <dgm:cxn modelId="{EFA1F917-34C8-40BB-9E79-5CF86F74B247}" srcId="{B0C936EB-3105-43C1-936E-84CFF94A9D2A}" destId="{043F8C45-D6F4-4710-B24E-57A200ED1113}" srcOrd="0" destOrd="0" parTransId="{35B6380E-019E-4E98-B3DE-2497A2E9458A}" sibTransId="{250F6AAB-882C-4EC8-A18D-1C1BC0119275}"/>
    <dgm:cxn modelId="{B4E3CC28-98F8-4058-8C69-E3BA1E9A36C2}" type="presOf" srcId="{B0C936EB-3105-43C1-936E-84CFF94A9D2A}" destId="{B8163D97-6556-451A-9A16-832A23B08F6F}" srcOrd="0" destOrd="0" presId="urn:microsoft.com/office/officeart/2005/8/layout/default"/>
    <dgm:cxn modelId="{C4DCF45F-6E72-4C52-B8E4-62327864014D}" srcId="{B0C936EB-3105-43C1-936E-84CFF94A9D2A}" destId="{F028C3F6-956F-42F3-8959-AAB44A94D719}" srcOrd="5" destOrd="0" parTransId="{FD306E0E-5784-4825-8C7E-B3CF0FF4A18B}" sibTransId="{F37C4C1F-3BFB-4545-B5F5-AC93DBEB9011}"/>
    <dgm:cxn modelId="{36A85342-66A0-4B36-BF76-41FA2787EB44}" type="presOf" srcId="{93C6708A-A898-4C79-801E-67302067FB14}" destId="{68561884-0745-4510-9543-F7D214C60D44}" srcOrd="0" destOrd="0" presId="urn:microsoft.com/office/officeart/2005/8/layout/default"/>
    <dgm:cxn modelId="{224D4547-0DEA-444F-B112-B3FC1E302677}" type="presOf" srcId="{1B7B03AF-B257-44C1-AEB2-61D68C2A147C}" destId="{62A692D1-E9B0-4E60-B17C-FDA65098E03F}" srcOrd="0" destOrd="0" presId="urn:microsoft.com/office/officeart/2005/8/layout/default"/>
    <dgm:cxn modelId="{BCD13150-29F7-477B-AC61-2E0AEA44EFF1}" srcId="{B0C936EB-3105-43C1-936E-84CFF94A9D2A}" destId="{EA5A818B-F52C-40E7-89B6-6DFA99B263A3}" srcOrd="1" destOrd="0" parTransId="{2A6AA7DF-1C47-4309-A476-4C1CED0219D3}" sibTransId="{BF71CB00-A31F-479A-8A30-8B881CEC932E}"/>
    <dgm:cxn modelId="{B126C282-2AC2-427B-84A2-A81117112CE5}" type="presOf" srcId="{DD451780-5077-4F1A-9324-F1AE519E63E6}" destId="{40EAA6A1-C5F3-48C0-A627-D89ECF4DE8EE}" srcOrd="0" destOrd="0" presId="urn:microsoft.com/office/officeart/2005/8/layout/default"/>
    <dgm:cxn modelId="{852C1D94-B8EF-4921-A342-1C74836A9711}" type="presOf" srcId="{F028C3F6-956F-42F3-8959-AAB44A94D719}" destId="{4243F23D-D958-4B07-953A-95F00D0DF05D}" srcOrd="0" destOrd="0" presId="urn:microsoft.com/office/officeart/2005/8/layout/default"/>
    <dgm:cxn modelId="{C052489C-8A4F-416D-9D11-E6C0C56D2F87}" type="presOf" srcId="{EA5A818B-F52C-40E7-89B6-6DFA99B263A3}" destId="{08BD63EA-CEE8-40D6-9CD7-E336968F521F}" srcOrd="0" destOrd="0" presId="urn:microsoft.com/office/officeart/2005/8/layout/default"/>
    <dgm:cxn modelId="{387264DE-7CAD-4D47-8EB2-1627009B09CB}" srcId="{B0C936EB-3105-43C1-936E-84CFF94A9D2A}" destId="{DD451780-5077-4F1A-9324-F1AE519E63E6}" srcOrd="4" destOrd="0" parTransId="{7B66BF3A-8C64-4E1C-97D8-66B8E01B318A}" sibTransId="{6627EE14-8535-416E-B184-5469A66BCB88}"/>
    <dgm:cxn modelId="{A2CFACE1-921E-4E04-8E6E-8CE034CC07DB}" srcId="{B0C936EB-3105-43C1-936E-84CFF94A9D2A}" destId="{1B7B03AF-B257-44C1-AEB2-61D68C2A147C}" srcOrd="3" destOrd="0" parTransId="{5913D297-559E-49DD-A810-2D1714AB5F7C}" sibTransId="{7D026376-CC08-414E-ABCD-5C0126BB060E}"/>
    <dgm:cxn modelId="{818B72EA-CA4D-4A21-A6FD-5F92E4812544}" type="presOf" srcId="{043F8C45-D6F4-4710-B24E-57A200ED1113}" destId="{8E57659E-DBBA-4CD4-867F-27361D1003B4}" srcOrd="0" destOrd="0" presId="urn:microsoft.com/office/officeart/2005/8/layout/default"/>
    <dgm:cxn modelId="{943C1FF6-8641-4424-8B4E-9B51F2BC733F}" type="presOf" srcId="{5F5C0B6B-A29D-4AEF-AD70-9E80744B39F0}" destId="{C9A64BF8-7013-4702-A8E8-11930FC18B2E}" srcOrd="0" destOrd="0" presId="urn:microsoft.com/office/officeart/2005/8/layout/default"/>
    <dgm:cxn modelId="{0ACDA448-E2E3-4B22-8110-B677FD4AE7F5}" type="presParOf" srcId="{B8163D97-6556-451A-9A16-832A23B08F6F}" destId="{8E57659E-DBBA-4CD4-867F-27361D1003B4}" srcOrd="0" destOrd="0" presId="urn:microsoft.com/office/officeart/2005/8/layout/default"/>
    <dgm:cxn modelId="{8C8A0885-3D90-4A3A-934C-5EE8A1901439}" type="presParOf" srcId="{B8163D97-6556-451A-9A16-832A23B08F6F}" destId="{C7875BFF-76E9-4C8D-AA44-E2E99DCF4BA7}" srcOrd="1" destOrd="0" presId="urn:microsoft.com/office/officeart/2005/8/layout/default"/>
    <dgm:cxn modelId="{F17C420D-FC77-47B3-A74F-9CD708FA2CAA}" type="presParOf" srcId="{B8163D97-6556-451A-9A16-832A23B08F6F}" destId="{08BD63EA-CEE8-40D6-9CD7-E336968F521F}" srcOrd="2" destOrd="0" presId="urn:microsoft.com/office/officeart/2005/8/layout/default"/>
    <dgm:cxn modelId="{50497D3F-9183-44FC-976E-8A8AB1389464}" type="presParOf" srcId="{B8163D97-6556-451A-9A16-832A23B08F6F}" destId="{A13FBDA4-A131-44E2-8728-27C1DAE723F8}" srcOrd="3" destOrd="0" presId="urn:microsoft.com/office/officeart/2005/8/layout/default"/>
    <dgm:cxn modelId="{95CD5F78-2EC5-445D-9FA9-20B6BB823ECB}" type="presParOf" srcId="{B8163D97-6556-451A-9A16-832A23B08F6F}" destId="{C9A64BF8-7013-4702-A8E8-11930FC18B2E}" srcOrd="4" destOrd="0" presId="urn:microsoft.com/office/officeart/2005/8/layout/default"/>
    <dgm:cxn modelId="{56AEEE2A-DA19-4458-B8FD-7356D2EFD444}" type="presParOf" srcId="{B8163D97-6556-451A-9A16-832A23B08F6F}" destId="{5A43A17F-741E-4499-BF1A-9577202B29ED}" srcOrd="5" destOrd="0" presId="urn:microsoft.com/office/officeart/2005/8/layout/default"/>
    <dgm:cxn modelId="{42B1DABD-EBF1-457F-BC8A-8DE2F304099B}" type="presParOf" srcId="{B8163D97-6556-451A-9A16-832A23B08F6F}" destId="{62A692D1-E9B0-4E60-B17C-FDA65098E03F}" srcOrd="6" destOrd="0" presId="urn:microsoft.com/office/officeart/2005/8/layout/default"/>
    <dgm:cxn modelId="{5882C486-1850-4C77-AAC0-94465B4C89CA}" type="presParOf" srcId="{B8163D97-6556-451A-9A16-832A23B08F6F}" destId="{9726F59D-2BEE-4B54-A755-2D44A66BB0B3}" srcOrd="7" destOrd="0" presId="urn:microsoft.com/office/officeart/2005/8/layout/default"/>
    <dgm:cxn modelId="{E17C8048-A188-4331-B686-3E30DA4B71E1}" type="presParOf" srcId="{B8163D97-6556-451A-9A16-832A23B08F6F}" destId="{40EAA6A1-C5F3-48C0-A627-D89ECF4DE8EE}" srcOrd="8" destOrd="0" presId="urn:microsoft.com/office/officeart/2005/8/layout/default"/>
    <dgm:cxn modelId="{67A2F020-36F4-4964-8AEF-427B2D077FC3}" type="presParOf" srcId="{B8163D97-6556-451A-9A16-832A23B08F6F}" destId="{D11FC032-816B-4B9A-B865-B4A1BD8DD7B6}" srcOrd="9" destOrd="0" presId="urn:microsoft.com/office/officeart/2005/8/layout/default"/>
    <dgm:cxn modelId="{4A541F21-4765-43F6-987A-053BD8C4A191}" type="presParOf" srcId="{B8163D97-6556-451A-9A16-832A23B08F6F}" destId="{4243F23D-D958-4B07-953A-95F00D0DF05D}" srcOrd="10" destOrd="0" presId="urn:microsoft.com/office/officeart/2005/8/layout/default"/>
    <dgm:cxn modelId="{CBB79F08-014F-4AB7-B665-D21F530935CC}" type="presParOf" srcId="{B8163D97-6556-451A-9A16-832A23B08F6F}" destId="{393FD496-B58F-4665-8FB6-895385126534}" srcOrd="11" destOrd="0" presId="urn:microsoft.com/office/officeart/2005/8/layout/default"/>
    <dgm:cxn modelId="{797F7F89-14FD-4A56-AFE1-3A5E512C819D}" type="presParOf" srcId="{B8163D97-6556-451A-9A16-832A23B08F6F}" destId="{68561884-0745-4510-9543-F7D214C60D44}" srcOrd="1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4FA661D-90BE-48D6-AFDB-1870B66A514A}"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5FCF2D5-8104-4B4A-86BB-9369127B95DF}">
      <dgm:prSet phldrT="[Text]"/>
      <dgm:spPr/>
      <dgm:t>
        <a:bodyPr/>
        <a:lstStyle/>
        <a:p>
          <a:r>
            <a:rPr lang="en-US" dirty="0"/>
            <a:t>Inside the Engine</a:t>
          </a:r>
        </a:p>
      </dgm:t>
    </dgm:pt>
    <dgm:pt modelId="{10F002BB-7829-42E5-AB65-D9AB6F0518D9}" type="parTrans" cxnId="{491D4403-AF23-46A4-8700-656760203BF3}">
      <dgm:prSet/>
      <dgm:spPr/>
      <dgm:t>
        <a:bodyPr/>
        <a:lstStyle/>
        <a:p>
          <a:endParaRPr lang="en-US"/>
        </a:p>
      </dgm:t>
    </dgm:pt>
    <dgm:pt modelId="{9E9500E9-1ABE-46E1-A89F-99C4CD5E5099}" type="sibTrans" cxnId="{491D4403-AF23-46A4-8700-656760203BF3}">
      <dgm:prSet/>
      <dgm:spPr/>
      <dgm:t>
        <a:bodyPr/>
        <a:lstStyle/>
        <a:p>
          <a:endParaRPr lang="en-US"/>
        </a:p>
      </dgm:t>
    </dgm:pt>
    <dgm:pt modelId="{46A7A4B3-3843-42ED-A4BD-B2AF6F5A6200}">
      <dgm:prSet phldrT="[Text]"/>
      <dgm:spPr/>
      <dgm:t>
        <a:bodyPr/>
        <a:lstStyle/>
        <a:p>
          <a:r>
            <a:rPr lang="en-US" dirty="0"/>
            <a:t>ALTER SERVER CONFIGURATION</a:t>
          </a:r>
        </a:p>
      </dgm:t>
    </dgm:pt>
    <dgm:pt modelId="{070B8A3A-D932-4148-AFD5-E09D39DE352D}" type="parTrans" cxnId="{70684557-4E03-45A0-8621-D8A0EA16724C}">
      <dgm:prSet/>
      <dgm:spPr/>
      <dgm:t>
        <a:bodyPr/>
        <a:lstStyle/>
        <a:p>
          <a:endParaRPr lang="en-US"/>
        </a:p>
      </dgm:t>
    </dgm:pt>
    <dgm:pt modelId="{E3D7E58D-EAE9-4260-8A5B-6C29DD2EA03A}" type="sibTrans" cxnId="{70684557-4E03-45A0-8621-D8A0EA16724C}">
      <dgm:prSet/>
      <dgm:spPr/>
      <dgm:t>
        <a:bodyPr/>
        <a:lstStyle/>
        <a:p>
          <a:endParaRPr lang="en-US"/>
        </a:p>
      </dgm:t>
    </dgm:pt>
    <dgm:pt modelId="{8F25FB4F-654C-4C69-8B62-EAE1017B61B4}">
      <dgm:prSet phldrT="[Text]"/>
      <dgm:spPr/>
      <dgm:t>
        <a:bodyPr/>
        <a:lstStyle/>
        <a:p>
          <a:r>
            <a:rPr lang="en-US" dirty="0"/>
            <a:t>sp_configure</a:t>
          </a:r>
        </a:p>
      </dgm:t>
    </dgm:pt>
    <dgm:pt modelId="{DCA6B9FC-D0A0-46C0-AC3B-673DB3B41CE8}" type="parTrans" cxnId="{AE417C05-4317-4CD1-992A-A13888C9F009}">
      <dgm:prSet/>
      <dgm:spPr/>
      <dgm:t>
        <a:bodyPr/>
        <a:lstStyle/>
        <a:p>
          <a:endParaRPr lang="en-US"/>
        </a:p>
      </dgm:t>
    </dgm:pt>
    <dgm:pt modelId="{09F23302-04CF-47BB-8128-68FDF0F3BB3E}" type="sibTrans" cxnId="{AE417C05-4317-4CD1-992A-A13888C9F009}">
      <dgm:prSet/>
      <dgm:spPr/>
      <dgm:t>
        <a:bodyPr/>
        <a:lstStyle/>
        <a:p>
          <a:endParaRPr lang="en-US"/>
        </a:p>
      </dgm:t>
    </dgm:pt>
    <dgm:pt modelId="{C8EF6A97-4D8A-45E2-8A5A-B874D2683AC4}">
      <dgm:prSet phldrT="[Text]"/>
      <dgm:spPr/>
      <dgm:t>
        <a:bodyPr/>
        <a:lstStyle/>
        <a:p>
          <a:r>
            <a:rPr lang="en-US" dirty="0"/>
            <a:t>Outside the Engine</a:t>
          </a:r>
        </a:p>
      </dgm:t>
    </dgm:pt>
    <dgm:pt modelId="{19DAC044-402A-41E6-B60D-8A92B5913BC0}" type="parTrans" cxnId="{65627132-61FC-4D42-98E8-AFC696CDCCB2}">
      <dgm:prSet/>
      <dgm:spPr/>
      <dgm:t>
        <a:bodyPr/>
        <a:lstStyle/>
        <a:p>
          <a:endParaRPr lang="en-US"/>
        </a:p>
      </dgm:t>
    </dgm:pt>
    <dgm:pt modelId="{694D781B-3B2B-4E0E-B401-6F77735BAA29}" type="sibTrans" cxnId="{65627132-61FC-4D42-98E8-AFC696CDCCB2}">
      <dgm:prSet/>
      <dgm:spPr/>
      <dgm:t>
        <a:bodyPr/>
        <a:lstStyle/>
        <a:p>
          <a:endParaRPr lang="en-US"/>
        </a:p>
      </dgm:t>
    </dgm:pt>
    <dgm:pt modelId="{66196B8C-DBBA-4E6C-8FC6-955F6BADDC30}">
      <dgm:prSet phldrT="[Text]"/>
      <dgm:spPr/>
      <dgm:t>
        <a:bodyPr/>
        <a:lstStyle/>
        <a:p>
          <a:r>
            <a:rPr lang="en-US" dirty="0"/>
            <a:t>Environment variables during setup</a:t>
          </a:r>
        </a:p>
      </dgm:t>
    </dgm:pt>
    <dgm:pt modelId="{219E7D41-44F0-4F09-9403-FCB636962563}" type="parTrans" cxnId="{6E55C540-1CB7-4BBF-97E8-458C3702629F}">
      <dgm:prSet/>
      <dgm:spPr/>
      <dgm:t>
        <a:bodyPr/>
        <a:lstStyle/>
        <a:p>
          <a:endParaRPr lang="en-US"/>
        </a:p>
      </dgm:t>
    </dgm:pt>
    <dgm:pt modelId="{7DE9BDA1-FBC4-4328-BDC2-D70567D543A9}" type="sibTrans" cxnId="{6E55C540-1CB7-4BBF-97E8-458C3702629F}">
      <dgm:prSet/>
      <dgm:spPr/>
      <dgm:t>
        <a:bodyPr/>
        <a:lstStyle/>
        <a:p>
          <a:endParaRPr lang="en-US"/>
        </a:p>
      </dgm:t>
    </dgm:pt>
    <dgm:pt modelId="{F8856E08-9862-49D2-AD3F-6DBDD8622400}">
      <dgm:prSet phldrT="[Text]"/>
      <dgm:spPr/>
      <dgm:t>
        <a:bodyPr/>
        <a:lstStyle/>
        <a:p>
          <a:r>
            <a:rPr lang="en-US" dirty="0"/>
            <a:t>mssql-conf script after setup</a:t>
          </a:r>
        </a:p>
      </dgm:t>
    </dgm:pt>
    <dgm:pt modelId="{93D93912-13B3-4B94-8123-1F2E860625ED}" type="parTrans" cxnId="{3CDFDFF5-4889-4757-80A5-A5F3A26C7F22}">
      <dgm:prSet/>
      <dgm:spPr/>
      <dgm:t>
        <a:bodyPr/>
        <a:lstStyle/>
        <a:p>
          <a:endParaRPr lang="en-US"/>
        </a:p>
      </dgm:t>
    </dgm:pt>
    <dgm:pt modelId="{0DF0976F-F74F-4BBB-B033-357DEF29D9C1}" type="sibTrans" cxnId="{3CDFDFF5-4889-4757-80A5-A5F3A26C7F22}">
      <dgm:prSet/>
      <dgm:spPr/>
      <dgm:t>
        <a:bodyPr/>
        <a:lstStyle/>
        <a:p>
          <a:endParaRPr lang="en-US"/>
        </a:p>
      </dgm:t>
    </dgm:pt>
    <dgm:pt modelId="{15E18B64-AB4A-4AD6-879E-2F124CEBB7A3}" type="pres">
      <dgm:prSet presAssocID="{94FA661D-90BE-48D6-AFDB-1870B66A514A}" presName="theList" presStyleCnt="0">
        <dgm:presLayoutVars>
          <dgm:dir/>
          <dgm:animLvl val="lvl"/>
          <dgm:resizeHandles val="exact"/>
        </dgm:presLayoutVars>
      </dgm:prSet>
      <dgm:spPr/>
    </dgm:pt>
    <dgm:pt modelId="{8AC94B68-0351-4BDB-8489-62BB9377F46E}" type="pres">
      <dgm:prSet presAssocID="{45FCF2D5-8104-4B4A-86BB-9369127B95DF}" presName="compNode" presStyleCnt="0"/>
      <dgm:spPr/>
    </dgm:pt>
    <dgm:pt modelId="{0C485EC8-B888-4F47-9261-22B2CA46B927}" type="pres">
      <dgm:prSet presAssocID="{45FCF2D5-8104-4B4A-86BB-9369127B95DF}" presName="aNode" presStyleLbl="bgShp" presStyleIdx="0" presStyleCnt="2"/>
      <dgm:spPr/>
    </dgm:pt>
    <dgm:pt modelId="{63CADA36-CBD0-4792-A7A5-E1555DCBCC7E}" type="pres">
      <dgm:prSet presAssocID="{45FCF2D5-8104-4B4A-86BB-9369127B95DF}" presName="textNode" presStyleLbl="bgShp" presStyleIdx="0" presStyleCnt="2"/>
      <dgm:spPr/>
    </dgm:pt>
    <dgm:pt modelId="{1749230D-7E30-4D40-8B71-550632E70A79}" type="pres">
      <dgm:prSet presAssocID="{45FCF2D5-8104-4B4A-86BB-9369127B95DF}" presName="compChildNode" presStyleCnt="0"/>
      <dgm:spPr/>
    </dgm:pt>
    <dgm:pt modelId="{660F8F9C-19C1-4658-A384-4BC049E6C681}" type="pres">
      <dgm:prSet presAssocID="{45FCF2D5-8104-4B4A-86BB-9369127B95DF}" presName="theInnerList" presStyleCnt="0"/>
      <dgm:spPr/>
    </dgm:pt>
    <dgm:pt modelId="{DFB13D7C-8E28-4030-B7E0-54EE205E2CA0}" type="pres">
      <dgm:prSet presAssocID="{46A7A4B3-3843-42ED-A4BD-B2AF6F5A6200}" presName="childNode" presStyleLbl="node1" presStyleIdx="0" presStyleCnt="4">
        <dgm:presLayoutVars>
          <dgm:bulletEnabled val="1"/>
        </dgm:presLayoutVars>
      </dgm:prSet>
      <dgm:spPr/>
    </dgm:pt>
    <dgm:pt modelId="{3AF68B6A-CA9F-4C9A-A18D-44F57F2F988B}" type="pres">
      <dgm:prSet presAssocID="{46A7A4B3-3843-42ED-A4BD-B2AF6F5A6200}" presName="aSpace2" presStyleCnt="0"/>
      <dgm:spPr/>
    </dgm:pt>
    <dgm:pt modelId="{F6885A86-2B33-4AA0-97E9-F29ED73946E1}" type="pres">
      <dgm:prSet presAssocID="{8F25FB4F-654C-4C69-8B62-EAE1017B61B4}" presName="childNode" presStyleLbl="node1" presStyleIdx="1" presStyleCnt="4">
        <dgm:presLayoutVars>
          <dgm:bulletEnabled val="1"/>
        </dgm:presLayoutVars>
      </dgm:prSet>
      <dgm:spPr/>
    </dgm:pt>
    <dgm:pt modelId="{F1E3F95B-38E2-42B6-BDE5-20E374F20988}" type="pres">
      <dgm:prSet presAssocID="{45FCF2D5-8104-4B4A-86BB-9369127B95DF}" presName="aSpace" presStyleCnt="0"/>
      <dgm:spPr/>
    </dgm:pt>
    <dgm:pt modelId="{6AE1A950-BA93-472F-A959-32946B1A26C7}" type="pres">
      <dgm:prSet presAssocID="{C8EF6A97-4D8A-45E2-8A5A-B874D2683AC4}" presName="compNode" presStyleCnt="0"/>
      <dgm:spPr/>
    </dgm:pt>
    <dgm:pt modelId="{D4A1A83A-EB8F-4629-8EA6-48A17EB0E121}" type="pres">
      <dgm:prSet presAssocID="{C8EF6A97-4D8A-45E2-8A5A-B874D2683AC4}" presName="aNode" presStyleLbl="bgShp" presStyleIdx="1" presStyleCnt="2" custLinFactNeighborX="4443" custLinFactNeighborY="29685"/>
      <dgm:spPr/>
    </dgm:pt>
    <dgm:pt modelId="{81EC689A-E4E0-4D08-99A9-63860CDF2BF3}" type="pres">
      <dgm:prSet presAssocID="{C8EF6A97-4D8A-45E2-8A5A-B874D2683AC4}" presName="textNode" presStyleLbl="bgShp" presStyleIdx="1" presStyleCnt="2"/>
      <dgm:spPr/>
    </dgm:pt>
    <dgm:pt modelId="{06D0F215-8B68-4F10-846D-FA0497272390}" type="pres">
      <dgm:prSet presAssocID="{C8EF6A97-4D8A-45E2-8A5A-B874D2683AC4}" presName="compChildNode" presStyleCnt="0"/>
      <dgm:spPr/>
    </dgm:pt>
    <dgm:pt modelId="{074A1F69-60DF-4C2B-87E8-6D3B7A657E38}" type="pres">
      <dgm:prSet presAssocID="{C8EF6A97-4D8A-45E2-8A5A-B874D2683AC4}" presName="theInnerList" presStyleCnt="0"/>
      <dgm:spPr/>
    </dgm:pt>
    <dgm:pt modelId="{7B1490E8-0459-4602-B48F-8121443A17E7}" type="pres">
      <dgm:prSet presAssocID="{66196B8C-DBBA-4E6C-8FC6-955F6BADDC30}" presName="childNode" presStyleLbl="node1" presStyleIdx="2" presStyleCnt="4">
        <dgm:presLayoutVars>
          <dgm:bulletEnabled val="1"/>
        </dgm:presLayoutVars>
      </dgm:prSet>
      <dgm:spPr/>
    </dgm:pt>
    <dgm:pt modelId="{2671D161-28CF-4470-83DB-84F78F437022}" type="pres">
      <dgm:prSet presAssocID="{66196B8C-DBBA-4E6C-8FC6-955F6BADDC30}" presName="aSpace2" presStyleCnt="0"/>
      <dgm:spPr/>
    </dgm:pt>
    <dgm:pt modelId="{CC7F087E-F092-4A8E-AAEA-A010D55FCBDD}" type="pres">
      <dgm:prSet presAssocID="{F8856E08-9862-49D2-AD3F-6DBDD8622400}" presName="childNode" presStyleLbl="node1" presStyleIdx="3" presStyleCnt="4">
        <dgm:presLayoutVars>
          <dgm:bulletEnabled val="1"/>
        </dgm:presLayoutVars>
      </dgm:prSet>
      <dgm:spPr/>
    </dgm:pt>
  </dgm:ptLst>
  <dgm:cxnLst>
    <dgm:cxn modelId="{491D4403-AF23-46A4-8700-656760203BF3}" srcId="{94FA661D-90BE-48D6-AFDB-1870B66A514A}" destId="{45FCF2D5-8104-4B4A-86BB-9369127B95DF}" srcOrd="0" destOrd="0" parTransId="{10F002BB-7829-42E5-AB65-D9AB6F0518D9}" sibTransId="{9E9500E9-1ABE-46E1-A89F-99C4CD5E5099}"/>
    <dgm:cxn modelId="{AE417C05-4317-4CD1-992A-A13888C9F009}" srcId="{45FCF2D5-8104-4B4A-86BB-9369127B95DF}" destId="{8F25FB4F-654C-4C69-8B62-EAE1017B61B4}" srcOrd="1" destOrd="0" parTransId="{DCA6B9FC-D0A0-46C0-AC3B-673DB3B41CE8}" sibTransId="{09F23302-04CF-47BB-8128-68FDF0F3BB3E}"/>
    <dgm:cxn modelId="{8E7BF80F-71A8-480B-A4D2-E15844DD499B}" type="presOf" srcId="{C8EF6A97-4D8A-45E2-8A5A-B874D2683AC4}" destId="{81EC689A-E4E0-4D08-99A9-63860CDF2BF3}" srcOrd="1" destOrd="0" presId="urn:microsoft.com/office/officeart/2005/8/layout/lProcess2"/>
    <dgm:cxn modelId="{F81CC718-4989-4BAE-804E-827A82F27E4C}" type="presOf" srcId="{66196B8C-DBBA-4E6C-8FC6-955F6BADDC30}" destId="{7B1490E8-0459-4602-B48F-8121443A17E7}" srcOrd="0" destOrd="0" presId="urn:microsoft.com/office/officeart/2005/8/layout/lProcess2"/>
    <dgm:cxn modelId="{E2FCB61C-A72B-4CAB-8053-D4069D656CFC}" type="presOf" srcId="{94FA661D-90BE-48D6-AFDB-1870B66A514A}" destId="{15E18B64-AB4A-4AD6-879E-2F124CEBB7A3}" srcOrd="0" destOrd="0" presId="urn:microsoft.com/office/officeart/2005/8/layout/lProcess2"/>
    <dgm:cxn modelId="{65627132-61FC-4D42-98E8-AFC696CDCCB2}" srcId="{94FA661D-90BE-48D6-AFDB-1870B66A514A}" destId="{C8EF6A97-4D8A-45E2-8A5A-B874D2683AC4}" srcOrd="1" destOrd="0" parTransId="{19DAC044-402A-41E6-B60D-8A92B5913BC0}" sibTransId="{694D781B-3B2B-4E0E-B401-6F77735BAA29}"/>
    <dgm:cxn modelId="{6E55C540-1CB7-4BBF-97E8-458C3702629F}" srcId="{C8EF6A97-4D8A-45E2-8A5A-B874D2683AC4}" destId="{66196B8C-DBBA-4E6C-8FC6-955F6BADDC30}" srcOrd="0" destOrd="0" parTransId="{219E7D41-44F0-4F09-9403-FCB636962563}" sibTransId="{7DE9BDA1-FBC4-4328-BDC2-D70567D543A9}"/>
    <dgm:cxn modelId="{38AB3049-A604-4058-A040-526116FA8524}" type="presOf" srcId="{8F25FB4F-654C-4C69-8B62-EAE1017B61B4}" destId="{F6885A86-2B33-4AA0-97E9-F29ED73946E1}" srcOrd="0" destOrd="0" presId="urn:microsoft.com/office/officeart/2005/8/layout/lProcess2"/>
    <dgm:cxn modelId="{70684557-4E03-45A0-8621-D8A0EA16724C}" srcId="{45FCF2D5-8104-4B4A-86BB-9369127B95DF}" destId="{46A7A4B3-3843-42ED-A4BD-B2AF6F5A6200}" srcOrd="0" destOrd="0" parTransId="{070B8A3A-D932-4148-AFD5-E09D39DE352D}" sibTransId="{E3D7E58D-EAE9-4260-8A5B-6C29DD2EA03A}"/>
    <dgm:cxn modelId="{6FA95B80-36B7-4CE1-AF8C-A41B238091E9}" type="presOf" srcId="{46A7A4B3-3843-42ED-A4BD-B2AF6F5A6200}" destId="{DFB13D7C-8E28-4030-B7E0-54EE205E2CA0}" srcOrd="0" destOrd="0" presId="urn:microsoft.com/office/officeart/2005/8/layout/lProcess2"/>
    <dgm:cxn modelId="{DEFA5982-779B-4C91-A1F5-51D020E9163E}" type="presOf" srcId="{F8856E08-9862-49D2-AD3F-6DBDD8622400}" destId="{CC7F087E-F092-4A8E-AAEA-A010D55FCBDD}" srcOrd="0" destOrd="0" presId="urn:microsoft.com/office/officeart/2005/8/layout/lProcess2"/>
    <dgm:cxn modelId="{26D29B96-73C8-4C44-AB0A-1907CDF9955F}" type="presOf" srcId="{45FCF2D5-8104-4B4A-86BB-9369127B95DF}" destId="{0C485EC8-B888-4F47-9261-22B2CA46B927}" srcOrd="0" destOrd="0" presId="urn:microsoft.com/office/officeart/2005/8/layout/lProcess2"/>
    <dgm:cxn modelId="{02B17DDB-9639-4C45-A71A-06EFAAFDD115}" type="presOf" srcId="{C8EF6A97-4D8A-45E2-8A5A-B874D2683AC4}" destId="{D4A1A83A-EB8F-4629-8EA6-48A17EB0E121}" srcOrd="0" destOrd="0" presId="urn:microsoft.com/office/officeart/2005/8/layout/lProcess2"/>
    <dgm:cxn modelId="{8438D5EC-BCA3-453A-8882-E945EA8F583B}" type="presOf" srcId="{45FCF2D5-8104-4B4A-86BB-9369127B95DF}" destId="{63CADA36-CBD0-4792-A7A5-E1555DCBCC7E}" srcOrd="1" destOrd="0" presId="urn:microsoft.com/office/officeart/2005/8/layout/lProcess2"/>
    <dgm:cxn modelId="{3CDFDFF5-4889-4757-80A5-A5F3A26C7F22}" srcId="{C8EF6A97-4D8A-45E2-8A5A-B874D2683AC4}" destId="{F8856E08-9862-49D2-AD3F-6DBDD8622400}" srcOrd="1" destOrd="0" parTransId="{93D93912-13B3-4B94-8123-1F2E860625ED}" sibTransId="{0DF0976F-F74F-4BBB-B033-357DEF29D9C1}"/>
    <dgm:cxn modelId="{D70F2AD2-1B6C-4051-B0A0-F82BCBE5A26C}" type="presParOf" srcId="{15E18B64-AB4A-4AD6-879E-2F124CEBB7A3}" destId="{8AC94B68-0351-4BDB-8489-62BB9377F46E}" srcOrd="0" destOrd="0" presId="urn:microsoft.com/office/officeart/2005/8/layout/lProcess2"/>
    <dgm:cxn modelId="{1BC293A7-ADA9-4095-B303-E390206E92DF}" type="presParOf" srcId="{8AC94B68-0351-4BDB-8489-62BB9377F46E}" destId="{0C485EC8-B888-4F47-9261-22B2CA46B927}" srcOrd="0" destOrd="0" presId="urn:microsoft.com/office/officeart/2005/8/layout/lProcess2"/>
    <dgm:cxn modelId="{695BA3F2-4FCB-4571-AF8D-14F363D6C2C2}" type="presParOf" srcId="{8AC94B68-0351-4BDB-8489-62BB9377F46E}" destId="{63CADA36-CBD0-4792-A7A5-E1555DCBCC7E}" srcOrd="1" destOrd="0" presId="urn:microsoft.com/office/officeart/2005/8/layout/lProcess2"/>
    <dgm:cxn modelId="{3797A653-ABF6-480D-B3DC-5EF0DA813ACF}" type="presParOf" srcId="{8AC94B68-0351-4BDB-8489-62BB9377F46E}" destId="{1749230D-7E30-4D40-8B71-550632E70A79}" srcOrd="2" destOrd="0" presId="urn:microsoft.com/office/officeart/2005/8/layout/lProcess2"/>
    <dgm:cxn modelId="{2FEA4B14-0DEB-4C32-8AB4-9BB90AE51036}" type="presParOf" srcId="{1749230D-7E30-4D40-8B71-550632E70A79}" destId="{660F8F9C-19C1-4658-A384-4BC049E6C681}" srcOrd="0" destOrd="0" presId="urn:microsoft.com/office/officeart/2005/8/layout/lProcess2"/>
    <dgm:cxn modelId="{5775B9B1-F8E2-4A5C-A1AB-238B355859B9}" type="presParOf" srcId="{660F8F9C-19C1-4658-A384-4BC049E6C681}" destId="{DFB13D7C-8E28-4030-B7E0-54EE205E2CA0}" srcOrd="0" destOrd="0" presId="urn:microsoft.com/office/officeart/2005/8/layout/lProcess2"/>
    <dgm:cxn modelId="{DD377298-EF39-4EF0-AE62-0F51013B6876}" type="presParOf" srcId="{660F8F9C-19C1-4658-A384-4BC049E6C681}" destId="{3AF68B6A-CA9F-4C9A-A18D-44F57F2F988B}" srcOrd="1" destOrd="0" presId="urn:microsoft.com/office/officeart/2005/8/layout/lProcess2"/>
    <dgm:cxn modelId="{0D5EC9D0-3A88-40E4-BDB9-62178BC2900D}" type="presParOf" srcId="{660F8F9C-19C1-4658-A384-4BC049E6C681}" destId="{F6885A86-2B33-4AA0-97E9-F29ED73946E1}" srcOrd="2" destOrd="0" presId="urn:microsoft.com/office/officeart/2005/8/layout/lProcess2"/>
    <dgm:cxn modelId="{44B8B399-F52E-4ED5-8518-0DB42A1CAB1D}" type="presParOf" srcId="{15E18B64-AB4A-4AD6-879E-2F124CEBB7A3}" destId="{F1E3F95B-38E2-42B6-BDE5-20E374F20988}" srcOrd="1" destOrd="0" presId="urn:microsoft.com/office/officeart/2005/8/layout/lProcess2"/>
    <dgm:cxn modelId="{2F95D634-B4F0-40A3-B519-CDAB682FAB54}" type="presParOf" srcId="{15E18B64-AB4A-4AD6-879E-2F124CEBB7A3}" destId="{6AE1A950-BA93-472F-A959-32946B1A26C7}" srcOrd="2" destOrd="0" presId="urn:microsoft.com/office/officeart/2005/8/layout/lProcess2"/>
    <dgm:cxn modelId="{8A0E8C11-5538-4979-BE5E-7C991FCB4FD0}" type="presParOf" srcId="{6AE1A950-BA93-472F-A959-32946B1A26C7}" destId="{D4A1A83A-EB8F-4629-8EA6-48A17EB0E121}" srcOrd="0" destOrd="0" presId="urn:microsoft.com/office/officeart/2005/8/layout/lProcess2"/>
    <dgm:cxn modelId="{39FD9D27-8BFD-498C-A608-656FF1341FA5}" type="presParOf" srcId="{6AE1A950-BA93-472F-A959-32946B1A26C7}" destId="{81EC689A-E4E0-4D08-99A9-63860CDF2BF3}" srcOrd="1" destOrd="0" presId="urn:microsoft.com/office/officeart/2005/8/layout/lProcess2"/>
    <dgm:cxn modelId="{1DEECA43-03CD-4599-92E2-3DC4DEC61588}" type="presParOf" srcId="{6AE1A950-BA93-472F-A959-32946B1A26C7}" destId="{06D0F215-8B68-4F10-846D-FA0497272390}" srcOrd="2" destOrd="0" presId="urn:microsoft.com/office/officeart/2005/8/layout/lProcess2"/>
    <dgm:cxn modelId="{BFABB438-7590-41FB-95B9-FB3C27182543}" type="presParOf" srcId="{06D0F215-8B68-4F10-846D-FA0497272390}" destId="{074A1F69-60DF-4C2B-87E8-6D3B7A657E38}" srcOrd="0" destOrd="0" presId="urn:microsoft.com/office/officeart/2005/8/layout/lProcess2"/>
    <dgm:cxn modelId="{91FFD537-2B92-419F-9890-3A74D2075F8B}" type="presParOf" srcId="{074A1F69-60DF-4C2B-87E8-6D3B7A657E38}" destId="{7B1490E8-0459-4602-B48F-8121443A17E7}" srcOrd="0" destOrd="0" presId="urn:microsoft.com/office/officeart/2005/8/layout/lProcess2"/>
    <dgm:cxn modelId="{12421B91-2D48-48F6-BF25-3038EA018767}" type="presParOf" srcId="{074A1F69-60DF-4C2B-87E8-6D3B7A657E38}" destId="{2671D161-28CF-4470-83DB-84F78F437022}" srcOrd="1" destOrd="0" presId="urn:microsoft.com/office/officeart/2005/8/layout/lProcess2"/>
    <dgm:cxn modelId="{FD9D49DF-0003-4390-9121-7F80FE6828D6}" type="presParOf" srcId="{074A1F69-60DF-4C2B-87E8-6D3B7A657E38}" destId="{CC7F087E-F092-4A8E-AAEA-A010D55FCBDD}"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71B2542-6D0A-4175-9AA6-AEE126EC1103}"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CF29DF23-B14F-407B-A271-9A5E0E97EBE5}">
      <dgm:prSet phldrT="[Text]"/>
      <dgm:spPr/>
      <dgm:t>
        <a:bodyPr/>
        <a:lstStyle/>
        <a:p>
          <a:r>
            <a:rPr lang="en-US" dirty="0"/>
            <a:t>Package for each CU and GDR</a:t>
          </a:r>
        </a:p>
      </dgm:t>
    </dgm:pt>
    <dgm:pt modelId="{14A9AAA5-D7AD-40E2-B1BC-C0CAEDB19708}" type="parTrans" cxnId="{A084C7F4-7E74-4006-908D-D1BCD7E3C43A}">
      <dgm:prSet/>
      <dgm:spPr/>
      <dgm:t>
        <a:bodyPr/>
        <a:lstStyle/>
        <a:p>
          <a:endParaRPr lang="en-US"/>
        </a:p>
      </dgm:t>
    </dgm:pt>
    <dgm:pt modelId="{7160B18D-959A-4EA7-981F-FB60D9960E7B}" type="sibTrans" cxnId="{A084C7F4-7E74-4006-908D-D1BCD7E3C43A}">
      <dgm:prSet/>
      <dgm:spPr/>
      <dgm:t>
        <a:bodyPr/>
        <a:lstStyle/>
        <a:p>
          <a:endParaRPr lang="en-US"/>
        </a:p>
      </dgm:t>
    </dgm:pt>
    <dgm:pt modelId="{4EFB4557-A9ED-42B3-8593-1D10BDCDD774}">
      <dgm:prSet phldrT="[Text]"/>
      <dgm:spPr/>
      <dgm:t>
        <a:bodyPr/>
        <a:lstStyle/>
        <a:p>
          <a:r>
            <a:rPr lang="en-US" dirty="0"/>
            <a:t>Packager managers support update and rollback</a:t>
          </a:r>
        </a:p>
      </dgm:t>
    </dgm:pt>
    <dgm:pt modelId="{75CF9364-00FC-4CC5-81CC-4D8C43095FF1}" type="parTrans" cxnId="{98BD729B-3A3B-408B-975B-291AAEC3522F}">
      <dgm:prSet/>
      <dgm:spPr/>
      <dgm:t>
        <a:bodyPr/>
        <a:lstStyle/>
        <a:p>
          <a:endParaRPr lang="en-US"/>
        </a:p>
      </dgm:t>
    </dgm:pt>
    <dgm:pt modelId="{B0DA1462-CC99-48E9-BE65-54A1202548E5}" type="sibTrans" cxnId="{98BD729B-3A3B-408B-975B-291AAEC3522F}">
      <dgm:prSet/>
      <dgm:spPr/>
      <dgm:t>
        <a:bodyPr/>
        <a:lstStyle/>
        <a:p>
          <a:endParaRPr lang="en-US"/>
        </a:p>
      </dgm:t>
    </dgm:pt>
    <dgm:pt modelId="{0615FAD1-49E8-455C-82D6-2ACF8A635DD5}">
      <dgm:prSet phldrT="[Text]"/>
      <dgm:spPr/>
      <dgm:t>
        <a:bodyPr/>
        <a:lstStyle/>
        <a:p>
          <a:r>
            <a:rPr lang="en-US" dirty="0"/>
            <a:t>No more service packs</a:t>
          </a:r>
        </a:p>
      </dgm:t>
    </dgm:pt>
    <dgm:pt modelId="{0457395D-9413-464E-8710-154125BD815A}" type="parTrans" cxnId="{92F850ED-FA1C-428F-9460-05BC686B72C8}">
      <dgm:prSet/>
      <dgm:spPr/>
      <dgm:t>
        <a:bodyPr/>
        <a:lstStyle/>
        <a:p>
          <a:endParaRPr lang="en-US"/>
        </a:p>
      </dgm:t>
    </dgm:pt>
    <dgm:pt modelId="{30047D4B-9EB8-4C33-8E24-73073AC967C9}" type="sibTrans" cxnId="{92F850ED-FA1C-428F-9460-05BC686B72C8}">
      <dgm:prSet/>
      <dgm:spPr/>
      <dgm:t>
        <a:bodyPr/>
        <a:lstStyle/>
        <a:p>
          <a:endParaRPr lang="en-US"/>
        </a:p>
      </dgm:t>
    </dgm:pt>
    <dgm:pt modelId="{FD5BC01F-0840-4FC7-BAA4-51E4380241C9}" type="pres">
      <dgm:prSet presAssocID="{671B2542-6D0A-4175-9AA6-AEE126EC1103}" presName="diagram" presStyleCnt="0">
        <dgm:presLayoutVars>
          <dgm:dir/>
          <dgm:resizeHandles val="exact"/>
        </dgm:presLayoutVars>
      </dgm:prSet>
      <dgm:spPr/>
    </dgm:pt>
    <dgm:pt modelId="{ECC1513C-8B4B-43EC-B63E-9329ED625168}" type="pres">
      <dgm:prSet presAssocID="{CF29DF23-B14F-407B-A271-9A5E0E97EBE5}" presName="node" presStyleLbl="node1" presStyleIdx="0" presStyleCnt="3">
        <dgm:presLayoutVars>
          <dgm:bulletEnabled val="1"/>
        </dgm:presLayoutVars>
      </dgm:prSet>
      <dgm:spPr/>
    </dgm:pt>
    <dgm:pt modelId="{88B1C4DE-C8C8-461A-87D0-0891808756AA}" type="pres">
      <dgm:prSet presAssocID="{7160B18D-959A-4EA7-981F-FB60D9960E7B}" presName="sibTrans" presStyleCnt="0"/>
      <dgm:spPr/>
    </dgm:pt>
    <dgm:pt modelId="{A307D924-6CF2-41D4-8612-EE27D2DD2270}" type="pres">
      <dgm:prSet presAssocID="{4EFB4557-A9ED-42B3-8593-1D10BDCDD774}" presName="node" presStyleLbl="node1" presStyleIdx="1" presStyleCnt="3">
        <dgm:presLayoutVars>
          <dgm:bulletEnabled val="1"/>
        </dgm:presLayoutVars>
      </dgm:prSet>
      <dgm:spPr/>
    </dgm:pt>
    <dgm:pt modelId="{45185E01-C52F-4A4A-8D93-BE88848E29BC}" type="pres">
      <dgm:prSet presAssocID="{B0DA1462-CC99-48E9-BE65-54A1202548E5}" presName="sibTrans" presStyleCnt="0"/>
      <dgm:spPr/>
    </dgm:pt>
    <dgm:pt modelId="{2D44F5FB-0D87-4F92-A2CF-08F985E319B1}" type="pres">
      <dgm:prSet presAssocID="{0615FAD1-49E8-455C-82D6-2ACF8A635DD5}" presName="node" presStyleLbl="node1" presStyleIdx="2" presStyleCnt="3">
        <dgm:presLayoutVars>
          <dgm:bulletEnabled val="1"/>
        </dgm:presLayoutVars>
      </dgm:prSet>
      <dgm:spPr/>
    </dgm:pt>
  </dgm:ptLst>
  <dgm:cxnLst>
    <dgm:cxn modelId="{CF11FE11-C1A4-49C6-BB73-0E2FBAD8E9E8}" type="presOf" srcId="{CF29DF23-B14F-407B-A271-9A5E0E97EBE5}" destId="{ECC1513C-8B4B-43EC-B63E-9329ED625168}" srcOrd="0" destOrd="0" presId="urn:microsoft.com/office/officeart/2005/8/layout/default"/>
    <dgm:cxn modelId="{FF19DC1B-EAFE-4CFD-B64C-D06C4D7DAE3C}" type="presOf" srcId="{671B2542-6D0A-4175-9AA6-AEE126EC1103}" destId="{FD5BC01F-0840-4FC7-BAA4-51E4380241C9}" srcOrd="0" destOrd="0" presId="urn:microsoft.com/office/officeart/2005/8/layout/default"/>
    <dgm:cxn modelId="{312FC26E-8827-4068-982B-0E77D6343D94}" type="presOf" srcId="{0615FAD1-49E8-455C-82D6-2ACF8A635DD5}" destId="{2D44F5FB-0D87-4F92-A2CF-08F985E319B1}" srcOrd="0" destOrd="0" presId="urn:microsoft.com/office/officeart/2005/8/layout/default"/>
    <dgm:cxn modelId="{98BD729B-3A3B-408B-975B-291AAEC3522F}" srcId="{671B2542-6D0A-4175-9AA6-AEE126EC1103}" destId="{4EFB4557-A9ED-42B3-8593-1D10BDCDD774}" srcOrd="1" destOrd="0" parTransId="{75CF9364-00FC-4CC5-81CC-4D8C43095FF1}" sibTransId="{B0DA1462-CC99-48E9-BE65-54A1202548E5}"/>
    <dgm:cxn modelId="{46CEDCA9-3EF2-4F29-A149-BA9BCA42DAEA}" type="presOf" srcId="{4EFB4557-A9ED-42B3-8593-1D10BDCDD774}" destId="{A307D924-6CF2-41D4-8612-EE27D2DD2270}" srcOrd="0" destOrd="0" presId="urn:microsoft.com/office/officeart/2005/8/layout/default"/>
    <dgm:cxn modelId="{92F850ED-FA1C-428F-9460-05BC686B72C8}" srcId="{671B2542-6D0A-4175-9AA6-AEE126EC1103}" destId="{0615FAD1-49E8-455C-82D6-2ACF8A635DD5}" srcOrd="2" destOrd="0" parTransId="{0457395D-9413-464E-8710-154125BD815A}" sibTransId="{30047D4B-9EB8-4C33-8E24-73073AC967C9}"/>
    <dgm:cxn modelId="{A084C7F4-7E74-4006-908D-D1BCD7E3C43A}" srcId="{671B2542-6D0A-4175-9AA6-AEE126EC1103}" destId="{CF29DF23-B14F-407B-A271-9A5E0E97EBE5}" srcOrd="0" destOrd="0" parTransId="{14A9AAA5-D7AD-40E2-B1BC-C0CAEDB19708}" sibTransId="{7160B18D-959A-4EA7-981F-FB60D9960E7B}"/>
    <dgm:cxn modelId="{902BA27B-2C45-4B57-A921-FA49F0AEB278}" type="presParOf" srcId="{FD5BC01F-0840-4FC7-BAA4-51E4380241C9}" destId="{ECC1513C-8B4B-43EC-B63E-9329ED625168}" srcOrd="0" destOrd="0" presId="urn:microsoft.com/office/officeart/2005/8/layout/default"/>
    <dgm:cxn modelId="{40EF663A-3A4C-4AB7-BCC9-6B8E1FE42702}" type="presParOf" srcId="{FD5BC01F-0840-4FC7-BAA4-51E4380241C9}" destId="{88B1C4DE-C8C8-461A-87D0-0891808756AA}" srcOrd="1" destOrd="0" presId="urn:microsoft.com/office/officeart/2005/8/layout/default"/>
    <dgm:cxn modelId="{FD359E1B-7DCF-4CA0-A048-10BB24C4E7B4}" type="presParOf" srcId="{FD5BC01F-0840-4FC7-BAA4-51E4380241C9}" destId="{A307D924-6CF2-41D4-8612-EE27D2DD2270}" srcOrd="2" destOrd="0" presId="urn:microsoft.com/office/officeart/2005/8/layout/default"/>
    <dgm:cxn modelId="{9B14492F-1A54-4761-A12F-817642A893A3}" type="presParOf" srcId="{FD5BC01F-0840-4FC7-BAA4-51E4380241C9}" destId="{45185E01-C52F-4A4A-8D93-BE88848E29BC}" srcOrd="3" destOrd="0" presId="urn:microsoft.com/office/officeart/2005/8/layout/default"/>
    <dgm:cxn modelId="{FDB91442-1573-4D6F-9864-147DCF8BF5D7}" type="presParOf" srcId="{FD5BC01F-0840-4FC7-BAA4-51E4380241C9}" destId="{2D44F5FB-0D87-4F92-A2CF-08F985E319B1}" srcOrd="4"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DEC1B74-ED2A-4111-92BE-8D61B1730018}" type="doc">
      <dgm:prSet loTypeId="urn:microsoft.com/office/officeart/2005/8/layout/hProcess7" loCatId="list" qsTypeId="urn:microsoft.com/office/officeart/2005/8/quickstyle/simple1" qsCatId="simple" csTypeId="urn:microsoft.com/office/officeart/2005/8/colors/accent2_3" csCatId="accent2" phldr="1"/>
      <dgm:spPr/>
      <dgm:t>
        <a:bodyPr/>
        <a:lstStyle/>
        <a:p>
          <a:endParaRPr lang="en-US"/>
        </a:p>
      </dgm:t>
    </dgm:pt>
    <dgm:pt modelId="{85CA93BE-B18A-404A-A7C5-527C2706EFEA}">
      <dgm:prSet/>
      <dgm:spPr/>
      <dgm:t>
        <a:bodyPr/>
        <a:lstStyle/>
        <a:p>
          <a:r>
            <a:rPr lang="en-US" baseline="0" dirty="0"/>
            <a:t>Image</a:t>
          </a:r>
          <a:endParaRPr lang="en-US" dirty="0"/>
        </a:p>
      </dgm:t>
    </dgm:pt>
    <dgm:pt modelId="{9678632A-271A-406F-B0F4-32A3834AEDAE}" type="parTrans" cxnId="{37CB66AB-A227-4F44-A8CC-8419BA273ED1}">
      <dgm:prSet/>
      <dgm:spPr/>
      <dgm:t>
        <a:bodyPr/>
        <a:lstStyle/>
        <a:p>
          <a:endParaRPr lang="en-US"/>
        </a:p>
      </dgm:t>
    </dgm:pt>
    <dgm:pt modelId="{7C6B6447-7FF3-4665-9DEE-7903F773E8F1}" type="sibTrans" cxnId="{37CB66AB-A227-4F44-A8CC-8419BA273ED1}">
      <dgm:prSet/>
      <dgm:spPr/>
      <dgm:t>
        <a:bodyPr/>
        <a:lstStyle/>
        <a:p>
          <a:endParaRPr lang="en-US"/>
        </a:p>
      </dgm:t>
    </dgm:pt>
    <dgm:pt modelId="{7CBE6B68-D25F-4296-A7B1-DB09F1A5EF22}">
      <dgm:prSet/>
      <dgm:spPr/>
      <dgm:t>
        <a:bodyPr/>
        <a:lstStyle/>
        <a:p>
          <a:r>
            <a:rPr lang="en-US" b="1" baseline="0" dirty="0"/>
            <a:t>Layered snapshot </a:t>
          </a:r>
          <a:r>
            <a:rPr lang="en-US" baseline="0" dirty="0"/>
            <a:t>of a set of files structured in a filesystem</a:t>
          </a:r>
          <a:endParaRPr lang="en-US" dirty="0"/>
        </a:p>
      </dgm:t>
    </dgm:pt>
    <dgm:pt modelId="{9A185D54-6596-4E2E-9689-B69D7A699CB9}" type="parTrans" cxnId="{E3A040D0-5593-4A92-9E50-844899BD0C67}">
      <dgm:prSet/>
      <dgm:spPr/>
      <dgm:t>
        <a:bodyPr/>
        <a:lstStyle/>
        <a:p>
          <a:endParaRPr lang="en-US"/>
        </a:p>
      </dgm:t>
    </dgm:pt>
    <dgm:pt modelId="{3228E3C8-7068-4619-897D-6270BAB3EEB2}" type="sibTrans" cxnId="{E3A040D0-5593-4A92-9E50-844899BD0C67}">
      <dgm:prSet/>
      <dgm:spPr/>
      <dgm:t>
        <a:bodyPr/>
        <a:lstStyle/>
        <a:p>
          <a:endParaRPr lang="en-US"/>
        </a:p>
      </dgm:t>
    </dgm:pt>
    <dgm:pt modelId="{0964A256-F465-4F44-B4DF-64CFF4DF6CC0}">
      <dgm:prSet/>
      <dgm:spPr/>
      <dgm:t>
        <a:bodyPr/>
        <a:lstStyle/>
        <a:p>
          <a:r>
            <a:rPr lang="en-US" baseline="0" dirty="0"/>
            <a:t>Built with a </a:t>
          </a:r>
          <a:r>
            <a:rPr lang="en-US" b="1" baseline="0" dirty="0"/>
            <a:t>Dockerfile</a:t>
          </a:r>
          <a:r>
            <a:rPr lang="en-US" baseline="0" dirty="0"/>
            <a:t> using docker build or APIs</a:t>
          </a:r>
          <a:endParaRPr lang="en-US" dirty="0"/>
        </a:p>
      </dgm:t>
    </dgm:pt>
    <dgm:pt modelId="{1A0F3D6C-7AF4-4CEC-9C91-D3A2E96633DD}" type="parTrans" cxnId="{88FC78AF-BC5B-48F8-8AB3-0ED03547053C}">
      <dgm:prSet/>
      <dgm:spPr/>
      <dgm:t>
        <a:bodyPr/>
        <a:lstStyle/>
        <a:p>
          <a:endParaRPr lang="en-US"/>
        </a:p>
      </dgm:t>
    </dgm:pt>
    <dgm:pt modelId="{10AB926E-5CFF-4C05-AB52-B47014FB5FBB}" type="sibTrans" cxnId="{88FC78AF-BC5B-48F8-8AB3-0ED03547053C}">
      <dgm:prSet/>
      <dgm:spPr/>
      <dgm:t>
        <a:bodyPr/>
        <a:lstStyle/>
        <a:p>
          <a:endParaRPr lang="en-US"/>
        </a:p>
      </dgm:t>
    </dgm:pt>
    <dgm:pt modelId="{AAD1C218-48CF-4D19-A4C6-A533DA02BBA6}">
      <dgm:prSet/>
      <dgm:spPr/>
      <dgm:t>
        <a:bodyPr/>
        <a:lstStyle/>
        <a:p>
          <a:r>
            <a:rPr lang="en-US" baseline="0" dirty="0"/>
            <a:t>Most built with a </a:t>
          </a:r>
          <a:r>
            <a:rPr lang="en-US" b="1" baseline="0" dirty="0"/>
            <a:t>base image </a:t>
          </a:r>
          <a:r>
            <a:rPr lang="en-US" baseline="0" dirty="0"/>
            <a:t>of an OS</a:t>
          </a:r>
          <a:endParaRPr lang="en-US" dirty="0"/>
        </a:p>
      </dgm:t>
    </dgm:pt>
    <dgm:pt modelId="{8B58453B-7A48-486B-B936-FB9BB1B84F3B}" type="parTrans" cxnId="{62A20B73-EA03-4E27-9FEC-8CACBB6FB366}">
      <dgm:prSet/>
      <dgm:spPr/>
      <dgm:t>
        <a:bodyPr/>
        <a:lstStyle/>
        <a:p>
          <a:endParaRPr lang="en-US"/>
        </a:p>
      </dgm:t>
    </dgm:pt>
    <dgm:pt modelId="{6BF20E57-AB90-40CF-9148-BDF7F6D22599}" type="sibTrans" cxnId="{62A20B73-EA03-4E27-9FEC-8CACBB6FB366}">
      <dgm:prSet/>
      <dgm:spPr/>
      <dgm:t>
        <a:bodyPr/>
        <a:lstStyle/>
        <a:p>
          <a:endParaRPr lang="en-US"/>
        </a:p>
      </dgm:t>
    </dgm:pt>
    <dgm:pt modelId="{CE94050B-DB4E-43A2-A1E6-BEACCE1D7827}">
      <dgm:prSet/>
      <dgm:spPr/>
      <dgm:t>
        <a:bodyPr/>
        <a:lstStyle/>
        <a:p>
          <a:r>
            <a:rPr lang="en-US" baseline="0" dirty="0"/>
            <a:t>The base image OS must be the </a:t>
          </a:r>
          <a:r>
            <a:rPr lang="en-US" b="1" baseline="0" dirty="0"/>
            <a:t>same kernel as host</a:t>
          </a:r>
          <a:endParaRPr lang="en-US" dirty="0"/>
        </a:p>
      </dgm:t>
    </dgm:pt>
    <dgm:pt modelId="{0F62BAF5-276F-4476-8C57-55F7936D74DA}" type="parTrans" cxnId="{D61C10E0-B68C-43B4-BE2E-BF4A09A416A8}">
      <dgm:prSet/>
      <dgm:spPr/>
      <dgm:t>
        <a:bodyPr/>
        <a:lstStyle/>
        <a:p>
          <a:endParaRPr lang="en-US"/>
        </a:p>
      </dgm:t>
    </dgm:pt>
    <dgm:pt modelId="{CA7D5EDC-BE56-4347-B28B-AC03A591E466}" type="sibTrans" cxnId="{D61C10E0-B68C-43B4-BE2E-BF4A09A416A8}">
      <dgm:prSet/>
      <dgm:spPr/>
      <dgm:t>
        <a:bodyPr/>
        <a:lstStyle/>
        <a:p>
          <a:endParaRPr lang="en-US"/>
        </a:p>
      </dgm:t>
    </dgm:pt>
    <dgm:pt modelId="{D9993E23-1A9D-446A-9127-05A31A5B871B}">
      <dgm:prSet/>
      <dgm:spPr/>
      <dgm:t>
        <a:bodyPr/>
        <a:lstStyle/>
        <a:p>
          <a:r>
            <a:rPr lang="en-US" baseline="0" dirty="0"/>
            <a:t>Container</a:t>
          </a:r>
          <a:endParaRPr lang="en-US" dirty="0"/>
        </a:p>
      </dgm:t>
    </dgm:pt>
    <dgm:pt modelId="{78176A75-AC37-418A-B22E-5B78DC52ECE8}" type="parTrans" cxnId="{1CF0998C-CDA3-4933-86F4-5AE8BE51B6E1}">
      <dgm:prSet/>
      <dgm:spPr/>
      <dgm:t>
        <a:bodyPr/>
        <a:lstStyle/>
        <a:p>
          <a:endParaRPr lang="en-US"/>
        </a:p>
      </dgm:t>
    </dgm:pt>
    <dgm:pt modelId="{9BECEE5B-1F7C-42A7-8E54-D8912A28D9C0}" type="sibTrans" cxnId="{1CF0998C-CDA3-4933-86F4-5AE8BE51B6E1}">
      <dgm:prSet/>
      <dgm:spPr/>
      <dgm:t>
        <a:bodyPr/>
        <a:lstStyle/>
        <a:p>
          <a:endParaRPr lang="en-US"/>
        </a:p>
      </dgm:t>
    </dgm:pt>
    <dgm:pt modelId="{F737B822-2440-488C-8B64-99AB04D6D563}">
      <dgm:prSet/>
      <dgm:spPr/>
      <dgm:t>
        <a:bodyPr/>
        <a:lstStyle/>
        <a:p>
          <a:r>
            <a:rPr lang="en-US" baseline="0" dirty="0"/>
            <a:t>Runtime instance of an image</a:t>
          </a:r>
          <a:endParaRPr lang="en-US" dirty="0"/>
        </a:p>
      </dgm:t>
    </dgm:pt>
    <dgm:pt modelId="{CE3FF7ED-7A6C-4D61-B507-D0015F7FED73}" type="parTrans" cxnId="{DA5D3409-0276-4A40-B598-19018437010A}">
      <dgm:prSet/>
      <dgm:spPr/>
      <dgm:t>
        <a:bodyPr/>
        <a:lstStyle/>
        <a:p>
          <a:endParaRPr lang="en-US"/>
        </a:p>
      </dgm:t>
    </dgm:pt>
    <dgm:pt modelId="{9786E5CF-441A-490B-BD1A-6EBFC72D0001}" type="sibTrans" cxnId="{DA5D3409-0276-4A40-B598-19018437010A}">
      <dgm:prSet/>
      <dgm:spPr/>
      <dgm:t>
        <a:bodyPr/>
        <a:lstStyle/>
        <a:p>
          <a:endParaRPr lang="en-US"/>
        </a:p>
      </dgm:t>
    </dgm:pt>
    <dgm:pt modelId="{B613E198-7C99-4441-85AF-789CE34CF390}">
      <dgm:prSet/>
      <dgm:spPr/>
      <dgm:t>
        <a:bodyPr/>
        <a:lstStyle/>
        <a:p>
          <a:r>
            <a:rPr lang="en-US" baseline="0" dirty="0"/>
            <a:t>Run as many you like based on the same image</a:t>
          </a:r>
          <a:endParaRPr lang="en-US" dirty="0"/>
        </a:p>
      </dgm:t>
    </dgm:pt>
    <dgm:pt modelId="{37C6CE1C-F7A6-4D0E-A715-EB45FB2CB1D2}" type="parTrans" cxnId="{378F5B14-6541-451E-8F28-FFD00C9CD1F1}">
      <dgm:prSet/>
      <dgm:spPr/>
      <dgm:t>
        <a:bodyPr/>
        <a:lstStyle/>
        <a:p>
          <a:endParaRPr lang="en-US"/>
        </a:p>
      </dgm:t>
    </dgm:pt>
    <dgm:pt modelId="{51AB924F-DEF0-49EA-B949-B904FB451AFC}" type="sibTrans" cxnId="{378F5B14-6541-451E-8F28-FFD00C9CD1F1}">
      <dgm:prSet/>
      <dgm:spPr/>
      <dgm:t>
        <a:bodyPr/>
        <a:lstStyle/>
        <a:p>
          <a:endParaRPr lang="en-US"/>
        </a:p>
      </dgm:t>
    </dgm:pt>
    <dgm:pt modelId="{9FA2B8A0-FEBA-48B8-9085-9C84852A7ACF}">
      <dgm:prSet/>
      <dgm:spPr/>
      <dgm:t>
        <a:bodyPr/>
        <a:lstStyle/>
        <a:p>
          <a:r>
            <a:rPr lang="en-US" b="1" baseline="0" dirty="0"/>
            <a:t>Isolated</a:t>
          </a:r>
          <a:r>
            <a:rPr lang="en-US" baseline="0" dirty="0"/>
            <a:t> but can communicate with the “outside”</a:t>
          </a:r>
          <a:endParaRPr lang="en-US" dirty="0"/>
        </a:p>
      </dgm:t>
    </dgm:pt>
    <dgm:pt modelId="{487D7781-6506-4947-B955-DDAF85168DF3}" type="parTrans" cxnId="{AE40C3C9-CAAC-45E8-83A2-12524C09D7C9}">
      <dgm:prSet/>
      <dgm:spPr/>
      <dgm:t>
        <a:bodyPr/>
        <a:lstStyle/>
        <a:p>
          <a:endParaRPr lang="en-US"/>
        </a:p>
      </dgm:t>
    </dgm:pt>
    <dgm:pt modelId="{C451DA32-F39F-4606-84BD-8A6229DE2F96}" type="sibTrans" cxnId="{AE40C3C9-CAAC-45E8-83A2-12524C09D7C9}">
      <dgm:prSet/>
      <dgm:spPr/>
      <dgm:t>
        <a:bodyPr/>
        <a:lstStyle/>
        <a:p>
          <a:endParaRPr lang="en-US"/>
        </a:p>
      </dgm:t>
    </dgm:pt>
    <dgm:pt modelId="{5C92B305-21C5-46D6-84E7-8978B4A9C7F3}">
      <dgm:prSet/>
      <dgm:spPr/>
      <dgm:t>
        <a:bodyPr/>
        <a:lstStyle/>
        <a:p>
          <a:r>
            <a:rPr lang="en-US" baseline="0" dirty="0"/>
            <a:t>Has </a:t>
          </a:r>
          <a:r>
            <a:rPr lang="en-US" b="1" baseline="0" dirty="0"/>
            <a:t>access</a:t>
          </a:r>
          <a:r>
            <a:rPr lang="en-US" baseline="0" dirty="0"/>
            <a:t> by default to all CPU and memory resources</a:t>
          </a:r>
          <a:endParaRPr lang="en-US" dirty="0"/>
        </a:p>
      </dgm:t>
    </dgm:pt>
    <dgm:pt modelId="{19E43499-2D41-4ABB-9DA8-0716B1F11C55}" type="parTrans" cxnId="{26DD6717-3DBA-4F6B-BAAE-1D110013F4C0}">
      <dgm:prSet/>
      <dgm:spPr/>
      <dgm:t>
        <a:bodyPr/>
        <a:lstStyle/>
        <a:p>
          <a:endParaRPr lang="en-US"/>
        </a:p>
      </dgm:t>
    </dgm:pt>
    <dgm:pt modelId="{C73800C9-8A52-43BC-9A67-048DD2D517DE}" type="sibTrans" cxnId="{26DD6717-3DBA-4F6B-BAAE-1D110013F4C0}">
      <dgm:prSet/>
      <dgm:spPr/>
      <dgm:t>
        <a:bodyPr/>
        <a:lstStyle/>
        <a:p>
          <a:endParaRPr lang="en-US"/>
        </a:p>
      </dgm:t>
    </dgm:pt>
    <dgm:pt modelId="{F79593FB-A54D-4710-A6C5-E3F2829E5F51}">
      <dgm:prSet/>
      <dgm:spPr/>
      <dgm:t>
        <a:bodyPr/>
        <a:lstStyle/>
        <a:p>
          <a:r>
            <a:rPr lang="en-US" baseline="0" dirty="0"/>
            <a:t>Each container has </a:t>
          </a:r>
          <a:r>
            <a:rPr lang="en-US" b="1" baseline="0" dirty="0"/>
            <a:t>writeable layer </a:t>
          </a:r>
          <a:r>
            <a:rPr lang="en-US" baseline="0" dirty="0"/>
            <a:t>but </a:t>
          </a:r>
          <a:r>
            <a:rPr lang="en-US" b="1" baseline="0" dirty="0"/>
            <a:t>share read-only image layer</a:t>
          </a:r>
          <a:endParaRPr lang="en-US" dirty="0"/>
        </a:p>
      </dgm:t>
    </dgm:pt>
    <dgm:pt modelId="{1931EA95-E13A-4EFE-8C08-C1B05F8BCE0A}" type="parTrans" cxnId="{EC69B176-BCD6-4AA3-8A14-533833495628}">
      <dgm:prSet/>
      <dgm:spPr/>
      <dgm:t>
        <a:bodyPr/>
        <a:lstStyle/>
        <a:p>
          <a:endParaRPr lang="en-US"/>
        </a:p>
      </dgm:t>
    </dgm:pt>
    <dgm:pt modelId="{8BEC8A1D-EA65-44EA-84A1-A5281655B8AA}" type="sibTrans" cxnId="{EC69B176-BCD6-4AA3-8A14-533833495628}">
      <dgm:prSet/>
      <dgm:spPr/>
      <dgm:t>
        <a:bodyPr/>
        <a:lstStyle/>
        <a:p>
          <a:endParaRPr lang="en-US"/>
        </a:p>
      </dgm:t>
    </dgm:pt>
    <dgm:pt modelId="{E0D418C7-82E4-45CB-8762-40790F1C6AD8}">
      <dgm:prSet/>
      <dgm:spPr/>
      <dgm:t>
        <a:bodyPr/>
        <a:lstStyle/>
        <a:p>
          <a:r>
            <a:rPr lang="en-US" baseline="0" dirty="0"/>
            <a:t>Start and stop do not affect writeable layer</a:t>
          </a:r>
          <a:endParaRPr lang="en-US" dirty="0"/>
        </a:p>
      </dgm:t>
    </dgm:pt>
    <dgm:pt modelId="{0983E85C-2AF0-41E1-A503-7EA32AA283E0}" type="parTrans" cxnId="{736524E6-762F-4001-8E26-F396C52FFF3B}">
      <dgm:prSet/>
      <dgm:spPr/>
      <dgm:t>
        <a:bodyPr/>
        <a:lstStyle/>
        <a:p>
          <a:endParaRPr lang="en-US"/>
        </a:p>
      </dgm:t>
    </dgm:pt>
    <dgm:pt modelId="{96BBC055-5502-44C4-BF8C-A1A8B2C3223F}" type="sibTrans" cxnId="{736524E6-762F-4001-8E26-F396C52FFF3B}">
      <dgm:prSet/>
      <dgm:spPr/>
      <dgm:t>
        <a:bodyPr/>
        <a:lstStyle/>
        <a:p>
          <a:endParaRPr lang="en-US"/>
        </a:p>
      </dgm:t>
    </dgm:pt>
    <dgm:pt modelId="{362F8606-78BD-477D-8DC1-DAE3A9271DA9}">
      <dgm:prSet/>
      <dgm:spPr/>
      <dgm:t>
        <a:bodyPr/>
        <a:lstStyle/>
        <a:p>
          <a:r>
            <a:rPr lang="en-US" b="1" baseline="0" dirty="0"/>
            <a:t>Remove deletes writeable layer</a:t>
          </a:r>
          <a:endParaRPr lang="en-US" dirty="0"/>
        </a:p>
      </dgm:t>
    </dgm:pt>
    <dgm:pt modelId="{9D15485E-FFF3-4888-ABB0-94054D344715}" type="parTrans" cxnId="{598EF8B2-830A-47D7-8287-66274238965B}">
      <dgm:prSet/>
      <dgm:spPr/>
      <dgm:t>
        <a:bodyPr/>
        <a:lstStyle/>
        <a:p>
          <a:endParaRPr lang="en-US"/>
        </a:p>
      </dgm:t>
    </dgm:pt>
    <dgm:pt modelId="{DDD11344-436D-4248-81DB-7A9461A91288}" type="sibTrans" cxnId="{598EF8B2-830A-47D7-8287-66274238965B}">
      <dgm:prSet/>
      <dgm:spPr/>
      <dgm:t>
        <a:bodyPr/>
        <a:lstStyle/>
        <a:p>
          <a:endParaRPr lang="en-US"/>
        </a:p>
      </dgm:t>
    </dgm:pt>
    <dgm:pt modelId="{202DF565-DBF2-4A2A-83A7-251284B43BC3}">
      <dgm:prSet/>
      <dgm:spPr/>
      <dgm:t>
        <a:bodyPr/>
        <a:lstStyle/>
        <a:p>
          <a:r>
            <a:rPr lang="en-US" b="1" baseline="0" dirty="0"/>
            <a:t>Volumes provide persistence on host</a:t>
          </a:r>
          <a:endParaRPr lang="en-US" dirty="0"/>
        </a:p>
      </dgm:t>
    </dgm:pt>
    <dgm:pt modelId="{DDBB8387-467B-4782-946B-0C6843257D03}" type="parTrans" cxnId="{3881286F-871A-4172-906B-95B3B9D6FA5F}">
      <dgm:prSet/>
      <dgm:spPr/>
      <dgm:t>
        <a:bodyPr/>
        <a:lstStyle/>
        <a:p>
          <a:endParaRPr lang="en-US"/>
        </a:p>
      </dgm:t>
    </dgm:pt>
    <dgm:pt modelId="{1A2B6B77-C738-4814-A146-0CAE9F4CFC42}" type="sibTrans" cxnId="{3881286F-871A-4172-906B-95B3B9D6FA5F}">
      <dgm:prSet/>
      <dgm:spPr/>
      <dgm:t>
        <a:bodyPr/>
        <a:lstStyle/>
        <a:p>
          <a:endParaRPr lang="en-US"/>
        </a:p>
      </dgm:t>
    </dgm:pt>
    <dgm:pt modelId="{B9F960B5-1B7C-4297-8EDB-374FA3616B01}" type="pres">
      <dgm:prSet presAssocID="{EDEC1B74-ED2A-4111-92BE-8D61B1730018}" presName="Name0" presStyleCnt="0">
        <dgm:presLayoutVars>
          <dgm:dir/>
          <dgm:animLvl val="lvl"/>
          <dgm:resizeHandles val="exact"/>
        </dgm:presLayoutVars>
      </dgm:prSet>
      <dgm:spPr/>
    </dgm:pt>
    <dgm:pt modelId="{F97F51D4-B28D-4217-A33E-386BB0DC0317}" type="pres">
      <dgm:prSet presAssocID="{85CA93BE-B18A-404A-A7C5-527C2706EFEA}" presName="compositeNode" presStyleCnt="0">
        <dgm:presLayoutVars>
          <dgm:bulletEnabled val="1"/>
        </dgm:presLayoutVars>
      </dgm:prSet>
      <dgm:spPr/>
    </dgm:pt>
    <dgm:pt modelId="{58E0E3DC-DE7B-4306-B6DE-99EFD7E06822}" type="pres">
      <dgm:prSet presAssocID="{85CA93BE-B18A-404A-A7C5-527C2706EFEA}" presName="bgRect" presStyleLbl="node1" presStyleIdx="0" presStyleCnt="2"/>
      <dgm:spPr/>
    </dgm:pt>
    <dgm:pt modelId="{F66A1187-E1CD-4B8A-B0DB-13E035512C40}" type="pres">
      <dgm:prSet presAssocID="{85CA93BE-B18A-404A-A7C5-527C2706EFEA}" presName="parentNode" presStyleLbl="node1" presStyleIdx="0" presStyleCnt="2">
        <dgm:presLayoutVars>
          <dgm:chMax val="0"/>
          <dgm:bulletEnabled val="1"/>
        </dgm:presLayoutVars>
      </dgm:prSet>
      <dgm:spPr/>
    </dgm:pt>
    <dgm:pt modelId="{CB54E232-A062-433F-8704-9A51A4E20B78}" type="pres">
      <dgm:prSet presAssocID="{85CA93BE-B18A-404A-A7C5-527C2706EFEA}" presName="childNode" presStyleLbl="node1" presStyleIdx="0" presStyleCnt="2">
        <dgm:presLayoutVars>
          <dgm:bulletEnabled val="1"/>
        </dgm:presLayoutVars>
      </dgm:prSet>
      <dgm:spPr/>
    </dgm:pt>
    <dgm:pt modelId="{C06B79B1-D9B0-49DC-8690-7CFB1FE545BD}" type="pres">
      <dgm:prSet presAssocID="{7C6B6447-7FF3-4665-9DEE-7903F773E8F1}" presName="hSp" presStyleCnt="0"/>
      <dgm:spPr/>
    </dgm:pt>
    <dgm:pt modelId="{2845345D-3477-4935-802A-D534503DA4F7}" type="pres">
      <dgm:prSet presAssocID="{7C6B6447-7FF3-4665-9DEE-7903F773E8F1}" presName="vProcSp" presStyleCnt="0"/>
      <dgm:spPr/>
    </dgm:pt>
    <dgm:pt modelId="{27A07FD6-0F3D-489C-B8D6-6B52BE2BE662}" type="pres">
      <dgm:prSet presAssocID="{7C6B6447-7FF3-4665-9DEE-7903F773E8F1}" presName="vSp1" presStyleCnt="0"/>
      <dgm:spPr/>
    </dgm:pt>
    <dgm:pt modelId="{1D8D2521-0363-4DBB-BE31-514C0BE79BBD}" type="pres">
      <dgm:prSet presAssocID="{7C6B6447-7FF3-4665-9DEE-7903F773E8F1}" presName="simulatedConn" presStyleLbl="solidFgAcc1" presStyleIdx="0" presStyleCnt="1"/>
      <dgm:spPr/>
    </dgm:pt>
    <dgm:pt modelId="{556E6C66-85FF-48FB-9D4A-79DD46746964}" type="pres">
      <dgm:prSet presAssocID="{7C6B6447-7FF3-4665-9DEE-7903F773E8F1}" presName="vSp2" presStyleCnt="0"/>
      <dgm:spPr/>
    </dgm:pt>
    <dgm:pt modelId="{9845ADB1-ADE4-4DDB-ACF8-67EEBD1E0EA4}" type="pres">
      <dgm:prSet presAssocID="{7C6B6447-7FF3-4665-9DEE-7903F773E8F1}" presName="sibTrans" presStyleCnt="0"/>
      <dgm:spPr/>
    </dgm:pt>
    <dgm:pt modelId="{28D97C70-8919-48A3-8778-D8AF50B07084}" type="pres">
      <dgm:prSet presAssocID="{D9993E23-1A9D-446A-9127-05A31A5B871B}" presName="compositeNode" presStyleCnt="0">
        <dgm:presLayoutVars>
          <dgm:bulletEnabled val="1"/>
        </dgm:presLayoutVars>
      </dgm:prSet>
      <dgm:spPr/>
    </dgm:pt>
    <dgm:pt modelId="{00F54136-19DD-4DE9-949D-37C7111CF126}" type="pres">
      <dgm:prSet presAssocID="{D9993E23-1A9D-446A-9127-05A31A5B871B}" presName="bgRect" presStyleLbl="node1" presStyleIdx="1" presStyleCnt="2"/>
      <dgm:spPr/>
    </dgm:pt>
    <dgm:pt modelId="{11FE3668-F829-4B58-8E78-A91D917DD008}" type="pres">
      <dgm:prSet presAssocID="{D9993E23-1A9D-446A-9127-05A31A5B871B}" presName="parentNode" presStyleLbl="node1" presStyleIdx="1" presStyleCnt="2">
        <dgm:presLayoutVars>
          <dgm:chMax val="0"/>
          <dgm:bulletEnabled val="1"/>
        </dgm:presLayoutVars>
      </dgm:prSet>
      <dgm:spPr/>
    </dgm:pt>
    <dgm:pt modelId="{EBAF74BD-8F95-4592-97C5-9142AFBD2189}" type="pres">
      <dgm:prSet presAssocID="{D9993E23-1A9D-446A-9127-05A31A5B871B}" presName="childNode" presStyleLbl="node1" presStyleIdx="1" presStyleCnt="2">
        <dgm:presLayoutVars>
          <dgm:bulletEnabled val="1"/>
        </dgm:presLayoutVars>
      </dgm:prSet>
      <dgm:spPr/>
    </dgm:pt>
  </dgm:ptLst>
  <dgm:cxnLst>
    <dgm:cxn modelId="{21F4E004-0725-4E49-8154-8FCBE8C1A502}" type="presOf" srcId="{202DF565-DBF2-4A2A-83A7-251284B43BC3}" destId="{EBAF74BD-8F95-4592-97C5-9142AFBD2189}" srcOrd="0" destOrd="7" presId="urn:microsoft.com/office/officeart/2005/8/layout/hProcess7"/>
    <dgm:cxn modelId="{DA5D3409-0276-4A40-B598-19018437010A}" srcId="{D9993E23-1A9D-446A-9127-05A31A5B871B}" destId="{F737B822-2440-488C-8B64-99AB04D6D563}" srcOrd="0" destOrd="0" parTransId="{CE3FF7ED-7A6C-4D61-B507-D0015F7FED73}" sibTransId="{9786E5CF-441A-490B-BD1A-6EBFC72D0001}"/>
    <dgm:cxn modelId="{378F5B14-6541-451E-8F28-FFD00C9CD1F1}" srcId="{D9993E23-1A9D-446A-9127-05A31A5B871B}" destId="{B613E198-7C99-4441-85AF-789CE34CF390}" srcOrd="1" destOrd="0" parTransId="{37C6CE1C-F7A6-4D0E-A715-EB45FB2CB1D2}" sibTransId="{51AB924F-DEF0-49EA-B949-B904FB451AFC}"/>
    <dgm:cxn modelId="{BAAE7F16-CF98-4B4F-B0DF-30B3B0987D21}" type="presOf" srcId="{F737B822-2440-488C-8B64-99AB04D6D563}" destId="{EBAF74BD-8F95-4592-97C5-9142AFBD2189}" srcOrd="0" destOrd="0" presId="urn:microsoft.com/office/officeart/2005/8/layout/hProcess7"/>
    <dgm:cxn modelId="{26DD6717-3DBA-4F6B-BAAE-1D110013F4C0}" srcId="{D9993E23-1A9D-446A-9127-05A31A5B871B}" destId="{5C92B305-21C5-46D6-84E7-8978B4A9C7F3}" srcOrd="3" destOrd="0" parTransId="{19E43499-2D41-4ABB-9DA8-0716B1F11C55}" sibTransId="{C73800C9-8A52-43BC-9A67-048DD2D517DE}"/>
    <dgm:cxn modelId="{E8F2A128-CD63-44ED-B8D0-A8845E2DABB0}" type="presOf" srcId="{F79593FB-A54D-4710-A6C5-E3F2829E5F51}" destId="{EBAF74BD-8F95-4592-97C5-9142AFBD2189}" srcOrd="0" destOrd="4" presId="urn:microsoft.com/office/officeart/2005/8/layout/hProcess7"/>
    <dgm:cxn modelId="{DFF13A2A-4217-4D14-A47D-A1DEBDFEAD5D}" type="presOf" srcId="{362F8606-78BD-477D-8DC1-DAE3A9271DA9}" destId="{EBAF74BD-8F95-4592-97C5-9142AFBD2189}" srcOrd="0" destOrd="6" presId="urn:microsoft.com/office/officeart/2005/8/layout/hProcess7"/>
    <dgm:cxn modelId="{75722B65-4D6A-4FB6-BBE0-C004BE9EDF56}" type="presOf" srcId="{7CBE6B68-D25F-4296-A7B1-DB09F1A5EF22}" destId="{CB54E232-A062-433F-8704-9A51A4E20B78}" srcOrd="0" destOrd="0" presId="urn:microsoft.com/office/officeart/2005/8/layout/hProcess7"/>
    <dgm:cxn modelId="{8B506E6A-C18A-4E36-8D46-B9863187BD46}" type="presOf" srcId="{9FA2B8A0-FEBA-48B8-9085-9C84852A7ACF}" destId="{EBAF74BD-8F95-4592-97C5-9142AFBD2189}" srcOrd="0" destOrd="2" presId="urn:microsoft.com/office/officeart/2005/8/layout/hProcess7"/>
    <dgm:cxn modelId="{D88E734C-E623-4846-BE5E-2BA03A7BF7A3}" type="presOf" srcId="{E0D418C7-82E4-45CB-8762-40790F1C6AD8}" destId="{EBAF74BD-8F95-4592-97C5-9142AFBD2189}" srcOrd="0" destOrd="5" presId="urn:microsoft.com/office/officeart/2005/8/layout/hProcess7"/>
    <dgm:cxn modelId="{3881286F-871A-4172-906B-95B3B9D6FA5F}" srcId="{D9993E23-1A9D-446A-9127-05A31A5B871B}" destId="{202DF565-DBF2-4A2A-83A7-251284B43BC3}" srcOrd="7" destOrd="0" parTransId="{DDBB8387-467B-4782-946B-0C6843257D03}" sibTransId="{1A2B6B77-C738-4814-A146-0CAE9F4CFC42}"/>
    <dgm:cxn modelId="{E4D9CA6F-0C88-4BF1-BC24-9ACE6A1A2860}" type="presOf" srcId="{AAD1C218-48CF-4D19-A4C6-A533DA02BBA6}" destId="{CB54E232-A062-433F-8704-9A51A4E20B78}" srcOrd="0" destOrd="2" presId="urn:microsoft.com/office/officeart/2005/8/layout/hProcess7"/>
    <dgm:cxn modelId="{62A20B73-EA03-4E27-9FEC-8CACBB6FB366}" srcId="{85CA93BE-B18A-404A-A7C5-527C2706EFEA}" destId="{AAD1C218-48CF-4D19-A4C6-A533DA02BBA6}" srcOrd="2" destOrd="0" parTransId="{8B58453B-7A48-486B-B936-FB9BB1B84F3B}" sibTransId="{6BF20E57-AB90-40CF-9148-BDF7F6D22599}"/>
    <dgm:cxn modelId="{EC69B176-BCD6-4AA3-8A14-533833495628}" srcId="{D9993E23-1A9D-446A-9127-05A31A5B871B}" destId="{F79593FB-A54D-4710-A6C5-E3F2829E5F51}" srcOrd="4" destOrd="0" parTransId="{1931EA95-E13A-4EFE-8C08-C1B05F8BCE0A}" sibTransId="{8BEC8A1D-EA65-44EA-84A1-A5281655B8AA}"/>
    <dgm:cxn modelId="{2B8DE877-3E61-41DF-B896-4159CE21BB9D}" type="presOf" srcId="{EDEC1B74-ED2A-4111-92BE-8D61B1730018}" destId="{B9F960B5-1B7C-4297-8EDB-374FA3616B01}" srcOrd="0" destOrd="0" presId="urn:microsoft.com/office/officeart/2005/8/layout/hProcess7"/>
    <dgm:cxn modelId="{40CFF987-0A18-4DDB-B13A-AE687AA177C2}" type="presOf" srcId="{D9993E23-1A9D-446A-9127-05A31A5B871B}" destId="{00F54136-19DD-4DE9-949D-37C7111CF126}" srcOrd="0" destOrd="0" presId="urn:microsoft.com/office/officeart/2005/8/layout/hProcess7"/>
    <dgm:cxn modelId="{1CF0998C-CDA3-4933-86F4-5AE8BE51B6E1}" srcId="{EDEC1B74-ED2A-4111-92BE-8D61B1730018}" destId="{D9993E23-1A9D-446A-9127-05A31A5B871B}" srcOrd="1" destOrd="0" parTransId="{78176A75-AC37-418A-B22E-5B78DC52ECE8}" sibTransId="{9BECEE5B-1F7C-42A7-8E54-D8912A28D9C0}"/>
    <dgm:cxn modelId="{37CB66AB-A227-4F44-A8CC-8419BA273ED1}" srcId="{EDEC1B74-ED2A-4111-92BE-8D61B1730018}" destId="{85CA93BE-B18A-404A-A7C5-527C2706EFEA}" srcOrd="0" destOrd="0" parTransId="{9678632A-271A-406F-B0F4-32A3834AEDAE}" sibTransId="{7C6B6447-7FF3-4665-9DEE-7903F773E8F1}"/>
    <dgm:cxn modelId="{88FC78AF-BC5B-48F8-8AB3-0ED03547053C}" srcId="{85CA93BE-B18A-404A-A7C5-527C2706EFEA}" destId="{0964A256-F465-4F44-B4DF-64CFF4DF6CC0}" srcOrd="1" destOrd="0" parTransId="{1A0F3D6C-7AF4-4CEC-9C91-D3A2E96633DD}" sibTransId="{10AB926E-5CFF-4C05-AB52-B47014FB5FBB}"/>
    <dgm:cxn modelId="{598EF8B2-830A-47D7-8287-66274238965B}" srcId="{D9993E23-1A9D-446A-9127-05A31A5B871B}" destId="{362F8606-78BD-477D-8DC1-DAE3A9271DA9}" srcOrd="6" destOrd="0" parTransId="{9D15485E-FFF3-4888-ABB0-94054D344715}" sibTransId="{DDD11344-436D-4248-81DB-7A9461A91288}"/>
    <dgm:cxn modelId="{F01EB2BB-7194-43B1-AD39-B68A663BF532}" type="presOf" srcId="{B613E198-7C99-4441-85AF-789CE34CF390}" destId="{EBAF74BD-8F95-4592-97C5-9142AFBD2189}" srcOrd="0" destOrd="1" presId="urn:microsoft.com/office/officeart/2005/8/layout/hProcess7"/>
    <dgm:cxn modelId="{AE40C3C9-CAAC-45E8-83A2-12524C09D7C9}" srcId="{D9993E23-1A9D-446A-9127-05A31A5B871B}" destId="{9FA2B8A0-FEBA-48B8-9085-9C84852A7ACF}" srcOrd="2" destOrd="0" parTransId="{487D7781-6506-4947-B955-DDAF85168DF3}" sibTransId="{C451DA32-F39F-4606-84BD-8A6229DE2F96}"/>
    <dgm:cxn modelId="{586629CB-6103-448D-BBA3-316FAC612C0C}" type="presOf" srcId="{CE94050B-DB4E-43A2-A1E6-BEACCE1D7827}" destId="{CB54E232-A062-433F-8704-9A51A4E20B78}" srcOrd="0" destOrd="3" presId="urn:microsoft.com/office/officeart/2005/8/layout/hProcess7"/>
    <dgm:cxn modelId="{14B980CB-8947-4026-82BB-2CFD98AC86E5}" type="presOf" srcId="{D9993E23-1A9D-446A-9127-05A31A5B871B}" destId="{11FE3668-F829-4B58-8E78-A91D917DD008}" srcOrd="1" destOrd="0" presId="urn:microsoft.com/office/officeart/2005/8/layout/hProcess7"/>
    <dgm:cxn modelId="{E3A040D0-5593-4A92-9E50-844899BD0C67}" srcId="{85CA93BE-B18A-404A-A7C5-527C2706EFEA}" destId="{7CBE6B68-D25F-4296-A7B1-DB09F1A5EF22}" srcOrd="0" destOrd="0" parTransId="{9A185D54-6596-4E2E-9689-B69D7A699CB9}" sibTransId="{3228E3C8-7068-4619-897D-6270BAB3EEB2}"/>
    <dgm:cxn modelId="{562442D8-A76D-409A-A284-3B4CEE8283EC}" type="presOf" srcId="{0964A256-F465-4F44-B4DF-64CFF4DF6CC0}" destId="{CB54E232-A062-433F-8704-9A51A4E20B78}" srcOrd="0" destOrd="1" presId="urn:microsoft.com/office/officeart/2005/8/layout/hProcess7"/>
    <dgm:cxn modelId="{4FACE1D8-E2A6-4AEB-89B1-03726BB56C2A}" type="presOf" srcId="{5C92B305-21C5-46D6-84E7-8978B4A9C7F3}" destId="{EBAF74BD-8F95-4592-97C5-9142AFBD2189}" srcOrd="0" destOrd="3" presId="urn:microsoft.com/office/officeart/2005/8/layout/hProcess7"/>
    <dgm:cxn modelId="{D61C10E0-B68C-43B4-BE2E-BF4A09A416A8}" srcId="{85CA93BE-B18A-404A-A7C5-527C2706EFEA}" destId="{CE94050B-DB4E-43A2-A1E6-BEACCE1D7827}" srcOrd="3" destOrd="0" parTransId="{0F62BAF5-276F-4476-8C57-55F7936D74DA}" sibTransId="{CA7D5EDC-BE56-4347-B28B-AC03A591E466}"/>
    <dgm:cxn modelId="{E93F95E2-A162-49B7-BA8C-ADFCCFF439A5}" type="presOf" srcId="{85CA93BE-B18A-404A-A7C5-527C2706EFEA}" destId="{F66A1187-E1CD-4B8A-B0DB-13E035512C40}" srcOrd="1" destOrd="0" presId="urn:microsoft.com/office/officeart/2005/8/layout/hProcess7"/>
    <dgm:cxn modelId="{736524E6-762F-4001-8E26-F396C52FFF3B}" srcId="{D9993E23-1A9D-446A-9127-05A31A5B871B}" destId="{E0D418C7-82E4-45CB-8762-40790F1C6AD8}" srcOrd="5" destOrd="0" parTransId="{0983E85C-2AF0-41E1-A503-7EA32AA283E0}" sibTransId="{96BBC055-5502-44C4-BF8C-A1A8B2C3223F}"/>
    <dgm:cxn modelId="{6FCCADEC-E217-4FBB-A3A8-8DBA4038AA7A}" type="presOf" srcId="{85CA93BE-B18A-404A-A7C5-527C2706EFEA}" destId="{58E0E3DC-DE7B-4306-B6DE-99EFD7E06822}" srcOrd="0" destOrd="0" presId="urn:microsoft.com/office/officeart/2005/8/layout/hProcess7"/>
    <dgm:cxn modelId="{A6924222-6786-4D4B-A25F-78B8243E92FC}" type="presParOf" srcId="{B9F960B5-1B7C-4297-8EDB-374FA3616B01}" destId="{F97F51D4-B28D-4217-A33E-386BB0DC0317}" srcOrd="0" destOrd="0" presId="urn:microsoft.com/office/officeart/2005/8/layout/hProcess7"/>
    <dgm:cxn modelId="{2B5D6F63-F9EA-4E01-83F8-044DC2660866}" type="presParOf" srcId="{F97F51D4-B28D-4217-A33E-386BB0DC0317}" destId="{58E0E3DC-DE7B-4306-B6DE-99EFD7E06822}" srcOrd="0" destOrd="0" presId="urn:microsoft.com/office/officeart/2005/8/layout/hProcess7"/>
    <dgm:cxn modelId="{F553D993-691D-4551-868D-0D9EC8C79E33}" type="presParOf" srcId="{F97F51D4-B28D-4217-A33E-386BB0DC0317}" destId="{F66A1187-E1CD-4B8A-B0DB-13E035512C40}" srcOrd="1" destOrd="0" presId="urn:microsoft.com/office/officeart/2005/8/layout/hProcess7"/>
    <dgm:cxn modelId="{8336D04E-20CA-4F5E-B675-86448ED099A1}" type="presParOf" srcId="{F97F51D4-B28D-4217-A33E-386BB0DC0317}" destId="{CB54E232-A062-433F-8704-9A51A4E20B78}" srcOrd="2" destOrd="0" presId="urn:microsoft.com/office/officeart/2005/8/layout/hProcess7"/>
    <dgm:cxn modelId="{D24A4EE2-0765-4288-9091-719263A04CF0}" type="presParOf" srcId="{B9F960B5-1B7C-4297-8EDB-374FA3616B01}" destId="{C06B79B1-D9B0-49DC-8690-7CFB1FE545BD}" srcOrd="1" destOrd="0" presId="urn:microsoft.com/office/officeart/2005/8/layout/hProcess7"/>
    <dgm:cxn modelId="{4940D547-59FE-4569-A4F7-8AC2E69EECC7}" type="presParOf" srcId="{B9F960B5-1B7C-4297-8EDB-374FA3616B01}" destId="{2845345D-3477-4935-802A-D534503DA4F7}" srcOrd="2" destOrd="0" presId="urn:microsoft.com/office/officeart/2005/8/layout/hProcess7"/>
    <dgm:cxn modelId="{8161E0D1-DA40-43BA-9E73-098E01F80E14}" type="presParOf" srcId="{2845345D-3477-4935-802A-D534503DA4F7}" destId="{27A07FD6-0F3D-489C-B8D6-6B52BE2BE662}" srcOrd="0" destOrd="0" presId="urn:microsoft.com/office/officeart/2005/8/layout/hProcess7"/>
    <dgm:cxn modelId="{10D598DE-76E5-438F-8657-0B14BE79BFAB}" type="presParOf" srcId="{2845345D-3477-4935-802A-D534503DA4F7}" destId="{1D8D2521-0363-4DBB-BE31-514C0BE79BBD}" srcOrd="1" destOrd="0" presId="urn:microsoft.com/office/officeart/2005/8/layout/hProcess7"/>
    <dgm:cxn modelId="{F10622E2-EF4D-4F2E-A7F6-CDFDD775BD17}" type="presParOf" srcId="{2845345D-3477-4935-802A-D534503DA4F7}" destId="{556E6C66-85FF-48FB-9D4A-79DD46746964}" srcOrd="2" destOrd="0" presId="urn:microsoft.com/office/officeart/2005/8/layout/hProcess7"/>
    <dgm:cxn modelId="{E3217AF4-6373-40D1-B86A-237A1D048159}" type="presParOf" srcId="{B9F960B5-1B7C-4297-8EDB-374FA3616B01}" destId="{9845ADB1-ADE4-4DDB-ACF8-67EEBD1E0EA4}" srcOrd="3" destOrd="0" presId="urn:microsoft.com/office/officeart/2005/8/layout/hProcess7"/>
    <dgm:cxn modelId="{A97332EE-03EF-4F42-AE61-074CD816A970}" type="presParOf" srcId="{B9F960B5-1B7C-4297-8EDB-374FA3616B01}" destId="{28D97C70-8919-48A3-8778-D8AF50B07084}" srcOrd="4" destOrd="0" presId="urn:microsoft.com/office/officeart/2005/8/layout/hProcess7"/>
    <dgm:cxn modelId="{9A582AB8-FF31-4452-AE2B-903540694BDA}" type="presParOf" srcId="{28D97C70-8919-48A3-8778-D8AF50B07084}" destId="{00F54136-19DD-4DE9-949D-37C7111CF126}" srcOrd="0" destOrd="0" presId="urn:microsoft.com/office/officeart/2005/8/layout/hProcess7"/>
    <dgm:cxn modelId="{51578852-830F-45EC-BC23-A8E9B4F1D6EC}" type="presParOf" srcId="{28D97C70-8919-48A3-8778-D8AF50B07084}" destId="{11FE3668-F829-4B58-8E78-A91D917DD008}" srcOrd="1" destOrd="0" presId="urn:microsoft.com/office/officeart/2005/8/layout/hProcess7"/>
    <dgm:cxn modelId="{BEAED87E-2426-4F6B-BCB5-463C1C73F697}" type="presParOf" srcId="{28D97C70-8919-48A3-8778-D8AF50B07084}" destId="{EBAF74BD-8F95-4592-97C5-9142AFBD2189}"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0D78115-C444-442D-83FF-E6321FA086C1}"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7DE2657-20B5-4534-B1BD-59157761ABE8}">
      <dgm:prSet phldrT="[Text]"/>
      <dgm:spPr/>
      <dgm:t>
        <a:bodyPr/>
        <a:lstStyle/>
        <a:p>
          <a:r>
            <a:rPr lang="en-US" dirty="0"/>
            <a:t>VM = emulate hardware and load entire OS</a:t>
          </a:r>
        </a:p>
      </dgm:t>
    </dgm:pt>
    <dgm:pt modelId="{70760C7D-D07D-4A40-8784-C48B33F34476}" type="parTrans" cxnId="{CB37BD86-734E-4E23-B49D-E7EDCDE5E958}">
      <dgm:prSet/>
      <dgm:spPr/>
      <dgm:t>
        <a:bodyPr/>
        <a:lstStyle/>
        <a:p>
          <a:endParaRPr lang="en-US"/>
        </a:p>
      </dgm:t>
    </dgm:pt>
    <dgm:pt modelId="{37890861-96C0-457E-A82D-26FDBA167F8A}" type="sibTrans" cxnId="{CB37BD86-734E-4E23-B49D-E7EDCDE5E958}">
      <dgm:prSet/>
      <dgm:spPr/>
      <dgm:t>
        <a:bodyPr/>
        <a:lstStyle/>
        <a:p>
          <a:endParaRPr lang="en-US"/>
        </a:p>
      </dgm:t>
    </dgm:pt>
    <dgm:pt modelId="{5E90362A-FAFF-4D7F-8717-1021A0A3709C}">
      <dgm:prSet/>
      <dgm:spPr/>
      <dgm:t>
        <a:bodyPr/>
        <a:lstStyle/>
        <a:p>
          <a:r>
            <a:rPr lang="en-US" dirty="0"/>
            <a:t>Containers = isolation but cooperate with host kernel</a:t>
          </a:r>
        </a:p>
      </dgm:t>
    </dgm:pt>
    <dgm:pt modelId="{5554A203-5C20-499C-9B27-CD8EDB8484CA}" type="parTrans" cxnId="{B50C92DF-9DFB-4A62-BEB8-AED2DD856F4F}">
      <dgm:prSet/>
      <dgm:spPr/>
      <dgm:t>
        <a:bodyPr/>
        <a:lstStyle/>
        <a:p>
          <a:endParaRPr lang="en-US"/>
        </a:p>
      </dgm:t>
    </dgm:pt>
    <dgm:pt modelId="{6C48B771-393C-45AB-B9F8-FD6924202BA5}" type="sibTrans" cxnId="{B50C92DF-9DFB-4A62-BEB8-AED2DD856F4F}">
      <dgm:prSet/>
      <dgm:spPr/>
      <dgm:t>
        <a:bodyPr/>
        <a:lstStyle/>
        <a:p>
          <a:endParaRPr lang="en-US"/>
        </a:p>
      </dgm:t>
    </dgm:pt>
    <dgm:pt modelId="{1304B358-5E55-475C-9CB5-FE95F94F6E60}" type="pres">
      <dgm:prSet presAssocID="{70D78115-C444-442D-83FF-E6321FA086C1}" presName="diagram" presStyleCnt="0">
        <dgm:presLayoutVars>
          <dgm:dir/>
          <dgm:resizeHandles val="exact"/>
        </dgm:presLayoutVars>
      </dgm:prSet>
      <dgm:spPr/>
    </dgm:pt>
    <dgm:pt modelId="{1E2F8480-9C09-4B04-9C4C-C045B2924EFA}" type="pres">
      <dgm:prSet presAssocID="{77DE2657-20B5-4534-B1BD-59157761ABE8}" presName="node" presStyleLbl="node1" presStyleIdx="0" presStyleCnt="2">
        <dgm:presLayoutVars>
          <dgm:bulletEnabled val="1"/>
        </dgm:presLayoutVars>
      </dgm:prSet>
      <dgm:spPr/>
    </dgm:pt>
    <dgm:pt modelId="{BDED5574-F9CB-4464-885B-2318416D1828}" type="pres">
      <dgm:prSet presAssocID="{37890861-96C0-457E-A82D-26FDBA167F8A}" presName="sibTrans" presStyleCnt="0"/>
      <dgm:spPr/>
    </dgm:pt>
    <dgm:pt modelId="{7E110545-13BE-443E-86D6-35AC005902B1}" type="pres">
      <dgm:prSet presAssocID="{5E90362A-FAFF-4D7F-8717-1021A0A3709C}" presName="node" presStyleLbl="node1" presStyleIdx="1" presStyleCnt="2">
        <dgm:presLayoutVars>
          <dgm:bulletEnabled val="1"/>
        </dgm:presLayoutVars>
      </dgm:prSet>
      <dgm:spPr/>
    </dgm:pt>
  </dgm:ptLst>
  <dgm:cxnLst>
    <dgm:cxn modelId="{D3688616-1D5B-4C2C-9A93-2E1DC3475357}" type="presOf" srcId="{5E90362A-FAFF-4D7F-8717-1021A0A3709C}" destId="{7E110545-13BE-443E-86D6-35AC005902B1}" srcOrd="0" destOrd="0" presId="urn:microsoft.com/office/officeart/2005/8/layout/default"/>
    <dgm:cxn modelId="{CB37BD86-734E-4E23-B49D-E7EDCDE5E958}" srcId="{70D78115-C444-442D-83FF-E6321FA086C1}" destId="{77DE2657-20B5-4534-B1BD-59157761ABE8}" srcOrd="0" destOrd="0" parTransId="{70760C7D-D07D-4A40-8784-C48B33F34476}" sibTransId="{37890861-96C0-457E-A82D-26FDBA167F8A}"/>
    <dgm:cxn modelId="{63DA4988-B38A-4D20-8295-C2639ECDBC11}" type="presOf" srcId="{70D78115-C444-442D-83FF-E6321FA086C1}" destId="{1304B358-5E55-475C-9CB5-FE95F94F6E60}" srcOrd="0" destOrd="0" presId="urn:microsoft.com/office/officeart/2005/8/layout/default"/>
    <dgm:cxn modelId="{3A10BDC0-6674-4A66-8A4B-D44BF26A9C0A}" type="presOf" srcId="{77DE2657-20B5-4534-B1BD-59157761ABE8}" destId="{1E2F8480-9C09-4B04-9C4C-C045B2924EFA}" srcOrd="0" destOrd="0" presId="urn:microsoft.com/office/officeart/2005/8/layout/default"/>
    <dgm:cxn modelId="{B50C92DF-9DFB-4A62-BEB8-AED2DD856F4F}" srcId="{70D78115-C444-442D-83FF-E6321FA086C1}" destId="{5E90362A-FAFF-4D7F-8717-1021A0A3709C}" srcOrd="1" destOrd="0" parTransId="{5554A203-5C20-499C-9B27-CD8EDB8484CA}" sibTransId="{6C48B771-393C-45AB-B9F8-FD6924202BA5}"/>
    <dgm:cxn modelId="{AC295DB7-3C0D-4480-9622-1FFB8F45A468}" type="presParOf" srcId="{1304B358-5E55-475C-9CB5-FE95F94F6E60}" destId="{1E2F8480-9C09-4B04-9C4C-C045B2924EFA}" srcOrd="0" destOrd="0" presId="urn:microsoft.com/office/officeart/2005/8/layout/default"/>
    <dgm:cxn modelId="{5EBEF416-AB38-415A-A831-6DC7E2A58421}" type="presParOf" srcId="{1304B358-5E55-475C-9CB5-FE95F94F6E60}" destId="{BDED5574-F9CB-4464-885B-2318416D1828}" srcOrd="1" destOrd="0" presId="urn:microsoft.com/office/officeart/2005/8/layout/default"/>
    <dgm:cxn modelId="{D6DB64AA-C9B9-4A1E-9A53-73C7B9AA77D9}" type="presParOf" srcId="{1304B358-5E55-475C-9CB5-FE95F94F6E60}" destId="{7E110545-13BE-443E-86D6-35AC005902B1}" srcOrd="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FBB894C-BEE6-48F9-A43B-F7F7FCDCA47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A5CF3E69-F202-4BDA-BE6F-B8A282295219}">
      <dgm:prSet phldrT="[Text]"/>
      <dgm:spPr/>
      <dgm:t>
        <a:bodyPr/>
        <a:lstStyle/>
        <a:p>
          <a:r>
            <a:rPr lang="en-US" dirty="0"/>
            <a:t>SQL Server Engine pre-installed</a:t>
          </a:r>
        </a:p>
      </dgm:t>
    </dgm:pt>
    <dgm:pt modelId="{5E4F8704-9963-4179-BFAC-06CB161DEC30}" type="parTrans" cxnId="{6D3C25A4-A771-46C7-A47E-DFD54E725D05}">
      <dgm:prSet/>
      <dgm:spPr/>
      <dgm:t>
        <a:bodyPr/>
        <a:lstStyle/>
        <a:p>
          <a:endParaRPr lang="en-US"/>
        </a:p>
      </dgm:t>
    </dgm:pt>
    <dgm:pt modelId="{C9073CF5-62D1-4BA2-B5C9-3D8B536515E5}" type="sibTrans" cxnId="{6D3C25A4-A771-46C7-A47E-DFD54E725D05}">
      <dgm:prSet/>
      <dgm:spPr/>
      <dgm:t>
        <a:bodyPr/>
        <a:lstStyle/>
        <a:p>
          <a:endParaRPr lang="en-US"/>
        </a:p>
      </dgm:t>
    </dgm:pt>
    <dgm:pt modelId="{FD012980-89D2-483E-908C-298D99947DFC}">
      <dgm:prSet phldrT="[Text]"/>
      <dgm:spPr/>
      <dgm:t>
        <a:bodyPr/>
        <a:lstStyle/>
        <a:p>
          <a:r>
            <a:rPr lang="en-US" dirty="0"/>
            <a:t>SQL Server tools pre-installed</a:t>
          </a:r>
        </a:p>
      </dgm:t>
    </dgm:pt>
    <dgm:pt modelId="{CEF56745-761A-414E-85DE-26B61449D9E6}" type="parTrans" cxnId="{021B96F8-2A7D-4287-997B-463A68B52C4C}">
      <dgm:prSet/>
      <dgm:spPr/>
      <dgm:t>
        <a:bodyPr/>
        <a:lstStyle/>
        <a:p>
          <a:endParaRPr lang="en-US"/>
        </a:p>
      </dgm:t>
    </dgm:pt>
    <dgm:pt modelId="{07FDC1D7-05D0-4C0E-A9AC-8F57BE3BE772}" type="sibTrans" cxnId="{021B96F8-2A7D-4287-997B-463A68B52C4C}">
      <dgm:prSet/>
      <dgm:spPr/>
      <dgm:t>
        <a:bodyPr/>
        <a:lstStyle/>
        <a:p>
          <a:endParaRPr lang="en-US"/>
        </a:p>
      </dgm:t>
    </dgm:pt>
    <dgm:pt modelId="{B15FA3F4-5F74-4C47-B4C0-BA1B3AACD8CC}">
      <dgm:prSet phldrT="[Text]"/>
      <dgm:spPr/>
      <dgm:t>
        <a:bodyPr/>
        <a:lstStyle/>
        <a:p>
          <a:r>
            <a:rPr lang="en-US" dirty="0"/>
            <a:t>Database and application compatibility</a:t>
          </a:r>
        </a:p>
      </dgm:t>
    </dgm:pt>
    <dgm:pt modelId="{73742025-89F8-4B5D-93FC-8112C8792E2F}" type="parTrans" cxnId="{90C9C358-6AE1-4435-9279-3B2F97844A1D}">
      <dgm:prSet/>
      <dgm:spPr/>
      <dgm:t>
        <a:bodyPr/>
        <a:lstStyle/>
        <a:p>
          <a:endParaRPr lang="en-US"/>
        </a:p>
      </dgm:t>
    </dgm:pt>
    <dgm:pt modelId="{C26C9A8A-E6C4-4DC4-B2BF-4EA32E7D2998}" type="sibTrans" cxnId="{90C9C358-6AE1-4435-9279-3B2F97844A1D}">
      <dgm:prSet/>
      <dgm:spPr/>
      <dgm:t>
        <a:bodyPr/>
        <a:lstStyle/>
        <a:p>
          <a:endParaRPr lang="en-US"/>
        </a:p>
      </dgm:t>
    </dgm:pt>
    <dgm:pt modelId="{6D50755F-D55D-4E51-8396-CE47D60AA794}">
      <dgm:prSet phldrT="[Text]"/>
      <dgm:spPr/>
      <dgm:t>
        <a:bodyPr/>
        <a:lstStyle/>
        <a:p>
          <a:r>
            <a:rPr lang="en-US" dirty="0">
              <a:ea typeface="Segoe UI" pitchFamily="34" charset="0"/>
              <a:cs typeface="Segoe UI" pitchFamily="34" charset="0"/>
            </a:rPr>
            <a:t>See </a:t>
          </a:r>
          <a:r>
            <a:rPr lang="en-US" dirty="0">
              <a:ea typeface="Segoe UI" pitchFamily="34" charset="0"/>
              <a:cs typeface="Segoe UI" pitchFamily="34" charset="0"/>
              <a:hlinkClick xmlns:r="http://schemas.openxmlformats.org/officeDocument/2006/relationships" r:id="rId1"/>
            </a:rPr>
            <a:t>here</a:t>
          </a:r>
          <a:r>
            <a:rPr lang="en-US" dirty="0">
              <a:ea typeface="Segoe UI" pitchFamily="34" charset="0"/>
              <a:cs typeface="Segoe UI" pitchFamily="34" charset="0"/>
            </a:rPr>
            <a:t> how to add other packages</a:t>
          </a:r>
          <a:endParaRPr lang="en-US" dirty="0"/>
        </a:p>
      </dgm:t>
    </dgm:pt>
    <dgm:pt modelId="{95FEB4F2-1BB7-4FC3-93B2-7340978908CA}" type="parTrans" cxnId="{4212C62F-047C-4037-AC99-ACD9D3CE0456}">
      <dgm:prSet/>
      <dgm:spPr/>
      <dgm:t>
        <a:bodyPr/>
        <a:lstStyle/>
        <a:p>
          <a:endParaRPr lang="en-US"/>
        </a:p>
      </dgm:t>
    </dgm:pt>
    <dgm:pt modelId="{13AD28BE-0CF6-406B-9133-E87F21222CC2}" type="sibTrans" cxnId="{4212C62F-047C-4037-AC99-ACD9D3CE0456}">
      <dgm:prSet/>
      <dgm:spPr/>
      <dgm:t>
        <a:bodyPr/>
        <a:lstStyle/>
        <a:p>
          <a:endParaRPr lang="en-US"/>
        </a:p>
      </dgm:t>
    </dgm:pt>
    <dgm:pt modelId="{49D64543-FD2B-4DD5-862A-DF6F91375FC2}" type="pres">
      <dgm:prSet presAssocID="{0FBB894C-BEE6-48F9-A43B-F7F7FCDCA47A}" presName="diagram" presStyleCnt="0">
        <dgm:presLayoutVars>
          <dgm:dir/>
          <dgm:resizeHandles val="exact"/>
        </dgm:presLayoutVars>
      </dgm:prSet>
      <dgm:spPr/>
    </dgm:pt>
    <dgm:pt modelId="{20449ED9-0CDF-463E-8624-14A510D3FFC6}" type="pres">
      <dgm:prSet presAssocID="{A5CF3E69-F202-4BDA-BE6F-B8A282295219}" presName="node" presStyleLbl="node1" presStyleIdx="0" presStyleCnt="4">
        <dgm:presLayoutVars>
          <dgm:bulletEnabled val="1"/>
        </dgm:presLayoutVars>
      </dgm:prSet>
      <dgm:spPr/>
    </dgm:pt>
    <dgm:pt modelId="{8D0F6A75-4726-4785-9069-F356A796254E}" type="pres">
      <dgm:prSet presAssocID="{C9073CF5-62D1-4BA2-B5C9-3D8B536515E5}" presName="sibTrans" presStyleCnt="0"/>
      <dgm:spPr/>
    </dgm:pt>
    <dgm:pt modelId="{942BBD2B-F852-425E-85F5-A5351702B81D}" type="pres">
      <dgm:prSet presAssocID="{FD012980-89D2-483E-908C-298D99947DFC}" presName="node" presStyleLbl="node1" presStyleIdx="1" presStyleCnt="4">
        <dgm:presLayoutVars>
          <dgm:bulletEnabled val="1"/>
        </dgm:presLayoutVars>
      </dgm:prSet>
      <dgm:spPr/>
    </dgm:pt>
    <dgm:pt modelId="{4A08C685-BA5D-47F2-BEE4-98269B6962B0}" type="pres">
      <dgm:prSet presAssocID="{07FDC1D7-05D0-4C0E-A9AC-8F57BE3BE772}" presName="sibTrans" presStyleCnt="0"/>
      <dgm:spPr/>
    </dgm:pt>
    <dgm:pt modelId="{573CCB76-FF01-4911-8502-CF4D944B35D3}" type="pres">
      <dgm:prSet presAssocID="{6D50755F-D55D-4E51-8396-CE47D60AA794}" presName="node" presStyleLbl="node1" presStyleIdx="2" presStyleCnt="4">
        <dgm:presLayoutVars>
          <dgm:bulletEnabled val="1"/>
        </dgm:presLayoutVars>
      </dgm:prSet>
      <dgm:spPr/>
    </dgm:pt>
    <dgm:pt modelId="{CC3C67C0-EC24-4AAC-BCB4-F672E6F60BBE}" type="pres">
      <dgm:prSet presAssocID="{13AD28BE-0CF6-406B-9133-E87F21222CC2}" presName="sibTrans" presStyleCnt="0"/>
      <dgm:spPr/>
    </dgm:pt>
    <dgm:pt modelId="{0486C7D6-14B3-4356-9E6B-4777A12A48E8}" type="pres">
      <dgm:prSet presAssocID="{B15FA3F4-5F74-4C47-B4C0-BA1B3AACD8CC}" presName="node" presStyleLbl="node1" presStyleIdx="3" presStyleCnt="4">
        <dgm:presLayoutVars>
          <dgm:bulletEnabled val="1"/>
        </dgm:presLayoutVars>
      </dgm:prSet>
      <dgm:spPr/>
    </dgm:pt>
  </dgm:ptLst>
  <dgm:cxnLst>
    <dgm:cxn modelId="{4212C62F-047C-4037-AC99-ACD9D3CE0456}" srcId="{0FBB894C-BEE6-48F9-A43B-F7F7FCDCA47A}" destId="{6D50755F-D55D-4E51-8396-CE47D60AA794}" srcOrd="2" destOrd="0" parTransId="{95FEB4F2-1BB7-4FC3-93B2-7340978908CA}" sibTransId="{13AD28BE-0CF6-406B-9133-E87F21222CC2}"/>
    <dgm:cxn modelId="{B97DE256-52F6-49AF-B890-C889737F202F}" type="presOf" srcId="{B15FA3F4-5F74-4C47-B4C0-BA1B3AACD8CC}" destId="{0486C7D6-14B3-4356-9E6B-4777A12A48E8}" srcOrd="0" destOrd="0" presId="urn:microsoft.com/office/officeart/2005/8/layout/default"/>
    <dgm:cxn modelId="{90C9C358-6AE1-4435-9279-3B2F97844A1D}" srcId="{0FBB894C-BEE6-48F9-A43B-F7F7FCDCA47A}" destId="{B15FA3F4-5F74-4C47-B4C0-BA1B3AACD8CC}" srcOrd="3" destOrd="0" parTransId="{73742025-89F8-4B5D-93FC-8112C8792E2F}" sibTransId="{C26C9A8A-E6C4-4DC4-B2BF-4EA32E7D2998}"/>
    <dgm:cxn modelId="{6D3C25A4-A771-46C7-A47E-DFD54E725D05}" srcId="{0FBB894C-BEE6-48F9-A43B-F7F7FCDCA47A}" destId="{A5CF3E69-F202-4BDA-BE6F-B8A282295219}" srcOrd="0" destOrd="0" parTransId="{5E4F8704-9963-4179-BFAC-06CB161DEC30}" sibTransId="{C9073CF5-62D1-4BA2-B5C9-3D8B536515E5}"/>
    <dgm:cxn modelId="{426FFABA-EFE4-4C9D-AA5D-1B9AD81DBFAA}" type="presOf" srcId="{FD012980-89D2-483E-908C-298D99947DFC}" destId="{942BBD2B-F852-425E-85F5-A5351702B81D}" srcOrd="0" destOrd="0" presId="urn:microsoft.com/office/officeart/2005/8/layout/default"/>
    <dgm:cxn modelId="{7B1E34E1-266A-44A0-97D6-F32CCCF53FC8}" type="presOf" srcId="{0FBB894C-BEE6-48F9-A43B-F7F7FCDCA47A}" destId="{49D64543-FD2B-4DD5-862A-DF6F91375FC2}" srcOrd="0" destOrd="0" presId="urn:microsoft.com/office/officeart/2005/8/layout/default"/>
    <dgm:cxn modelId="{021B96F8-2A7D-4287-997B-463A68B52C4C}" srcId="{0FBB894C-BEE6-48F9-A43B-F7F7FCDCA47A}" destId="{FD012980-89D2-483E-908C-298D99947DFC}" srcOrd="1" destOrd="0" parTransId="{CEF56745-761A-414E-85DE-26B61449D9E6}" sibTransId="{07FDC1D7-05D0-4C0E-A9AC-8F57BE3BE772}"/>
    <dgm:cxn modelId="{6E3EAEF9-57D4-42E0-A36D-8E2F31013706}" type="presOf" srcId="{6D50755F-D55D-4E51-8396-CE47D60AA794}" destId="{573CCB76-FF01-4911-8502-CF4D944B35D3}" srcOrd="0" destOrd="0" presId="urn:microsoft.com/office/officeart/2005/8/layout/default"/>
    <dgm:cxn modelId="{7DEDE5F9-CEDB-47A6-9275-123E0F97DCEA}" type="presOf" srcId="{A5CF3E69-F202-4BDA-BE6F-B8A282295219}" destId="{20449ED9-0CDF-463E-8624-14A510D3FFC6}" srcOrd="0" destOrd="0" presId="urn:microsoft.com/office/officeart/2005/8/layout/default"/>
    <dgm:cxn modelId="{D7B61C7A-0252-4CD1-A4A6-99F81DEBDDFE}" type="presParOf" srcId="{49D64543-FD2B-4DD5-862A-DF6F91375FC2}" destId="{20449ED9-0CDF-463E-8624-14A510D3FFC6}" srcOrd="0" destOrd="0" presId="urn:microsoft.com/office/officeart/2005/8/layout/default"/>
    <dgm:cxn modelId="{F6FA64CF-B45A-46B9-8208-7D724F955AC9}" type="presParOf" srcId="{49D64543-FD2B-4DD5-862A-DF6F91375FC2}" destId="{8D0F6A75-4726-4785-9069-F356A796254E}" srcOrd="1" destOrd="0" presId="urn:microsoft.com/office/officeart/2005/8/layout/default"/>
    <dgm:cxn modelId="{23017A0E-F0A6-4A29-8279-96CF071562F9}" type="presParOf" srcId="{49D64543-FD2B-4DD5-862A-DF6F91375FC2}" destId="{942BBD2B-F852-425E-85F5-A5351702B81D}" srcOrd="2" destOrd="0" presId="urn:microsoft.com/office/officeart/2005/8/layout/default"/>
    <dgm:cxn modelId="{9C4C97C6-3999-4093-A77F-4367BB1B900D}" type="presParOf" srcId="{49D64543-FD2B-4DD5-862A-DF6F91375FC2}" destId="{4A08C685-BA5D-47F2-BEE4-98269B6962B0}" srcOrd="3" destOrd="0" presId="urn:microsoft.com/office/officeart/2005/8/layout/default"/>
    <dgm:cxn modelId="{BA4486C9-42D0-4BA8-BD4C-6D5CF59986A1}" type="presParOf" srcId="{49D64543-FD2B-4DD5-862A-DF6F91375FC2}" destId="{573CCB76-FF01-4911-8502-CF4D944B35D3}" srcOrd="4" destOrd="0" presId="urn:microsoft.com/office/officeart/2005/8/layout/default"/>
    <dgm:cxn modelId="{D8F91FDD-F13F-4CFF-AABA-C6B2FC5BEC5E}" type="presParOf" srcId="{49D64543-FD2B-4DD5-862A-DF6F91375FC2}" destId="{CC3C67C0-EC24-4AAC-BCB4-F672E6F60BBE}" srcOrd="5" destOrd="0" presId="urn:microsoft.com/office/officeart/2005/8/layout/default"/>
    <dgm:cxn modelId="{3BA70209-044F-4F46-BEAA-5EFE4B7509E1}" type="presParOf" srcId="{49D64543-FD2B-4DD5-862A-DF6F91375FC2}" destId="{0486C7D6-14B3-4356-9E6B-4777A12A48E8}" srcOrd="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5D6F280-0600-4EAC-8AAF-9F6D8866BE0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D0D439D-D88A-4DDC-8320-CD444A0D9BD9}">
      <dgm:prSet/>
      <dgm:spPr/>
      <dgm:t>
        <a:bodyPr/>
        <a:lstStyle/>
        <a:p>
          <a:r>
            <a:rPr lang="en-US" baseline="0" dirty="0"/>
            <a:t>minikube</a:t>
          </a:r>
          <a:endParaRPr lang="en-US" dirty="0"/>
        </a:p>
      </dgm:t>
    </dgm:pt>
    <dgm:pt modelId="{6F43A549-9807-4A68-A86F-C509785011E9}" type="parTrans" cxnId="{33E79C76-75CF-49BD-996C-8FFB1157ECEF}">
      <dgm:prSet/>
      <dgm:spPr/>
      <dgm:t>
        <a:bodyPr/>
        <a:lstStyle/>
        <a:p>
          <a:endParaRPr lang="en-US"/>
        </a:p>
      </dgm:t>
    </dgm:pt>
    <dgm:pt modelId="{9647A591-2BCC-4197-808E-354FE53CF56F}" type="sibTrans" cxnId="{33E79C76-75CF-49BD-996C-8FFB1157ECEF}">
      <dgm:prSet/>
      <dgm:spPr/>
      <dgm:t>
        <a:bodyPr/>
        <a:lstStyle/>
        <a:p>
          <a:endParaRPr lang="en-US"/>
        </a:p>
      </dgm:t>
    </dgm:pt>
    <dgm:pt modelId="{5AC454AC-7591-4282-9D93-86BB4204949A}">
      <dgm:prSet/>
      <dgm:spPr/>
      <dgm:t>
        <a:bodyPr/>
        <a:lstStyle/>
        <a:p>
          <a:r>
            <a:rPr lang="en-US" baseline="0" dirty="0"/>
            <a:t>Kubeadm</a:t>
          </a:r>
          <a:endParaRPr lang="en-US" dirty="0"/>
        </a:p>
      </dgm:t>
    </dgm:pt>
    <dgm:pt modelId="{2CFD7B17-C333-4186-A414-292BCD94C4B2}" type="parTrans" cxnId="{379C7026-697A-4ED5-8D2D-F16D94FD3740}">
      <dgm:prSet/>
      <dgm:spPr/>
      <dgm:t>
        <a:bodyPr/>
        <a:lstStyle/>
        <a:p>
          <a:endParaRPr lang="en-US"/>
        </a:p>
      </dgm:t>
    </dgm:pt>
    <dgm:pt modelId="{3D281065-0A4F-4023-85A0-05249FD48DC7}" type="sibTrans" cxnId="{379C7026-697A-4ED5-8D2D-F16D94FD3740}">
      <dgm:prSet/>
      <dgm:spPr/>
      <dgm:t>
        <a:bodyPr/>
        <a:lstStyle/>
        <a:p>
          <a:endParaRPr lang="en-US"/>
        </a:p>
      </dgm:t>
    </dgm:pt>
    <dgm:pt modelId="{19A48540-125E-4802-9494-EB56670134FD}">
      <dgm:prSet/>
      <dgm:spPr/>
      <dgm:t>
        <a:bodyPr/>
        <a:lstStyle/>
        <a:p>
          <a:r>
            <a:rPr lang="en-US" baseline="0" dirty="0"/>
            <a:t>RedHat OpenShift</a:t>
          </a:r>
          <a:endParaRPr lang="en-US" dirty="0"/>
        </a:p>
      </dgm:t>
    </dgm:pt>
    <dgm:pt modelId="{FFFEEE55-4337-46C3-981E-E6CDFBBC3051}" type="parTrans" cxnId="{8D468D78-9C47-4412-9273-307F1BFE3BBE}">
      <dgm:prSet/>
      <dgm:spPr/>
      <dgm:t>
        <a:bodyPr/>
        <a:lstStyle/>
        <a:p>
          <a:endParaRPr lang="en-US"/>
        </a:p>
      </dgm:t>
    </dgm:pt>
    <dgm:pt modelId="{E7A06994-2EA6-48DA-A3EA-58FB8184452C}" type="sibTrans" cxnId="{8D468D78-9C47-4412-9273-307F1BFE3BBE}">
      <dgm:prSet/>
      <dgm:spPr/>
      <dgm:t>
        <a:bodyPr/>
        <a:lstStyle/>
        <a:p>
          <a:endParaRPr lang="en-US"/>
        </a:p>
      </dgm:t>
    </dgm:pt>
    <dgm:pt modelId="{DAF2D275-9708-41A8-BA74-F6159A6D6CF9}">
      <dgm:prSet/>
      <dgm:spPr/>
      <dgm:t>
        <a:bodyPr/>
        <a:lstStyle/>
        <a:p>
          <a:r>
            <a:rPr lang="en-US" baseline="0" dirty="0"/>
            <a:t>Azure Kubernetes Service (AKS)</a:t>
          </a:r>
        </a:p>
      </dgm:t>
    </dgm:pt>
    <dgm:pt modelId="{3630FF73-D1D2-4C04-AEB2-9A6512ADFB5B}" type="parTrans" cxnId="{F25DF49D-C1C0-4D8D-9824-DEFE0F9C9707}">
      <dgm:prSet/>
      <dgm:spPr/>
      <dgm:t>
        <a:bodyPr/>
        <a:lstStyle/>
        <a:p>
          <a:endParaRPr lang="en-US"/>
        </a:p>
      </dgm:t>
    </dgm:pt>
    <dgm:pt modelId="{567AC784-8215-4A28-BC65-44F723BCAFCE}" type="sibTrans" cxnId="{F25DF49D-C1C0-4D8D-9824-DEFE0F9C9707}">
      <dgm:prSet/>
      <dgm:spPr/>
      <dgm:t>
        <a:bodyPr/>
        <a:lstStyle/>
        <a:p>
          <a:endParaRPr lang="en-US"/>
        </a:p>
      </dgm:t>
    </dgm:pt>
    <dgm:pt modelId="{77588DEA-6EB0-4C8E-A232-6D0F8E2F85F1}">
      <dgm:prSet/>
      <dgm:spPr/>
      <dgm:t>
        <a:bodyPr/>
        <a:lstStyle/>
        <a:p>
          <a:r>
            <a:rPr lang="en-US" baseline="0" dirty="0"/>
            <a:t>OpenShift on Azure (OSA)</a:t>
          </a:r>
          <a:endParaRPr lang="en-US" dirty="0"/>
        </a:p>
      </dgm:t>
    </dgm:pt>
    <dgm:pt modelId="{FA42B41A-6F9E-4496-88F4-16A5423E72D2}" type="parTrans" cxnId="{E36A2C73-B8EC-4ED7-BAF1-3018F73FD3F3}">
      <dgm:prSet/>
      <dgm:spPr/>
      <dgm:t>
        <a:bodyPr/>
        <a:lstStyle/>
        <a:p>
          <a:endParaRPr lang="en-US"/>
        </a:p>
      </dgm:t>
    </dgm:pt>
    <dgm:pt modelId="{F319D6EF-7874-41FE-8CA9-F2F4F6AE7DE8}" type="sibTrans" cxnId="{E36A2C73-B8EC-4ED7-BAF1-3018F73FD3F3}">
      <dgm:prSet/>
      <dgm:spPr/>
      <dgm:t>
        <a:bodyPr/>
        <a:lstStyle/>
        <a:p>
          <a:endParaRPr lang="en-US"/>
        </a:p>
      </dgm:t>
    </dgm:pt>
    <dgm:pt modelId="{9029E277-2B7F-4A80-BCBE-75EC527A564F}">
      <dgm:prSet/>
      <dgm:spPr/>
      <dgm:t>
        <a:bodyPr/>
        <a:lstStyle/>
        <a:p>
          <a:r>
            <a:rPr lang="en-US" dirty="0"/>
            <a:t>Single node on your laptop</a:t>
          </a:r>
        </a:p>
      </dgm:t>
    </dgm:pt>
    <dgm:pt modelId="{D56C5FC3-14A9-4065-91F2-998352BBFEBE}" type="parTrans" cxnId="{95D0B3E6-7953-4C09-9689-805C18041951}">
      <dgm:prSet/>
      <dgm:spPr/>
      <dgm:t>
        <a:bodyPr/>
        <a:lstStyle/>
        <a:p>
          <a:endParaRPr lang="en-US"/>
        </a:p>
      </dgm:t>
    </dgm:pt>
    <dgm:pt modelId="{19FEC824-A905-4107-B420-C5335DE0D4FC}" type="sibTrans" cxnId="{95D0B3E6-7953-4C09-9689-805C18041951}">
      <dgm:prSet/>
      <dgm:spPr/>
      <dgm:t>
        <a:bodyPr/>
        <a:lstStyle/>
        <a:p>
          <a:endParaRPr lang="en-US"/>
        </a:p>
      </dgm:t>
    </dgm:pt>
    <dgm:pt modelId="{6EE676B2-B8CB-4654-B3C6-F931E78782A7}">
      <dgm:prSet/>
      <dgm:spPr/>
      <dgm:t>
        <a:bodyPr/>
        <a:lstStyle/>
        <a:p>
          <a:r>
            <a:rPr lang="en-US" dirty="0"/>
            <a:t>Install your own cluster</a:t>
          </a:r>
        </a:p>
      </dgm:t>
    </dgm:pt>
    <dgm:pt modelId="{7127594F-ABCF-4EDE-9FEA-0D87A3F7FE9D}" type="parTrans" cxnId="{A9E77584-F707-438C-B0EA-C65F7828B00E}">
      <dgm:prSet/>
      <dgm:spPr/>
      <dgm:t>
        <a:bodyPr/>
        <a:lstStyle/>
        <a:p>
          <a:endParaRPr lang="en-US"/>
        </a:p>
      </dgm:t>
    </dgm:pt>
    <dgm:pt modelId="{B6E0CA97-293A-4A1C-B608-2C11855E39F1}" type="sibTrans" cxnId="{A9E77584-F707-438C-B0EA-C65F7828B00E}">
      <dgm:prSet/>
      <dgm:spPr/>
      <dgm:t>
        <a:bodyPr/>
        <a:lstStyle/>
        <a:p>
          <a:endParaRPr lang="en-US"/>
        </a:p>
      </dgm:t>
    </dgm:pt>
    <dgm:pt modelId="{DACDA6C1-1BE5-4F08-B5CD-59D5074FC02D}">
      <dgm:prSet/>
      <dgm:spPr/>
      <dgm:t>
        <a:bodyPr/>
        <a:lstStyle/>
        <a:p>
          <a:r>
            <a:rPr lang="en-US" dirty="0"/>
            <a:t>K8s platform private or public cloud</a:t>
          </a:r>
        </a:p>
      </dgm:t>
    </dgm:pt>
    <dgm:pt modelId="{5835BA8E-4EF7-4C03-8981-1D487767DCBF}" type="parTrans" cxnId="{062FBC0B-8890-4891-ACE3-1F9366086386}">
      <dgm:prSet/>
      <dgm:spPr/>
      <dgm:t>
        <a:bodyPr/>
        <a:lstStyle/>
        <a:p>
          <a:endParaRPr lang="en-US"/>
        </a:p>
      </dgm:t>
    </dgm:pt>
    <dgm:pt modelId="{681F8D11-9B4D-42F5-9BBB-6E8A6B179924}" type="sibTrans" cxnId="{062FBC0B-8890-4891-ACE3-1F9366086386}">
      <dgm:prSet/>
      <dgm:spPr/>
      <dgm:t>
        <a:bodyPr/>
        <a:lstStyle/>
        <a:p>
          <a:endParaRPr lang="en-US"/>
        </a:p>
      </dgm:t>
    </dgm:pt>
    <dgm:pt modelId="{5AE44DF7-A27C-40A8-B522-2D659A734B25}">
      <dgm:prSet/>
      <dgm:spPr/>
      <dgm:t>
        <a:bodyPr/>
        <a:lstStyle/>
        <a:p>
          <a:r>
            <a:rPr lang="en-US" baseline="0" dirty="0"/>
            <a:t>Azure hosted k8s</a:t>
          </a:r>
        </a:p>
      </dgm:t>
    </dgm:pt>
    <dgm:pt modelId="{9443D53D-C012-4AE7-9CD9-E9A245800686}" type="parTrans" cxnId="{15BD2310-9AD0-4BD4-A1E0-C2DA7F7C9574}">
      <dgm:prSet/>
      <dgm:spPr/>
      <dgm:t>
        <a:bodyPr/>
        <a:lstStyle/>
        <a:p>
          <a:endParaRPr lang="en-US"/>
        </a:p>
      </dgm:t>
    </dgm:pt>
    <dgm:pt modelId="{B0B88EE4-1E33-4233-82BE-1F891FF2521D}" type="sibTrans" cxnId="{15BD2310-9AD0-4BD4-A1E0-C2DA7F7C9574}">
      <dgm:prSet/>
      <dgm:spPr/>
      <dgm:t>
        <a:bodyPr/>
        <a:lstStyle/>
        <a:p>
          <a:endParaRPr lang="en-US"/>
        </a:p>
      </dgm:t>
    </dgm:pt>
    <dgm:pt modelId="{4B89C82B-E391-4B9D-8FDE-3C415B09D8A6}">
      <dgm:prSet/>
      <dgm:spPr/>
      <dgm:t>
        <a:bodyPr/>
        <a:lstStyle/>
        <a:p>
          <a:r>
            <a:rPr lang="en-US" dirty="0"/>
            <a:t>Managed OpenShift on Azure</a:t>
          </a:r>
        </a:p>
      </dgm:t>
    </dgm:pt>
    <dgm:pt modelId="{9031FD3C-1C27-4245-AA0E-ADF9F6AF6FCE}" type="parTrans" cxnId="{ED8567D7-21A5-4793-A43D-5DFBE91AC090}">
      <dgm:prSet/>
      <dgm:spPr/>
      <dgm:t>
        <a:bodyPr/>
        <a:lstStyle/>
        <a:p>
          <a:endParaRPr lang="en-US"/>
        </a:p>
      </dgm:t>
    </dgm:pt>
    <dgm:pt modelId="{1082CC82-436C-410A-A6D3-E8CB452B5227}" type="sibTrans" cxnId="{ED8567D7-21A5-4793-A43D-5DFBE91AC090}">
      <dgm:prSet/>
      <dgm:spPr/>
      <dgm:t>
        <a:bodyPr/>
        <a:lstStyle/>
        <a:p>
          <a:endParaRPr lang="en-US"/>
        </a:p>
      </dgm:t>
    </dgm:pt>
    <dgm:pt modelId="{77D90FC2-640E-4D80-8E69-2F1BCC5F3530}">
      <dgm:prSet/>
      <dgm:spPr/>
      <dgm:t>
        <a:bodyPr/>
        <a:lstStyle/>
        <a:p>
          <a:r>
            <a:rPr lang="en-US" dirty="0"/>
            <a:t>Other</a:t>
          </a:r>
        </a:p>
      </dgm:t>
    </dgm:pt>
    <dgm:pt modelId="{E7F15988-BCD1-4C4D-80E1-3E3DC0016276}" type="parTrans" cxnId="{B98A32D5-1451-4E5F-812E-F067A6606DB1}">
      <dgm:prSet/>
      <dgm:spPr/>
      <dgm:t>
        <a:bodyPr/>
        <a:lstStyle/>
        <a:p>
          <a:endParaRPr lang="en-US"/>
        </a:p>
      </dgm:t>
    </dgm:pt>
    <dgm:pt modelId="{8B329470-5924-4E28-9F56-8D59465AAC2A}" type="sibTrans" cxnId="{B98A32D5-1451-4E5F-812E-F067A6606DB1}">
      <dgm:prSet/>
      <dgm:spPr/>
      <dgm:t>
        <a:bodyPr/>
        <a:lstStyle/>
        <a:p>
          <a:endParaRPr lang="en-US"/>
        </a:p>
      </dgm:t>
    </dgm:pt>
    <dgm:pt modelId="{CBBC5B49-0821-4798-A4D2-74773775E98F}">
      <dgm:prSet/>
      <dgm:spPr/>
      <dgm:t>
        <a:bodyPr/>
        <a:lstStyle/>
        <a:p>
          <a:r>
            <a:rPr lang="en-US" dirty="0"/>
            <a:t>Azure Stack</a:t>
          </a:r>
        </a:p>
      </dgm:t>
    </dgm:pt>
    <dgm:pt modelId="{CD1C1BA9-0CFD-40CA-9DFC-2010D0B8D969}" type="parTrans" cxnId="{0D9B6568-4D99-4566-9E37-137B54831269}">
      <dgm:prSet/>
      <dgm:spPr/>
      <dgm:t>
        <a:bodyPr/>
        <a:lstStyle/>
        <a:p>
          <a:endParaRPr lang="en-US"/>
        </a:p>
      </dgm:t>
    </dgm:pt>
    <dgm:pt modelId="{4E4F676D-25AE-4B18-9569-577952FDEDA7}" type="sibTrans" cxnId="{0D9B6568-4D99-4566-9E37-137B54831269}">
      <dgm:prSet/>
      <dgm:spPr/>
      <dgm:t>
        <a:bodyPr/>
        <a:lstStyle/>
        <a:p>
          <a:endParaRPr lang="en-US"/>
        </a:p>
      </dgm:t>
    </dgm:pt>
    <dgm:pt modelId="{07573054-3617-4EEB-BB0C-FB3AAAE42066}">
      <dgm:prSet/>
      <dgm:spPr/>
      <dgm:t>
        <a:bodyPr/>
        <a:lstStyle/>
        <a:p>
          <a:r>
            <a:rPr lang="en-US" dirty="0"/>
            <a:t>Windows Server</a:t>
          </a:r>
        </a:p>
      </dgm:t>
    </dgm:pt>
    <dgm:pt modelId="{7FB66B8C-99F2-4EBA-91A3-6FB62531A5D0}" type="parTrans" cxnId="{A23D5139-0288-49A4-BE99-3BFBD7AA0D2F}">
      <dgm:prSet/>
      <dgm:spPr/>
      <dgm:t>
        <a:bodyPr/>
        <a:lstStyle/>
        <a:p>
          <a:endParaRPr lang="en-US"/>
        </a:p>
      </dgm:t>
    </dgm:pt>
    <dgm:pt modelId="{FAEE5BBF-4D89-47A8-9FFD-B538D3AEF1E5}" type="sibTrans" cxnId="{A23D5139-0288-49A4-BE99-3BFBD7AA0D2F}">
      <dgm:prSet/>
      <dgm:spPr/>
      <dgm:t>
        <a:bodyPr/>
        <a:lstStyle/>
        <a:p>
          <a:endParaRPr lang="en-US"/>
        </a:p>
      </dgm:t>
    </dgm:pt>
    <dgm:pt modelId="{70369E63-9EDA-4F05-B614-C5325659A0AE}" type="pres">
      <dgm:prSet presAssocID="{A5D6F280-0600-4EAC-8AAF-9F6D8866BE0B}" presName="diagram" presStyleCnt="0">
        <dgm:presLayoutVars>
          <dgm:dir/>
          <dgm:resizeHandles val="exact"/>
        </dgm:presLayoutVars>
      </dgm:prSet>
      <dgm:spPr/>
    </dgm:pt>
    <dgm:pt modelId="{D65FF878-1A60-4E47-9A24-794CDD479790}" type="pres">
      <dgm:prSet presAssocID="{DD0D439D-D88A-4DDC-8320-CD444A0D9BD9}" presName="node" presStyleLbl="node1" presStyleIdx="0" presStyleCnt="6">
        <dgm:presLayoutVars>
          <dgm:bulletEnabled val="1"/>
        </dgm:presLayoutVars>
      </dgm:prSet>
      <dgm:spPr/>
    </dgm:pt>
    <dgm:pt modelId="{BB29C696-83A2-419B-BF04-57F1507FB3D2}" type="pres">
      <dgm:prSet presAssocID="{9647A591-2BCC-4197-808E-354FE53CF56F}" presName="sibTrans" presStyleCnt="0"/>
      <dgm:spPr/>
    </dgm:pt>
    <dgm:pt modelId="{AB435B41-97BA-440A-A705-44B22CDB9B08}" type="pres">
      <dgm:prSet presAssocID="{5AC454AC-7591-4282-9D93-86BB4204949A}" presName="node" presStyleLbl="node1" presStyleIdx="1" presStyleCnt="6">
        <dgm:presLayoutVars>
          <dgm:bulletEnabled val="1"/>
        </dgm:presLayoutVars>
      </dgm:prSet>
      <dgm:spPr/>
    </dgm:pt>
    <dgm:pt modelId="{AF46970D-99E1-4186-8C8D-B1C7463F51E5}" type="pres">
      <dgm:prSet presAssocID="{3D281065-0A4F-4023-85A0-05249FD48DC7}" presName="sibTrans" presStyleCnt="0"/>
      <dgm:spPr/>
    </dgm:pt>
    <dgm:pt modelId="{6FED4224-6491-4827-B3FF-D06680D6EA87}" type="pres">
      <dgm:prSet presAssocID="{19A48540-125E-4802-9494-EB56670134FD}" presName="node" presStyleLbl="node1" presStyleIdx="2" presStyleCnt="6">
        <dgm:presLayoutVars>
          <dgm:bulletEnabled val="1"/>
        </dgm:presLayoutVars>
      </dgm:prSet>
      <dgm:spPr/>
    </dgm:pt>
    <dgm:pt modelId="{55394A8B-454F-4623-BA0B-D03C6C935D65}" type="pres">
      <dgm:prSet presAssocID="{E7A06994-2EA6-48DA-A3EA-58FB8184452C}" presName="sibTrans" presStyleCnt="0"/>
      <dgm:spPr/>
    </dgm:pt>
    <dgm:pt modelId="{248090D7-1E72-4460-B238-DAE11EAFAB92}" type="pres">
      <dgm:prSet presAssocID="{DAF2D275-9708-41A8-BA74-F6159A6D6CF9}" presName="node" presStyleLbl="node1" presStyleIdx="3" presStyleCnt="6">
        <dgm:presLayoutVars>
          <dgm:bulletEnabled val="1"/>
        </dgm:presLayoutVars>
      </dgm:prSet>
      <dgm:spPr/>
    </dgm:pt>
    <dgm:pt modelId="{DBFABF32-4E57-41E7-B07A-534213974CB8}" type="pres">
      <dgm:prSet presAssocID="{567AC784-8215-4A28-BC65-44F723BCAFCE}" presName="sibTrans" presStyleCnt="0"/>
      <dgm:spPr/>
    </dgm:pt>
    <dgm:pt modelId="{DA7E4824-0F14-46CE-8B64-4544C89C3240}" type="pres">
      <dgm:prSet presAssocID="{77588DEA-6EB0-4C8E-A232-6D0F8E2F85F1}" presName="node" presStyleLbl="node1" presStyleIdx="4" presStyleCnt="6">
        <dgm:presLayoutVars>
          <dgm:bulletEnabled val="1"/>
        </dgm:presLayoutVars>
      </dgm:prSet>
      <dgm:spPr/>
    </dgm:pt>
    <dgm:pt modelId="{6204D4A9-3748-4DA2-8C00-9AC1D3E7E2F1}" type="pres">
      <dgm:prSet presAssocID="{F319D6EF-7874-41FE-8CA9-F2F4F6AE7DE8}" presName="sibTrans" presStyleCnt="0"/>
      <dgm:spPr/>
    </dgm:pt>
    <dgm:pt modelId="{6F34995B-366C-4C54-998F-F53E0C766676}" type="pres">
      <dgm:prSet presAssocID="{77D90FC2-640E-4D80-8E69-2F1BCC5F3530}" presName="node" presStyleLbl="node1" presStyleIdx="5" presStyleCnt="6">
        <dgm:presLayoutVars>
          <dgm:bulletEnabled val="1"/>
        </dgm:presLayoutVars>
      </dgm:prSet>
      <dgm:spPr/>
    </dgm:pt>
  </dgm:ptLst>
  <dgm:cxnLst>
    <dgm:cxn modelId="{315FE300-C1DB-4C10-B83F-F9718EAF2DA3}" type="presOf" srcId="{07573054-3617-4EEB-BB0C-FB3AAAE42066}" destId="{6F34995B-366C-4C54-998F-F53E0C766676}" srcOrd="0" destOrd="2" presId="urn:microsoft.com/office/officeart/2005/8/layout/default"/>
    <dgm:cxn modelId="{062FBC0B-8890-4891-ACE3-1F9366086386}" srcId="{19A48540-125E-4802-9494-EB56670134FD}" destId="{DACDA6C1-1BE5-4F08-B5CD-59D5074FC02D}" srcOrd="0" destOrd="0" parTransId="{5835BA8E-4EF7-4C03-8981-1D487767DCBF}" sibTransId="{681F8D11-9B4D-42F5-9BBB-6E8A6B179924}"/>
    <dgm:cxn modelId="{15BD2310-9AD0-4BD4-A1E0-C2DA7F7C9574}" srcId="{DAF2D275-9708-41A8-BA74-F6159A6D6CF9}" destId="{5AE44DF7-A27C-40A8-B522-2D659A734B25}" srcOrd="0" destOrd="0" parTransId="{9443D53D-C012-4AE7-9CD9-E9A245800686}" sibTransId="{B0B88EE4-1E33-4233-82BE-1F891FF2521D}"/>
    <dgm:cxn modelId="{379C7026-697A-4ED5-8D2D-F16D94FD3740}" srcId="{A5D6F280-0600-4EAC-8AAF-9F6D8866BE0B}" destId="{5AC454AC-7591-4282-9D93-86BB4204949A}" srcOrd="1" destOrd="0" parTransId="{2CFD7B17-C333-4186-A414-292BCD94C4B2}" sibTransId="{3D281065-0A4F-4023-85A0-05249FD48DC7}"/>
    <dgm:cxn modelId="{A0EDA92A-65FC-40D1-B204-077670F8EC9C}" type="presOf" srcId="{9029E277-2B7F-4A80-BCBE-75EC527A564F}" destId="{D65FF878-1A60-4E47-9A24-794CDD479790}" srcOrd="0" destOrd="1" presId="urn:microsoft.com/office/officeart/2005/8/layout/default"/>
    <dgm:cxn modelId="{A23D5139-0288-49A4-BE99-3BFBD7AA0D2F}" srcId="{77D90FC2-640E-4D80-8E69-2F1BCC5F3530}" destId="{07573054-3617-4EEB-BB0C-FB3AAAE42066}" srcOrd="1" destOrd="0" parTransId="{7FB66B8C-99F2-4EBA-91A3-6FB62531A5D0}" sibTransId="{FAEE5BBF-4D89-47A8-9FFD-B538D3AEF1E5}"/>
    <dgm:cxn modelId="{F5DF325B-32A0-49AA-A1BE-3AEC15AEEAE2}" type="presOf" srcId="{DACDA6C1-1BE5-4F08-B5CD-59D5074FC02D}" destId="{6FED4224-6491-4827-B3FF-D06680D6EA87}" srcOrd="0" destOrd="1" presId="urn:microsoft.com/office/officeart/2005/8/layout/default"/>
    <dgm:cxn modelId="{CD5B2062-7CED-430A-9A0B-E2D85DB7DA42}" type="presOf" srcId="{77D90FC2-640E-4D80-8E69-2F1BCC5F3530}" destId="{6F34995B-366C-4C54-998F-F53E0C766676}" srcOrd="0" destOrd="0" presId="urn:microsoft.com/office/officeart/2005/8/layout/default"/>
    <dgm:cxn modelId="{55467665-5A77-4E57-9A04-B597F1A68061}" type="presOf" srcId="{CBBC5B49-0821-4798-A4D2-74773775E98F}" destId="{6F34995B-366C-4C54-998F-F53E0C766676}" srcOrd="0" destOrd="1" presId="urn:microsoft.com/office/officeart/2005/8/layout/default"/>
    <dgm:cxn modelId="{59E5EE65-8C3B-41BE-8670-6F8B4B112EA9}" type="presOf" srcId="{77588DEA-6EB0-4C8E-A232-6D0F8E2F85F1}" destId="{DA7E4824-0F14-46CE-8B64-4544C89C3240}" srcOrd="0" destOrd="0" presId="urn:microsoft.com/office/officeart/2005/8/layout/default"/>
    <dgm:cxn modelId="{0D9B6568-4D99-4566-9E37-137B54831269}" srcId="{77D90FC2-640E-4D80-8E69-2F1BCC5F3530}" destId="{CBBC5B49-0821-4798-A4D2-74773775E98F}" srcOrd="0" destOrd="0" parTransId="{CD1C1BA9-0CFD-40CA-9DFC-2010D0B8D969}" sibTransId="{4E4F676D-25AE-4B18-9569-577952FDEDA7}"/>
    <dgm:cxn modelId="{8A72BC49-20B2-4656-9841-12806994BCA4}" type="presOf" srcId="{6EE676B2-B8CB-4654-B3C6-F931E78782A7}" destId="{AB435B41-97BA-440A-A705-44B22CDB9B08}" srcOrd="0" destOrd="1" presId="urn:microsoft.com/office/officeart/2005/8/layout/default"/>
    <dgm:cxn modelId="{AEA5944B-B7FE-40FD-9084-E90AD489AF08}" type="presOf" srcId="{A5D6F280-0600-4EAC-8AAF-9F6D8866BE0B}" destId="{70369E63-9EDA-4F05-B614-C5325659A0AE}" srcOrd="0" destOrd="0" presId="urn:microsoft.com/office/officeart/2005/8/layout/default"/>
    <dgm:cxn modelId="{CEB04B70-9D67-47DD-8119-4B2E17CCC21B}" type="presOf" srcId="{5AE44DF7-A27C-40A8-B522-2D659A734B25}" destId="{248090D7-1E72-4460-B238-DAE11EAFAB92}" srcOrd="0" destOrd="1" presId="urn:microsoft.com/office/officeart/2005/8/layout/default"/>
    <dgm:cxn modelId="{E36A2C73-B8EC-4ED7-BAF1-3018F73FD3F3}" srcId="{A5D6F280-0600-4EAC-8AAF-9F6D8866BE0B}" destId="{77588DEA-6EB0-4C8E-A232-6D0F8E2F85F1}" srcOrd="4" destOrd="0" parTransId="{FA42B41A-6F9E-4496-88F4-16A5423E72D2}" sibTransId="{F319D6EF-7874-41FE-8CA9-F2F4F6AE7DE8}"/>
    <dgm:cxn modelId="{33E79C76-75CF-49BD-996C-8FFB1157ECEF}" srcId="{A5D6F280-0600-4EAC-8AAF-9F6D8866BE0B}" destId="{DD0D439D-D88A-4DDC-8320-CD444A0D9BD9}" srcOrd="0" destOrd="0" parTransId="{6F43A549-9807-4A68-A86F-C509785011E9}" sibTransId="{9647A591-2BCC-4197-808E-354FE53CF56F}"/>
    <dgm:cxn modelId="{8D468D78-9C47-4412-9273-307F1BFE3BBE}" srcId="{A5D6F280-0600-4EAC-8AAF-9F6D8866BE0B}" destId="{19A48540-125E-4802-9494-EB56670134FD}" srcOrd="2" destOrd="0" parTransId="{FFFEEE55-4337-46C3-981E-E6CDFBBC3051}" sibTransId="{E7A06994-2EA6-48DA-A3EA-58FB8184452C}"/>
    <dgm:cxn modelId="{A9E77584-F707-438C-B0EA-C65F7828B00E}" srcId="{5AC454AC-7591-4282-9D93-86BB4204949A}" destId="{6EE676B2-B8CB-4654-B3C6-F931E78782A7}" srcOrd="0" destOrd="0" parTransId="{7127594F-ABCF-4EDE-9FEA-0D87A3F7FE9D}" sibTransId="{B6E0CA97-293A-4A1C-B608-2C11855E39F1}"/>
    <dgm:cxn modelId="{F25DF49D-C1C0-4D8D-9824-DEFE0F9C9707}" srcId="{A5D6F280-0600-4EAC-8AAF-9F6D8866BE0B}" destId="{DAF2D275-9708-41A8-BA74-F6159A6D6CF9}" srcOrd="3" destOrd="0" parTransId="{3630FF73-D1D2-4C04-AEB2-9A6512ADFB5B}" sibTransId="{567AC784-8215-4A28-BC65-44F723BCAFCE}"/>
    <dgm:cxn modelId="{574F439F-3E63-43E0-BBDE-1EA281406A62}" type="presOf" srcId="{5AC454AC-7591-4282-9D93-86BB4204949A}" destId="{AB435B41-97BA-440A-A705-44B22CDB9B08}" srcOrd="0" destOrd="0" presId="urn:microsoft.com/office/officeart/2005/8/layout/default"/>
    <dgm:cxn modelId="{1CFFC1D0-CA7A-4A2B-AEC9-93EA0D437586}" type="presOf" srcId="{DD0D439D-D88A-4DDC-8320-CD444A0D9BD9}" destId="{D65FF878-1A60-4E47-9A24-794CDD479790}" srcOrd="0" destOrd="0" presId="urn:microsoft.com/office/officeart/2005/8/layout/default"/>
    <dgm:cxn modelId="{B98A32D5-1451-4E5F-812E-F067A6606DB1}" srcId="{A5D6F280-0600-4EAC-8AAF-9F6D8866BE0B}" destId="{77D90FC2-640E-4D80-8E69-2F1BCC5F3530}" srcOrd="5" destOrd="0" parTransId="{E7F15988-BCD1-4C4D-80E1-3E3DC0016276}" sibTransId="{8B329470-5924-4E28-9F56-8D59465AAC2A}"/>
    <dgm:cxn modelId="{ED8567D7-21A5-4793-A43D-5DFBE91AC090}" srcId="{77588DEA-6EB0-4C8E-A232-6D0F8E2F85F1}" destId="{4B89C82B-E391-4B9D-8FDE-3C415B09D8A6}" srcOrd="0" destOrd="0" parTransId="{9031FD3C-1C27-4245-AA0E-ADF9F6AF6FCE}" sibTransId="{1082CC82-436C-410A-A6D3-E8CB452B5227}"/>
    <dgm:cxn modelId="{44014FE5-5C23-4567-99E4-933D4EB46819}" type="presOf" srcId="{DAF2D275-9708-41A8-BA74-F6159A6D6CF9}" destId="{248090D7-1E72-4460-B238-DAE11EAFAB92}" srcOrd="0" destOrd="0" presId="urn:microsoft.com/office/officeart/2005/8/layout/default"/>
    <dgm:cxn modelId="{95D0B3E6-7953-4C09-9689-805C18041951}" srcId="{DD0D439D-D88A-4DDC-8320-CD444A0D9BD9}" destId="{9029E277-2B7F-4A80-BCBE-75EC527A564F}" srcOrd="0" destOrd="0" parTransId="{D56C5FC3-14A9-4065-91F2-998352BBFEBE}" sibTransId="{19FEC824-A905-4107-B420-C5335DE0D4FC}"/>
    <dgm:cxn modelId="{1EC80DEC-2468-4184-ABCC-39BB19EB5AC6}" type="presOf" srcId="{19A48540-125E-4802-9494-EB56670134FD}" destId="{6FED4224-6491-4827-B3FF-D06680D6EA87}" srcOrd="0" destOrd="0" presId="urn:microsoft.com/office/officeart/2005/8/layout/default"/>
    <dgm:cxn modelId="{C0B956F8-8DB1-4D31-9A95-89CCD84F7A34}" type="presOf" srcId="{4B89C82B-E391-4B9D-8FDE-3C415B09D8A6}" destId="{DA7E4824-0F14-46CE-8B64-4544C89C3240}" srcOrd="0" destOrd="1" presId="urn:microsoft.com/office/officeart/2005/8/layout/default"/>
    <dgm:cxn modelId="{DF94F352-1034-45F1-9746-94513EC4D00A}" type="presParOf" srcId="{70369E63-9EDA-4F05-B614-C5325659A0AE}" destId="{D65FF878-1A60-4E47-9A24-794CDD479790}" srcOrd="0" destOrd="0" presId="urn:microsoft.com/office/officeart/2005/8/layout/default"/>
    <dgm:cxn modelId="{C077F146-D8D6-4A49-8B87-E7A4EF141BE9}" type="presParOf" srcId="{70369E63-9EDA-4F05-B614-C5325659A0AE}" destId="{BB29C696-83A2-419B-BF04-57F1507FB3D2}" srcOrd="1" destOrd="0" presId="urn:microsoft.com/office/officeart/2005/8/layout/default"/>
    <dgm:cxn modelId="{680EBE79-A9B4-4FB6-B7F6-038096C3609F}" type="presParOf" srcId="{70369E63-9EDA-4F05-B614-C5325659A0AE}" destId="{AB435B41-97BA-440A-A705-44B22CDB9B08}" srcOrd="2" destOrd="0" presId="urn:microsoft.com/office/officeart/2005/8/layout/default"/>
    <dgm:cxn modelId="{93417181-6159-4C2E-B26F-5950E834E668}" type="presParOf" srcId="{70369E63-9EDA-4F05-B614-C5325659A0AE}" destId="{AF46970D-99E1-4186-8C8D-B1C7463F51E5}" srcOrd="3" destOrd="0" presId="urn:microsoft.com/office/officeart/2005/8/layout/default"/>
    <dgm:cxn modelId="{08B531F7-EEF0-41F1-9F8D-E3D20D30EAF1}" type="presParOf" srcId="{70369E63-9EDA-4F05-B614-C5325659A0AE}" destId="{6FED4224-6491-4827-B3FF-D06680D6EA87}" srcOrd="4" destOrd="0" presId="urn:microsoft.com/office/officeart/2005/8/layout/default"/>
    <dgm:cxn modelId="{AD63ECC9-B9D3-4628-B250-3A9D87871BC1}" type="presParOf" srcId="{70369E63-9EDA-4F05-B614-C5325659A0AE}" destId="{55394A8B-454F-4623-BA0B-D03C6C935D65}" srcOrd="5" destOrd="0" presId="urn:microsoft.com/office/officeart/2005/8/layout/default"/>
    <dgm:cxn modelId="{B4E513AE-C830-4BF6-A45C-690F54285FFA}" type="presParOf" srcId="{70369E63-9EDA-4F05-B614-C5325659A0AE}" destId="{248090D7-1E72-4460-B238-DAE11EAFAB92}" srcOrd="6" destOrd="0" presId="urn:microsoft.com/office/officeart/2005/8/layout/default"/>
    <dgm:cxn modelId="{305995EB-D429-44E4-A013-F8F3845F7D68}" type="presParOf" srcId="{70369E63-9EDA-4F05-B614-C5325659A0AE}" destId="{DBFABF32-4E57-41E7-B07A-534213974CB8}" srcOrd="7" destOrd="0" presId="urn:microsoft.com/office/officeart/2005/8/layout/default"/>
    <dgm:cxn modelId="{C65B57AA-F114-4D18-B138-D97F88BDCD45}" type="presParOf" srcId="{70369E63-9EDA-4F05-B614-C5325659A0AE}" destId="{DA7E4824-0F14-46CE-8B64-4544C89C3240}" srcOrd="8" destOrd="0" presId="urn:microsoft.com/office/officeart/2005/8/layout/default"/>
    <dgm:cxn modelId="{6861819E-8D98-49C9-9C34-F54F5D323836}" type="presParOf" srcId="{70369E63-9EDA-4F05-B614-C5325659A0AE}" destId="{6204D4A9-3748-4DA2-8C00-9AC1D3E7E2F1}" srcOrd="9" destOrd="0" presId="urn:microsoft.com/office/officeart/2005/8/layout/default"/>
    <dgm:cxn modelId="{F1BEB53A-F8F0-4D3D-A475-43CF8B64A25F}" type="presParOf" srcId="{70369E63-9EDA-4F05-B614-C5325659A0AE}" destId="{6F34995B-366C-4C54-998F-F53E0C76667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291FA7B-B6B5-4CA5-9E90-73D8D8D433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DD91275-C59A-47CE-B42E-94C85EC875A8}">
      <dgm:prSet/>
      <dgm:spPr/>
      <dgm:t>
        <a:bodyPr/>
        <a:lstStyle/>
        <a:p>
          <a:r>
            <a:rPr lang="en-US" baseline="0" dirty="0"/>
            <a:t>Use EXTERNAL table to map common names familiar to your SQL Server</a:t>
          </a:r>
          <a:endParaRPr lang="en-US" dirty="0"/>
        </a:p>
      </dgm:t>
    </dgm:pt>
    <dgm:pt modelId="{5EF37A7D-E97D-49B1-A7AE-70405457F65C}" type="parTrans" cxnId="{C33B7FE6-9165-477A-AD42-1A12CF1E2934}">
      <dgm:prSet/>
      <dgm:spPr/>
      <dgm:t>
        <a:bodyPr/>
        <a:lstStyle/>
        <a:p>
          <a:endParaRPr lang="en-US"/>
        </a:p>
      </dgm:t>
    </dgm:pt>
    <dgm:pt modelId="{CB5D2CD0-C405-4573-8370-B2CFE143867F}" type="sibTrans" cxnId="{C33B7FE6-9165-477A-AD42-1A12CF1E2934}">
      <dgm:prSet/>
      <dgm:spPr/>
      <dgm:t>
        <a:bodyPr/>
        <a:lstStyle/>
        <a:p>
          <a:endParaRPr lang="en-US"/>
        </a:p>
      </dgm:t>
    </dgm:pt>
    <dgm:pt modelId="{7C53E093-E4A2-4810-A0BC-F0155FE1F281}">
      <dgm:prSet/>
      <dgm:spPr/>
      <dgm:t>
        <a:bodyPr/>
        <a:lstStyle/>
        <a:p>
          <a:r>
            <a:rPr lang="en-US" baseline="0" dirty="0"/>
            <a:t>Exclude fields or columns from data source that are not needed (Planned)</a:t>
          </a:r>
          <a:endParaRPr lang="en-US" dirty="0"/>
        </a:p>
      </dgm:t>
    </dgm:pt>
    <dgm:pt modelId="{7B24AB0B-759F-44CC-9409-647A913683BB}" type="parTrans" cxnId="{6305EDEC-F668-4471-8513-1C2892A27883}">
      <dgm:prSet/>
      <dgm:spPr/>
      <dgm:t>
        <a:bodyPr/>
        <a:lstStyle/>
        <a:p>
          <a:endParaRPr lang="en-US"/>
        </a:p>
      </dgm:t>
    </dgm:pt>
    <dgm:pt modelId="{B60DA91A-D802-403E-8600-A1328329FC20}" type="sibTrans" cxnId="{6305EDEC-F668-4471-8513-1C2892A27883}">
      <dgm:prSet/>
      <dgm:spPr/>
      <dgm:t>
        <a:bodyPr/>
        <a:lstStyle/>
        <a:p>
          <a:endParaRPr lang="en-US"/>
        </a:p>
      </dgm:t>
    </dgm:pt>
    <dgm:pt modelId="{0A9635D1-3D57-4DC0-909E-FEE579CF7975}">
      <dgm:prSet/>
      <dgm:spPr/>
      <dgm:t>
        <a:bodyPr/>
        <a:lstStyle/>
        <a:p>
          <a:r>
            <a:rPr lang="en-US" baseline="0" dirty="0"/>
            <a:t>Use SQL Server views to abstract joins and data source access</a:t>
          </a:r>
          <a:endParaRPr lang="en-US" dirty="0"/>
        </a:p>
      </dgm:t>
    </dgm:pt>
    <dgm:pt modelId="{00FF0F43-9721-4115-B6EA-9158B820C6B0}" type="parTrans" cxnId="{1F8638F5-5823-4EB3-9214-4F27130D5E38}">
      <dgm:prSet/>
      <dgm:spPr/>
      <dgm:t>
        <a:bodyPr/>
        <a:lstStyle/>
        <a:p>
          <a:endParaRPr lang="en-US"/>
        </a:p>
      </dgm:t>
    </dgm:pt>
    <dgm:pt modelId="{477F95A1-2FAB-433A-B85C-ABC206F4C53B}" type="sibTrans" cxnId="{1F8638F5-5823-4EB3-9214-4F27130D5E38}">
      <dgm:prSet/>
      <dgm:spPr/>
      <dgm:t>
        <a:bodyPr/>
        <a:lstStyle/>
        <a:p>
          <a:endParaRPr lang="en-US"/>
        </a:p>
      </dgm:t>
    </dgm:pt>
    <dgm:pt modelId="{732F32E9-530C-4610-A466-67F04EEB775F}">
      <dgm:prSet/>
      <dgm:spPr/>
      <dgm:t>
        <a:bodyPr/>
        <a:lstStyle/>
        <a:p>
          <a:r>
            <a:rPr lang="en-US" baseline="0" dirty="0"/>
            <a:t>Use UNION to join similar data from data sources and local SQL Server</a:t>
          </a:r>
          <a:endParaRPr lang="en-US" dirty="0"/>
        </a:p>
      </dgm:t>
    </dgm:pt>
    <dgm:pt modelId="{16DED101-8CEB-4EA2-9313-8DB2AEB2708C}" type="parTrans" cxnId="{097B2F4F-7B46-4C88-8588-DAEFE354BE2D}">
      <dgm:prSet/>
      <dgm:spPr/>
      <dgm:t>
        <a:bodyPr/>
        <a:lstStyle/>
        <a:p>
          <a:endParaRPr lang="en-US"/>
        </a:p>
      </dgm:t>
    </dgm:pt>
    <dgm:pt modelId="{AC110B8E-528D-45B1-9B47-B89A83DD8013}" type="sibTrans" cxnId="{097B2F4F-7B46-4C88-8588-DAEFE354BE2D}">
      <dgm:prSet/>
      <dgm:spPr/>
      <dgm:t>
        <a:bodyPr/>
        <a:lstStyle/>
        <a:p>
          <a:endParaRPr lang="en-US"/>
        </a:p>
      </dgm:t>
    </dgm:pt>
    <dgm:pt modelId="{5CF7C271-14A6-45F3-9451-C57A0CC2370B}" type="pres">
      <dgm:prSet presAssocID="{C291FA7B-B6B5-4CA5-9E90-73D8D8D4339C}" presName="vert0" presStyleCnt="0">
        <dgm:presLayoutVars>
          <dgm:dir/>
          <dgm:animOne val="branch"/>
          <dgm:animLvl val="lvl"/>
        </dgm:presLayoutVars>
      </dgm:prSet>
      <dgm:spPr/>
    </dgm:pt>
    <dgm:pt modelId="{7B9C0021-9E0F-4819-8601-2AFFD75C478B}" type="pres">
      <dgm:prSet presAssocID="{1DD91275-C59A-47CE-B42E-94C85EC875A8}" presName="thickLine" presStyleLbl="alignNode1" presStyleIdx="0" presStyleCnt="4"/>
      <dgm:spPr/>
    </dgm:pt>
    <dgm:pt modelId="{4FA9CAB7-BB25-47C4-A806-50C9FACEE2CF}" type="pres">
      <dgm:prSet presAssocID="{1DD91275-C59A-47CE-B42E-94C85EC875A8}" presName="horz1" presStyleCnt="0"/>
      <dgm:spPr/>
    </dgm:pt>
    <dgm:pt modelId="{A53015CF-E7F1-40DA-802D-0874AF2F9F82}" type="pres">
      <dgm:prSet presAssocID="{1DD91275-C59A-47CE-B42E-94C85EC875A8}" presName="tx1" presStyleLbl="revTx" presStyleIdx="0" presStyleCnt="4"/>
      <dgm:spPr/>
    </dgm:pt>
    <dgm:pt modelId="{A0B7DC05-CE47-4E45-8C84-CE39EA9D3ABD}" type="pres">
      <dgm:prSet presAssocID="{1DD91275-C59A-47CE-B42E-94C85EC875A8}" presName="vert1" presStyleCnt="0"/>
      <dgm:spPr/>
    </dgm:pt>
    <dgm:pt modelId="{76D4A2F8-890D-4060-88BE-6CA64F8E03CA}" type="pres">
      <dgm:prSet presAssocID="{7C53E093-E4A2-4810-A0BC-F0155FE1F281}" presName="thickLine" presStyleLbl="alignNode1" presStyleIdx="1" presStyleCnt="4"/>
      <dgm:spPr/>
    </dgm:pt>
    <dgm:pt modelId="{778B5F6B-4272-4B8F-B347-247874EEA97A}" type="pres">
      <dgm:prSet presAssocID="{7C53E093-E4A2-4810-A0BC-F0155FE1F281}" presName="horz1" presStyleCnt="0"/>
      <dgm:spPr/>
    </dgm:pt>
    <dgm:pt modelId="{2576E28E-0ECE-4CBC-853B-06A49E1BDAEC}" type="pres">
      <dgm:prSet presAssocID="{7C53E093-E4A2-4810-A0BC-F0155FE1F281}" presName="tx1" presStyleLbl="revTx" presStyleIdx="1" presStyleCnt="4"/>
      <dgm:spPr/>
    </dgm:pt>
    <dgm:pt modelId="{816DC313-C86A-4374-AE46-FAEDDFC76895}" type="pres">
      <dgm:prSet presAssocID="{7C53E093-E4A2-4810-A0BC-F0155FE1F281}" presName="vert1" presStyleCnt="0"/>
      <dgm:spPr/>
    </dgm:pt>
    <dgm:pt modelId="{6124704D-3D09-43B9-ABCC-F83534700E66}" type="pres">
      <dgm:prSet presAssocID="{0A9635D1-3D57-4DC0-909E-FEE579CF7975}" presName="thickLine" presStyleLbl="alignNode1" presStyleIdx="2" presStyleCnt="4"/>
      <dgm:spPr/>
    </dgm:pt>
    <dgm:pt modelId="{A01C3B18-873F-4F16-A13C-E8702C488024}" type="pres">
      <dgm:prSet presAssocID="{0A9635D1-3D57-4DC0-909E-FEE579CF7975}" presName="horz1" presStyleCnt="0"/>
      <dgm:spPr/>
    </dgm:pt>
    <dgm:pt modelId="{6304E49C-D2BC-4FB7-9753-8F39DECAA5F2}" type="pres">
      <dgm:prSet presAssocID="{0A9635D1-3D57-4DC0-909E-FEE579CF7975}" presName="tx1" presStyleLbl="revTx" presStyleIdx="2" presStyleCnt="4"/>
      <dgm:spPr/>
    </dgm:pt>
    <dgm:pt modelId="{BE795213-59EE-477A-A930-43338CDCB3FF}" type="pres">
      <dgm:prSet presAssocID="{0A9635D1-3D57-4DC0-909E-FEE579CF7975}" presName="vert1" presStyleCnt="0"/>
      <dgm:spPr/>
    </dgm:pt>
    <dgm:pt modelId="{47B09D47-81C1-4389-AC79-D92B545CD87D}" type="pres">
      <dgm:prSet presAssocID="{732F32E9-530C-4610-A466-67F04EEB775F}" presName="thickLine" presStyleLbl="alignNode1" presStyleIdx="3" presStyleCnt="4"/>
      <dgm:spPr/>
    </dgm:pt>
    <dgm:pt modelId="{3943135A-9495-40D3-9194-BF323110F7DE}" type="pres">
      <dgm:prSet presAssocID="{732F32E9-530C-4610-A466-67F04EEB775F}" presName="horz1" presStyleCnt="0"/>
      <dgm:spPr/>
    </dgm:pt>
    <dgm:pt modelId="{B9907A0E-F67A-4370-B2FD-060E9FC8C8A5}" type="pres">
      <dgm:prSet presAssocID="{732F32E9-530C-4610-A466-67F04EEB775F}" presName="tx1" presStyleLbl="revTx" presStyleIdx="3" presStyleCnt="4"/>
      <dgm:spPr/>
    </dgm:pt>
    <dgm:pt modelId="{63C2DC81-B2A7-459F-8F07-BEAF31DE5094}" type="pres">
      <dgm:prSet presAssocID="{732F32E9-530C-4610-A466-67F04EEB775F}" presName="vert1" presStyleCnt="0"/>
      <dgm:spPr/>
    </dgm:pt>
  </dgm:ptLst>
  <dgm:cxnLst>
    <dgm:cxn modelId="{8F44A318-A8EE-49BF-9787-5C8262F6A9A4}" type="presOf" srcId="{1DD91275-C59A-47CE-B42E-94C85EC875A8}" destId="{A53015CF-E7F1-40DA-802D-0874AF2F9F82}" srcOrd="0" destOrd="0" presId="urn:microsoft.com/office/officeart/2008/layout/LinedList"/>
    <dgm:cxn modelId="{9006CB19-1567-47BE-A565-1B9B91F7A9C8}" type="presOf" srcId="{C291FA7B-B6B5-4CA5-9E90-73D8D8D4339C}" destId="{5CF7C271-14A6-45F3-9451-C57A0CC2370B}" srcOrd="0" destOrd="0" presId="urn:microsoft.com/office/officeart/2008/layout/LinedList"/>
    <dgm:cxn modelId="{972DB73C-0BB5-4ACA-BDAD-D769572E5BC2}" type="presOf" srcId="{7C53E093-E4A2-4810-A0BC-F0155FE1F281}" destId="{2576E28E-0ECE-4CBC-853B-06A49E1BDAEC}" srcOrd="0" destOrd="0" presId="urn:microsoft.com/office/officeart/2008/layout/LinedList"/>
    <dgm:cxn modelId="{097B2F4F-7B46-4C88-8588-DAEFE354BE2D}" srcId="{C291FA7B-B6B5-4CA5-9E90-73D8D8D4339C}" destId="{732F32E9-530C-4610-A466-67F04EEB775F}" srcOrd="3" destOrd="0" parTransId="{16DED101-8CEB-4EA2-9313-8DB2AEB2708C}" sibTransId="{AC110B8E-528D-45B1-9B47-B89A83DD8013}"/>
    <dgm:cxn modelId="{9BA87450-8A9E-46A7-9D28-B687C79CE3BF}" type="presOf" srcId="{0A9635D1-3D57-4DC0-909E-FEE579CF7975}" destId="{6304E49C-D2BC-4FB7-9753-8F39DECAA5F2}" srcOrd="0" destOrd="0" presId="urn:microsoft.com/office/officeart/2008/layout/LinedList"/>
    <dgm:cxn modelId="{3956705A-C5EB-4275-AE6A-5C60C0CB6E84}" type="presOf" srcId="{732F32E9-530C-4610-A466-67F04EEB775F}" destId="{B9907A0E-F67A-4370-B2FD-060E9FC8C8A5}" srcOrd="0" destOrd="0" presId="urn:microsoft.com/office/officeart/2008/layout/LinedList"/>
    <dgm:cxn modelId="{C33B7FE6-9165-477A-AD42-1A12CF1E2934}" srcId="{C291FA7B-B6B5-4CA5-9E90-73D8D8D4339C}" destId="{1DD91275-C59A-47CE-B42E-94C85EC875A8}" srcOrd="0" destOrd="0" parTransId="{5EF37A7D-E97D-49B1-A7AE-70405457F65C}" sibTransId="{CB5D2CD0-C405-4573-8370-B2CFE143867F}"/>
    <dgm:cxn modelId="{6305EDEC-F668-4471-8513-1C2892A27883}" srcId="{C291FA7B-B6B5-4CA5-9E90-73D8D8D4339C}" destId="{7C53E093-E4A2-4810-A0BC-F0155FE1F281}" srcOrd="1" destOrd="0" parTransId="{7B24AB0B-759F-44CC-9409-647A913683BB}" sibTransId="{B60DA91A-D802-403E-8600-A1328329FC20}"/>
    <dgm:cxn modelId="{1F8638F5-5823-4EB3-9214-4F27130D5E38}" srcId="{C291FA7B-B6B5-4CA5-9E90-73D8D8D4339C}" destId="{0A9635D1-3D57-4DC0-909E-FEE579CF7975}" srcOrd="2" destOrd="0" parTransId="{00FF0F43-9721-4115-B6EA-9158B820C6B0}" sibTransId="{477F95A1-2FAB-433A-B85C-ABC206F4C53B}"/>
    <dgm:cxn modelId="{396D8C7A-B2C9-4C2D-BAD6-5272F0D40978}" type="presParOf" srcId="{5CF7C271-14A6-45F3-9451-C57A0CC2370B}" destId="{7B9C0021-9E0F-4819-8601-2AFFD75C478B}" srcOrd="0" destOrd="0" presId="urn:microsoft.com/office/officeart/2008/layout/LinedList"/>
    <dgm:cxn modelId="{B9F6C184-4527-4CB2-A5C5-648BB58D669E}" type="presParOf" srcId="{5CF7C271-14A6-45F3-9451-C57A0CC2370B}" destId="{4FA9CAB7-BB25-47C4-A806-50C9FACEE2CF}" srcOrd="1" destOrd="0" presId="urn:microsoft.com/office/officeart/2008/layout/LinedList"/>
    <dgm:cxn modelId="{410FCC01-571B-4A78-A467-B54DD70802B3}" type="presParOf" srcId="{4FA9CAB7-BB25-47C4-A806-50C9FACEE2CF}" destId="{A53015CF-E7F1-40DA-802D-0874AF2F9F82}" srcOrd="0" destOrd="0" presId="urn:microsoft.com/office/officeart/2008/layout/LinedList"/>
    <dgm:cxn modelId="{9B30AA49-35B7-4E30-B1DC-891A9D57B023}" type="presParOf" srcId="{4FA9CAB7-BB25-47C4-A806-50C9FACEE2CF}" destId="{A0B7DC05-CE47-4E45-8C84-CE39EA9D3ABD}" srcOrd="1" destOrd="0" presId="urn:microsoft.com/office/officeart/2008/layout/LinedList"/>
    <dgm:cxn modelId="{B860B75B-36D5-4668-AE2C-BC04DAA202F8}" type="presParOf" srcId="{5CF7C271-14A6-45F3-9451-C57A0CC2370B}" destId="{76D4A2F8-890D-4060-88BE-6CA64F8E03CA}" srcOrd="2" destOrd="0" presId="urn:microsoft.com/office/officeart/2008/layout/LinedList"/>
    <dgm:cxn modelId="{E49C8C83-FFBD-403E-BDDE-642C38ECFC07}" type="presParOf" srcId="{5CF7C271-14A6-45F3-9451-C57A0CC2370B}" destId="{778B5F6B-4272-4B8F-B347-247874EEA97A}" srcOrd="3" destOrd="0" presId="urn:microsoft.com/office/officeart/2008/layout/LinedList"/>
    <dgm:cxn modelId="{A920255D-A7BB-46AD-AF9A-9BC74FE2C4DC}" type="presParOf" srcId="{778B5F6B-4272-4B8F-B347-247874EEA97A}" destId="{2576E28E-0ECE-4CBC-853B-06A49E1BDAEC}" srcOrd="0" destOrd="0" presId="urn:microsoft.com/office/officeart/2008/layout/LinedList"/>
    <dgm:cxn modelId="{9A9A1AC6-77EA-4943-A559-2E4DDF57ADAD}" type="presParOf" srcId="{778B5F6B-4272-4B8F-B347-247874EEA97A}" destId="{816DC313-C86A-4374-AE46-FAEDDFC76895}" srcOrd="1" destOrd="0" presId="urn:microsoft.com/office/officeart/2008/layout/LinedList"/>
    <dgm:cxn modelId="{8591A5C0-BA7C-47A1-8953-3DE7EA9551E1}" type="presParOf" srcId="{5CF7C271-14A6-45F3-9451-C57A0CC2370B}" destId="{6124704D-3D09-43B9-ABCC-F83534700E66}" srcOrd="4" destOrd="0" presId="urn:microsoft.com/office/officeart/2008/layout/LinedList"/>
    <dgm:cxn modelId="{F510DADE-E780-4A70-9A7B-C2869AE84817}" type="presParOf" srcId="{5CF7C271-14A6-45F3-9451-C57A0CC2370B}" destId="{A01C3B18-873F-4F16-A13C-E8702C488024}" srcOrd="5" destOrd="0" presId="urn:microsoft.com/office/officeart/2008/layout/LinedList"/>
    <dgm:cxn modelId="{B147B211-21C6-49C0-9818-9EA43B9FB42A}" type="presParOf" srcId="{A01C3B18-873F-4F16-A13C-E8702C488024}" destId="{6304E49C-D2BC-4FB7-9753-8F39DECAA5F2}" srcOrd="0" destOrd="0" presId="urn:microsoft.com/office/officeart/2008/layout/LinedList"/>
    <dgm:cxn modelId="{24735CE0-19FA-45D7-8C52-751C100649EF}" type="presParOf" srcId="{A01C3B18-873F-4F16-A13C-E8702C488024}" destId="{BE795213-59EE-477A-A930-43338CDCB3FF}" srcOrd="1" destOrd="0" presId="urn:microsoft.com/office/officeart/2008/layout/LinedList"/>
    <dgm:cxn modelId="{94B3EC3C-2E1E-4E13-85B6-C18BDCF6B4A1}" type="presParOf" srcId="{5CF7C271-14A6-45F3-9451-C57A0CC2370B}" destId="{47B09D47-81C1-4389-AC79-D92B545CD87D}" srcOrd="6" destOrd="0" presId="urn:microsoft.com/office/officeart/2008/layout/LinedList"/>
    <dgm:cxn modelId="{9F058F4F-9CB0-4C73-A162-49B87C94F976}" type="presParOf" srcId="{5CF7C271-14A6-45F3-9451-C57A0CC2370B}" destId="{3943135A-9495-40D3-9194-BF323110F7DE}" srcOrd="7" destOrd="0" presId="urn:microsoft.com/office/officeart/2008/layout/LinedList"/>
    <dgm:cxn modelId="{DEF60815-C753-418E-843E-BBED6529E153}" type="presParOf" srcId="{3943135A-9495-40D3-9194-BF323110F7DE}" destId="{B9907A0E-F67A-4370-B2FD-060E9FC8C8A5}" srcOrd="0" destOrd="0" presId="urn:microsoft.com/office/officeart/2008/layout/LinedList"/>
    <dgm:cxn modelId="{672B9928-C26B-4078-8D6D-8ED63902ED69}" type="presParOf" srcId="{3943135A-9495-40D3-9194-BF323110F7DE}" destId="{63C2DC81-B2A7-459F-8F07-BEAF31DE509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The Solution(s)</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Build intelligent, adaptable operator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13F31CE6-4B8A-4B33-BC21-ECB8629D6650}">
      <dgm:prSet phldrT="[Text]"/>
      <dgm:spPr/>
      <dgm:t>
        <a:bodyPr/>
        <a:lstStyle/>
        <a:p>
          <a:r>
            <a:rPr lang="en-US" dirty="0"/>
            <a:t>Modify query plans in cache based on previous execution</a:t>
          </a:r>
        </a:p>
      </dgm:t>
    </dgm:pt>
    <dgm:pt modelId="{6C9D25EF-0717-405A-8F9F-81F0EB907BEB}" type="parTrans" cxnId="{5D8139B3-F54E-4B67-A4E2-FE4A4873F2E3}">
      <dgm:prSet/>
      <dgm:spPr/>
      <dgm:t>
        <a:bodyPr/>
        <a:lstStyle/>
        <a:p>
          <a:endParaRPr lang="en-US"/>
        </a:p>
      </dgm:t>
    </dgm:pt>
    <dgm:pt modelId="{2BFFDF0D-2D01-42C9-9A82-C51D9EF7DCBC}" type="sibTrans" cxnId="{5D8139B3-F54E-4B67-A4E2-FE4A4873F2E3}">
      <dgm:prSet/>
      <dgm:spPr/>
      <dgm:t>
        <a:bodyPr/>
        <a:lstStyle/>
        <a:p>
          <a:endParaRPr lang="en-US"/>
        </a:p>
      </dgm:t>
    </dgm:pt>
    <dgm:pt modelId="{D34D0808-FDE9-482F-B247-8690EA373CE9}">
      <dgm:prSet phldrT="[Text]"/>
      <dgm:spPr/>
      <dgm:t>
        <a:bodyPr/>
        <a:lstStyle/>
        <a:p>
          <a:r>
            <a:rPr lang="en-US" dirty="0"/>
            <a:t>Expand batch mode</a:t>
          </a:r>
        </a:p>
      </dgm:t>
    </dgm:pt>
    <dgm:pt modelId="{DDFE9F40-826A-4844-9147-BC33C049FBEC}" type="parTrans" cxnId="{676DC50C-02EF-4861-99FF-C0A31804CEC5}">
      <dgm:prSet/>
      <dgm:spPr/>
      <dgm:t>
        <a:bodyPr/>
        <a:lstStyle/>
        <a:p>
          <a:endParaRPr lang="en-US"/>
        </a:p>
      </dgm:t>
    </dgm:pt>
    <dgm:pt modelId="{38D1F5AA-21D3-4766-A168-5B02AFF9F053}" type="sibTrans" cxnId="{676DC50C-02EF-4861-99FF-C0A31804CEC5}">
      <dgm:prSet/>
      <dgm:spPr/>
      <dgm:t>
        <a:bodyPr/>
        <a:lstStyle/>
        <a:p>
          <a:endParaRPr lang="en-US"/>
        </a:p>
      </dgm:t>
    </dgm:pt>
    <dgm:pt modelId="{CBFBF310-FC9D-4470-BA7B-4A7402B138A2}">
      <dgm:prSet phldrT="[Text]"/>
      <dgm:spPr/>
      <dgm:t>
        <a:bodyPr/>
        <a:lstStyle/>
        <a:p>
          <a:r>
            <a:rPr lang="en-US" dirty="0"/>
            <a:t>Execution data drives downstream compilation</a:t>
          </a:r>
        </a:p>
      </dgm:t>
    </dgm:pt>
    <dgm:pt modelId="{F721AD24-B4BA-404C-90EA-2FFA641C3152}" type="parTrans" cxnId="{B9839248-428D-4241-89E9-C929A6E3B156}">
      <dgm:prSet/>
      <dgm:spPr/>
      <dgm:t>
        <a:bodyPr/>
        <a:lstStyle/>
        <a:p>
          <a:endParaRPr lang="en-US"/>
        </a:p>
      </dgm:t>
    </dgm:pt>
    <dgm:pt modelId="{4EFFFB34-1AE6-4F32-B87F-DB49B0D76E37}" type="sibTrans" cxnId="{B9839248-428D-4241-89E9-C929A6E3B156}">
      <dgm:prSet/>
      <dgm:spPr/>
      <dgm:t>
        <a:bodyPr/>
        <a:lstStyle/>
        <a:p>
          <a:endParaRPr lang="en-US"/>
        </a:p>
      </dgm:t>
    </dgm:pt>
    <dgm:pt modelId="{4EE5749F-4CB1-4F27-BF5F-F9070ABC4C18}">
      <dgm:prSet phldrT="[Text]"/>
      <dgm:spPr/>
      <dgm:t>
        <a:bodyPr/>
        <a:lstStyle/>
        <a:p>
          <a:r>
            <a:rPr lang="en-US" dirty="0"/>
            <a:t>Smarter query processing</a:t>
          </a:r>
        </a:p>
      </dgm:t>
    </dgm:pt>
    <dgm:pt modelId="{55DA12DE-5798-42B0-BC89-C01946CE1AEF}" type="parTrans" cxnId="{7E082ADD-1333-44BD-8F8C-4D432B18093B}">
      <dgm:prSet/>
      <dgm:spPr/>
      <dgm:t>
        <a:bodyPr/>
        <a:lstStyle/>
        <a:p>
          <a:endParaRPr lang="en-US"/>
        </a:p>
      </dgm:t>
    </dgm:pt>
    <dgm:pt modelId="{D1DF7E24-3EB9-408A-8E58-F86CB0A5CD9D}" type="sibTrans" cxnId="{7E082ADD-1333-44BD-8F8C-4D432B18093B}">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33511D06-A576-4AD5-B7BE-35D9FA7308FC}" type="presOf" srcId="{D34D0808-FDE9-482F-B247-8690EA373CE9}" destId="{F4F491F2-8310-4EDC-83BE-3E4CB6BFF77F}" srcOrd="0" destOrd="2" presId="urn:microsoft.com/office/officeart/2005/8/layout/vList2"/>
    <dgm:cxn modelId="{676DC50C-02EF-4861-99FF-C0A31804CEC5}" srcId="{53D7EFAD-9D69-4131-B665-D784611009F2}" destId="{D34D0808-FDE9-482F-B247-8690EA373CE9}" srcOrd="2" destOrd="0" parTransId="{DDFE9F40-826A-4844-9147-BC33C049FBEC}" sibTransId="{38D1F5AA-21D3-4766-A168-5B02AFF9F053}"/>
    <dgm:cxn modelId="{330B2111-1B17-4F75-A313-C466AA383995}" type="presOf" srcId="{CBFBF310-FC9D-4470-BA7B-4A7402B138A2}" destId="{F4F491F2-8310-4EDC-83BE-3E4CB6BFF77F}" srcOrd="0" destOrd="3" presId="urn:microsoft.com/office/officeart/2005/8/layout/vList2"/>
    <dgm:cxn modelId="{43222D16-6B11-4388-938B-92C08522F78B}" type="presOf" srcId="{13F31CE6-4B8A-4B33-BC21-ECB8629D6650}" destId="{F4F491F2-8310-4EDC-83BE-3E4CB6BFF77F}" srcOrd="0" destOrd="1" presId="urn:microsoft.com/office/officeart/2005/8/layout/vList2"/>
    <dgm:cxn modelId="{C32B2822-F8EF-4077-9EBE-527BFFD0740F}" type="presOf" srcId="{4EE5749F-4CB1-4F27-BF5F-F9070ABC4C18}" destId="{F4F491F2-8310-4EDC-83BE-3E4CB6BFF77F}" srcOrd="0" destOrd="4"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B9839248-428D-4241-89E9-C929A6E3B156}" srcId="{53D7EFAD-9D69-4131-B665-D784611009F2}" destId="{CBFBF310-FC9D-4470-BA7B-4A7402B138A2}" srcOrd="3" destOrd="0" parTransId="{F721AD24-B4BA-404C-90EA-2FFA641C3152}" sibTransId="{4EFFFB34-1AE6-4F32-B87F-DB49B0D76E37}"/>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5D8139B3-F54E-4B67-A4E2-FE4A4873F2E3}" srcId="{53D7EFAD-9D69-4131-B665-D784611009F2}" destId="{13F31CE6-4B8A-4B33-BC21-ECB8629D6650}" srcOrd="1" destOrd="0" parTransId="{6C9D25EF-0717-405A-8F9F-81F0EB907BEB}" sibTransId="{2BFFDF0D-2D01-42C9-9A82-C51D9EF7DCBC}"/>
    <dgm:cxn modelId="{65520CBD-22DB-4683-909D-9F25C21B1F87}" srcId="{2F32B127-5802-4115-98D9-1D04E4767F15}" destId="{53D7EFAD-9D69-4131-B665-D784611009F2}" srcOrd="0" destOrd="0" parTransId="{667211BE-884C-4748-9590-BCA1EAA647FD}" sibTransId="{1E2345BE-2458-4C6F-BC98-B5B3F86981E7}"/>
    <dgm:cxn modelId="{7E082ADD-1333-44BD-8F8C-4D432B18093B}" srcId="{53D7EFAD-9D69-4131-B665-D784611009F2}" destId="{4EE5749F-4CB1-4F27-BF5F-F9070ABC4C18}" srcOrd="4" destOrd="0" parTransId="{55DA12DE-5798-42B0-BC89-C01946CE1AEF}" sibTransId="{D1DF7E24-3EB9-408A-8E58-F86CB0A5CD9D}"/>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25C45E-BF54-4D39-8AAC-59D7EFDA2249}"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n-US"/>
        </a:p>
      </dgm:t>
    </dgm:pt>
    <dgm:pt modelId="{84259B64-D449-4506-B16C-4B2E98C146E1}">
      <dgm:prSet phldrT="[Text]"/>
      <dgm:spPr/>
      <dgm:t>
        <a:bodyPr/>
        <a:lstStyle/>
        <a:p>
          <a:r>
            <a:rPr lang="en-US" dirty="0"/>
            <a:t>Code generation in Notebooks</a:t>
          </a:r>
        </a:p>
      </dgm:t>
    </dgm:pt>
    <dgm:pt modelId="{EE836284-7D04-4AA3-8460-E7D9D985F4A0}" type="parTrans" cxnId="{7DAEC801-395C-45E6-B680-3FADC075350C}">
      <dgm:prSet/>
      <dgm:spPr/>
      <dgm:t>
        <a:bodyPr/>
        <a:lstStyle/>
        <a:p>
          <a:endParaRPr lang="en-US"/>
        </a:p>
      </dgm:t>
    </dgm:pt>
    <dgm:pt modelId="{264B78FD-6F5B-45BD-B5FE-3762B9D9766B}" type="sibTrans" cxnId="{7DAEC801-395C-45E6-B680-3FADC075350C}">
      <dgm:prSet/>
      <dgm:spPr/>
      <dgm:t>
        <a:bodyPr/>
        <a:lstStyle/>
        <a:p>
          <a:endParaRPr lang="en-US"/>
        </a:p>
      </dgm:t>
    </dgm:pt>
    <dgm:pt modelId="{B2B2D7C4-3228-4E8A-9A62-6E79A1AF2EAA}">
      <dgm:prSet phldrT="[Text]"/>
      <dgm:spPr/>
      <dgm:t>
        <a:bodyPr/>
        <a:lstStyle/>
        <a:p>
          <a:r>
            <a:rPr lang="en-US" dirty="0"/>
            <a:t>Import wizards</a:t>
          </a:r>
        </a:p>
      </dgm:t>
    </dgm:pt>
    <dgm:pt modelId="{271B5695-4839-40CF-8C44-18AFDFAF6986}" type="parTrans" cxnId="{6ECD6AB7-55AD-4B21-B16C-1F6FF5C38E92}">
      <dgm:prSet/>
      <dgm:spPr/>
      <dgm:t>
        <a:bodyPr/>
        <a:lstStyle/>
        <a:p>
          <a:endParaRPr lang="en-US"/>
        </a:p>
      </dgm:t>
    </dgm:pt>
    <dgm:pt modelId="{54F6D2F7-0A40-41BA-A200-EDD0E6A87ED7}" type="sibTrans" cxnId="{6ECD6AB7-55AD-4B21-B16C-1F6FF5C38E92}">
      <dgm:prSet/>
      <dgm:spPr/>
      <dgm:t>
        <a:bodyPr/>
        <a:lstStyle/>
        <a:p>
          <a:endParaRPr lang="en-US"/>
        </a:p>
      </dgm:t>
    </dgm:pt>
    <dgm:pt modelId="{C00BBE85-F204-46C2-9B9F-1FCCC32E4655}">
      <dgm:prSet phldrT="[Text]"/>
      <dgm:spPr/>
      <dgm:t>
        <a:bodyPr/>
        <a:lstStyle/>
        <a:p>
          <a:r>
            <a:rPr lang="en-US" dirty="0"/>
            <a:t>External Table detection for HDFS</a:t>
          </a:r>
        </a:p>
      </dgm:t>
    </dgm:pt>
    <dgm:pt modelId="{6644815E-74D1-4A2E-B292-0E1548DC8649}" type="parTrans" cxnId="{B8EAA869-E4EF-4DF0-8BB4-EBC4A4B78279}">
      <dgm:prSet/>
      <dgm:spPr/>
      <dgm:t>
        <a:bodyPr/>
        <a:lstStyle/>
        <a:p>
          <a:endParaRPr lang="en-US"/>
        </a:p>
      </dgm:t>
    </dgm:pt>
    <dgm:pt modelId="{A9A83669-6177-49E7-AF90-B0FF8FC20694}" type="sibTrans" cxnId="{B8EAA869-E4EF-4DF0-8BB4-EBC4A4B78279}">
      <dgm:prSet/>
      <dgm:spPr/>
      <dgm:t>
        <a:bodyPr/>
        <a:lstStyle/>
        <a:p>
          <a:endParaRPr lang="en-US"/>
        </a:p>
      </dgm:t>
    </dgm:pt>
    <dgm:pt modelId="{6C03B221-73CB-4AE4-8F32-32FDB85BECE7}" type="pres">
      <dgm:prSet presAssocID="{1E25C45E-BF54-4D39-8AAC-59D7EFDA2249}" presName="diagram" presStyleCnt="0">
        <dgm:presLayoutVars>
          <dgm:dir/>
          <dgm:resizeHandles val="exact"/>
        </dgm:presLayoutVars>
      </dgm:prSet>
      <dgm:spPr/>
    </dgm:pt>
    <dgm:pt modelId="{B0B14557-D145-44CE-AA9D-CF510C83A62E}" type="pres">
      <dgm:prSet presAssocID="{84259B64-D449-4506-B16C-4B2E98C146E1}" presName="node" presStyleLbl="node1" presStyleIdx="0" presStyleCnt="3">
        <dgm:presLayoutVars>
          <dgm:bulletEnabled val="1"/>
        </dgm:presLayoutVars>
      </dgm:prSet>
      <dgm:spPr/>
    </dgm:pt>
    <dgm:pt modelId="{FFA68533-7FA6-467A-A15C-ACC7DC0B11A2}" type="pres">
      <dgm:prSet presAssocID="{264B78FD-6F5B-45BD-B5FE-3762B9D9766B}" presName="sibTrans" presStyleCnt="0"/>
      <dgm:spPr/>
    </dgm:pt>
    <dgm:pt modelId="{49EC0BD5-D2A4-4328-9E0C-2D2BE22B5F17}" type="pres">
      <dgm:prSet presAssocID="{B2B2D7C4-3228-4E8A-9A62-6E79A1AF2EAA}" presName="node" presStyleLbl="node1" presStyleIdx="1" presStyleCnt="3">
        <dgm:presLayoutVars>
          <dgm:bulletEnabled val="1"/>
        </dgm:presLayoutVars>
      </dgm:prSet>
      <dgm:spPr/>
    </dgm:pt>
    <dgm:pt modelId="{B1028F22-FC4B-413D-ABE7-05104A89B403}" type="pres">
      <dgm:prSet presAssocID="{54F6D2F7-0A40-41BA-A200-EDD0E6A87ED7}" presName="sibTrans" presStyleCnt="0"/>
      <dgm:spPr/>
    </dgm:pt>
    <dgm:pt modelId="{CB2D3F6D-CFB3-42FD-AA44-03959C982C2A}" type="pres">
      <dgm:prSet presAssocID="{C00BBE85-F204-46C2-9B9F-1FCCC32E4655}" presName="node" presStyleLbl="node1" presStyleIdx="2" presStyleCnt="3">
        <dgm:presLayoutVars>
          <dgm:bulletEnabled val="1"/>
        </dgm:presLayoutVars>
      </dgm:prSet>
      <dgm:spPr/>
    </dgm:pt>
  </dgm:ptLst>
  <dgm:cxnLst>
    <dgm:cxn modelId="{7DAEC801-395C-45E6-B680-3FADC075350C}" srcId="{1E25C45E-BF54-4D39-8AAC-59D7EFDA2249}" destId="{84259B64-D449-4506-B16C-4B2E98C146E1}" srcOrd="0" destOrd="0" parTransId="{EE836284-7D04-4AA3-8460-E7D9D985F4A0}" sibTransId="{264B78FD-6F5B-45BD-B5FE-3762B9D9766B}"/>
    <dgm:cxn modelId="{AFD5035F-CA52-4DC8-AE55-20870ABA043C}" type="presOf" srcId="{84259B64-D449-4506-B16C-4B2E98C146E1}" destId="{B0B14557-D145-44CE-AA9D-CF510C83A62E}" srcOrd="0" destOrd="0" presId="urn:microsoft.com/office/officeart/2005/8/layout/default"/>
    <dgm:cxn modelId="{B8EAA869-E4EF-4DF0-8BB4-EBC4A4B78279}" srcId="{1E25C45E-BF54-4D39-8AAC-59D7EFDA2249}" destId="{C00BBE85-F204-46C2-9B9F-1FCCC32E4655}" srcOrd="2" destOrd="0" parTransId="{6644815E-74D1-4A2E-B292-0E1548DC8649}" sibTransId="{A9A83669-6177-49E7-AF90-B0FF8FC20694}"/>
    <dgm:cxn modelId="{BAACD577-4629-4000-9DF1-BE17409CA6A6}" type="presOf" srcId="{1E25C45E-BF54-4D39-8AAC-59D7EFDA2249}" destId="{6C03B221-73CB-4AE4-8F32-32FDB85BECE7}" srcOrd="0" destOrd="0" presId="urn:microsoft.com/office/officeart/2005/8/layout/default"/>
    <dgm:cxn modelId="{0AC1E959-EC89-4536-908A-7E6EA0AFF888}" type="presOf" srcId="{B2B2D7C4-3228-4E8A-9A62-6E79A1AF2EAA}" destId="{49EC0BD5-D2A4-4328-9E0C-2D2BE22B5F17}" srcOrd="0" destOrd="0" presId="urn:microsoft.com/office/officeart/2005/8/layout/default"/>
    <dgm:cxn modelId="{AF446CA9-8C7E-48E6-89F6-48F970A1A2AA}" type="presOf" srcId="{C00BBE85-F204-46C2-9B9F-1FCCC32E4655}" destId="{CB2D3F6D-CFB3-42FD-AA44-03959C982C2A}" srcOrd="0" destOrd="0" presId="urn:microsoft.com/office/officeart/2005/8/layout/default"/>
    <dgm:cxn modelId="{6ECD6AB7-55AD-4B21-B16C-1F6FF5C38E92}" srcId="{1E25C45E-BF54-4D39-8AAC-59D7EFDA2249}" destId="{B2B2D7C4-3228-4E8A-9A62-6E79A1AF2EAA}" srcOrd="1" destOrd="0" parTransId="{271B5695-4839-40CF-8C44-18AFDFAF6986}" sibTransId="{54F6D2F7-0A40-41BA-A200-EDD0E6A87ED7}"/>
    <dgm:cxn modelId="{5E2737BD-6C5C-4D50-911D-A68F53EF0407}" type="presParOf" srcId="{6C03B221-73CB-4AE4-8F32-32FDB85BECE7}" destId="{B0B14557-D145-44CE-AA9D-CF510C83A62E}" srcOrd="0" destOrd="0" presId="urn:microsoft.com/office/officeart/2005/8/layout/default"/>
    <dgm:cxn modelId="{7792970A-27FE-4BEE-B7E1-2E084A099FB4}" type="presParOf" srcId="{6C03B221-73CB-4AE4-8F32-32FDB85BECE7}" destId="{FFA68533-7FA6-467A-A15C-ACC7DC0B11A2}" srcOrd="1" destOrd="0" presId="urn:microsoft.com/office/officeart/2005/8/layout/default"/>
    <dgm:cxn modelId="{2B792F78-AB01-4674-AADC-F39520383445}" type="presParOf" srcId="{6C03B221-73CB-4AE4-8F32-32FDB85BECE7}" destId="{49EC0BD5-D2A4-4328-9E0C-2D2BE22B5F17}" srcOrd="2" destOrd="0" presId="urn:microsoft.com/office/officeart/2005/8/layout/default"/>
    <dgm:cxn modelId="{63D0C5F9-442F-477E-9928-FC3DCC5D105B}" type="presParOf" srcId="{6C03B221-73CB-4AE4-8F32-32FDB85BECE7}" destId="{B1028F22-FC4B-413D-ABE7-05104A89B403}" srcOrd="3" destOrd="0" presId="urn:microsoft.com/office/officeart/2005/8/layout/default"/>
    <dgm:cxn modelId="{4AAF71E2-E98E-4B26-806D-57D0527A3115}" type="presParOf" srcId="{6C03B221-73CB-4AE4-8F32-32FDB85BECE7}" destId="{CB2D3F6D-CFB3-42FD-AA44-03959C982C2A}"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B0AF477-21C1-4225-80FC-615A38AF5160}"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F1C2EF93-A089-400B-A96F-EBDC7B2EC143}">
      <dgm:prSet phldrT="[Text]" custT="1"/>
      <dgm:spPr/>
      <dgm:t>
        <a:bodyPr/>
        <a:lstStyle/>
        <a:p>
          <a:r>
            <a:rPr lang="en-US" sz="2800" dirty="0"/>
            <a:t>Stop certifying for any given platform (Cloud, on-prem)!</a:t>
          </a:r>
        </a:p>
      </dgm:t>
    </dgm:pt>
    <dgm:pt modelId="{8D7BE4CD-C3D7-4058-B251-2A8078B12227}" type="parTrans" cxnId="{D9E0114C-208F-4DE0-9D28-915EE061A71B}">
      <dgm:prSet/>
      <dgm:spPr/>
      <dgm:t>
        <a:bodyPr/>
        <a:lstStyle/>
        <a:p>
          <a:endParaRPr lang="en-US"/>
        </a:p>
      </dgm:t>
    </dgm:pt>
    <dgm:pt modelId="{31D77C5E-E115-4A69-B462-3EED625EEB2E}" type="sibTrans" cxnId="{D9E0114C-208F-4DE0-9D28-915EE061A71B}">
      <dgm:prSet/>
      <dgm:spPr/>
      <dgm:t>
        <a:bodyPr/>
        <a:lstStyle/>
        <a:p>
          <a:endParaRPr lang="en-US"/>
        </a:p>
      </dgm:t>
    </dgm:pt>
    <dgm:pt modelId="{15B8B901-7617-4691-A72C-7F75BC46FF1E}">
      <dgm:prSet custT="1"/>
      <dgm:spPr/>
      <dgm:t>
        <a:bodyPr/>
        <a:lstStyle/>
        <a:p>
          <a:r>
            <a:rPr lang="en-US" sz="2800" dirty="0"/>
            <a:t>Stop certifying for a named SQL Server version!</a:t>
          </a:r>
        </a:p>
      </dgm:t>
    </dgm:pt>
    <dgm:pt modelId="{B456C6DE-4F89-4FF8-AD50-6EF32072241A}" type="parTrans" cxnId="{3AD2B214-D704-41C1-9C5C-EB7FB983464D}">
      <dgm:prSet/>
      <dgm:spPr/>
      <dgm:t>
        <a:bodyPr/>
        <a:lstStyle/>
        <a:p>
          <a:endParaRPr lang="en-US"/>
        </a:p>
      </dgm:t>
    </dgm:pt>
    <dgm:pt modelId="{3C501626-9B94-4D8B-B2FB-BB862C4209C4}" type="sibTrans" cxnId="{3AD2B214-D704-41C1-9C5C-EB7FB983464D}">
      <dgm:prSet/>
      <dgm:spPr/>
      <dgm:t>
        <a:bodyPr/>
        <a:lstStyle/>
        <a:p>
          <a:endParaRPr lang="en-US"/>
        </a:p>
      </dgm:t>
    </dgm:pt>
    <dgm:pt modelId="{32FB442F-F4C3-4E4D-8107-7CCD3F1C6255}" type="pres">
      <dgm:prSet presAssocID="{2B0AF477-21C1-4225-80FC-615A38AF5160}" presName="layout" presStyleCnt="0">
        <dgm:presLayoutVars>
          <dgm:chMax/>
          <dgm:chPref/>
          <dgm:dir/>
          <dgm:animOne val="branch"/>
          <dgm:animLvl val="lvl"/>
          <dgm:resizeHandles/>
        </dgm:presLayoutVars>
      </dgm:prSet>
      <dgm:spPr/>
    </dgm:pt>
    <dgm:pt modelId="{1BF35792-2A86-412A-89A8-9A8D9D4BD3BF}" type="pres">
      <dgm:prSet presAssocID="{F1C2EF93-A089-400B-A96F-EBDC7B2EC143}" presName="root" presStyleCnt="0">
        <dgm:presLayoutVars>
          <dgm:chMax/>
          <dgm:chPref val="4"/>
        </dgm:presLayoutVars>
      </dgm:prSet>
      <dgm:spPr/>
    </dgm:pt>
    <dgm:pt modelId="{CAB5E5C6-F1F7-4981-805D-955E98F091E0}" type="pres">
      <dgm:prSet presAssocID="{F1C2EF93-A089-400B-A96F-EBDC7B2EC143}" presName="rootComposite" presStyleCnt="0">
        <dgm:presLayoutVars/>
      </dgm:prSet>
      <dgm:spPr/>
    </dgm:pt>
    <dgm:pt modelId="{902E34D9-7EEA-4599-BB0A-67C67AFD7EE0}" type="pres">
      <dgm:prSet presAssocID="{F1C2EF93-A089-400B-A96F-EBDC7B2EC143}" presName="rootText" presStyleLbl="node0" presStyleIdx="0" presStyleCnt="2" custScaleY="337975">
        <dgm:presLayoutVars>
          <dgm:chMax/>
          <dgm:chPref val="4"/>
        </dgm:presLayoutVars>
      </dgm:prSet>
      <dgm:spPr/>
    </dgm:pt>
    <dgm:pt modelId="{F07C932F-8EA7-40CF-BF8C-E9EE9E0C870A}" type="pres">
      <dgm:prSet presAssocID="{F1C2EF93-A089-400B-A96F-EBDC7B2EC143}" presName="childShape" presStyleCnt="0">
        <dgm:presLayoutVars>
          <dgm:chMax val="0"/>
          <dgm:chPref val="0"/>
        </dgm:presLayoutVars>
      </dgm:prSet>
      <dgm:spPr/>
    </dgm:pt>
    <dgm:pt modelId="{9B9ABCA6-A538-412A-906A-9512D7D70F6F}" type="pres">
      <dgm:prSet presAssocID="{15B8B901-7617-4691-A72C-7F75BC46FF1E}" presName="root" presStyleCnt="0">
        <dgm:presLayoutVars>
          <dgm:chMax/>
          <dgm:chPref val="4"/>
        </dgm:presLayoutVars>
      </dgm:prSet>
      <dgm:spPr/>
    </dgm:pt>
    <dgm:pt modelId="{F2CE4E4C-8DE5-469B-AF5E-C7C9EC6E70CB}" type="pres">
      <dgm:prSet presAssocID="{15B8B901-7617-4691-A72C-7F75BC46FF1E}" presName="rootComposite" presStyleCnt="0">
        <dgm:presLayoutVars/>
      </dgm:prSet>
      <dgm:spPr/>
    </dgm:pt>
    <dgm:pt modelId="{229EBB6B-392D-43F2-BB82-99F540E131C7}" type="pres">
      <dgm:prSet presAssocID="{15B8B901-7617-4691-A72C-7F75BC46FF1E}" presName="rootText" presStyleLbl="node0" presStyleIdx="1" presStyleCnt="2" custScaleY="347299">
        <dgm:presLayoutVars>
          <dgm:chMax/>
          <dgm:chPref val="4"/>
        </dgm:presLayoutVars>
      </dgm:prSet>
      <dgm:spPr/>
    </dgm:pt>
    <dgm:pt modelId="{8C7A5028-FBC7-4516-A8A4-24CE2583A449}" type="pres">
      <dgm:prSet presAssocID="{15B8B901-7617-4691-A72C-7F75BC46FF1E}" presName="childShape" presStyleCnt="0">
        <dgm:presLayoutVars>
          <dgm:chMax val="0"/>
          <dgm:chPref val="0"/>
        </dgm:presLayoutVars>
      </dgm:prSet>
      <dgm:spPr/>
    </dgm:pt>
  </dgm:ptLst>
  <dgm:cxnLst>
    <dgm:cxn modelId="{DD28FE08-6B8E-4FA0-A023-5FEB385E764E}" type="presOf" srcId="{2B0AF477-21C1-4225-80FC-615A38AF5160}" destId="{32FB442F-F4C3-4E4D-8107-7CCD3F1C6255}" srcOrd="0" destOrd="0" presId="urn:microsoft.com/office/officeart/2008/layout/PictureAccentList"/>
    <dgm:cxn modelId="{3AD2B214-D704-41C1-9C5C-EB7FB983464D}" srcId="{2B0AF477-21C1-4225-80FC-615A38AF5160}" destId="{15B8B901-7617-4691-A72C-7F75BC46FF1E}" srcOrd="1" destOrd="0" parTransId="{B456C6DE-4F89-4FF8-AD50-6EF32072241A}" sibTransId="{3C501626-9B94-4D8B-B2FB-BB862C4209C4}"/>
    <dgm:cxn modelId="{D9E0114C-208F-4DE0-9D28-915EE061A71B}" srcId="{2B0AF477-21C1-4225-80FC-615A38AF5160}" destId="{F1C2EF93-A089-400B-A96F-EBDC7B2EC143}" srcOrd="0" destOrd="0" parTransId="{8D7BE4CD-C3D7-4058-B251-2A8078B12227}" sibTransId="{31D77C5E-E115-4A69-B462-3EED625EEB2E}"/>
    <dgm:cxn modelId="{F0973257-81CD-4EF6-ADD8-243040ABBE6E}" type="presOf" srcId="{F1C2EF93-A089-400B-A96F-EBDC7B2EC143}" destId="{902E34D9-7EEA-4599-BB0A-67C67AFD7EE0}" srcOrd="0" destOrd="0" presId="urn:microsoft.com/office/officeart/2008/layout/PictureAccentList"/>
    <dgm:cxn modelId="{997AD37C-7CD0-4EFF-ABF3-B267CD3BF208}" type="presOf" srcId="{15B8B901-7617-4691-A72C-7F75BC46FF1E}" destId="{229EBB6B-392D-43F2-BB82-99F540E131C7}" srcOrd="0" destOrd="0" presId="urn:microsoft.com/office/officeart/2008/layout/PictureAccentList"/>
    <dgm:cxn modelId="{54C96927-DE37-45B2-9B5E-157E5804E85A}" type="presParOf" srcId="{32FB442F-F4C3-4E4D-8107-7CCD3F1C6255}" destId="{1BF35792-2A86-412A-89A8-9A8D9D4BD3BF}" srcOrd="0" destOrd="0" presId="urn:microsoft.com/office/officeart/2008/layout/PictureAccentList"/>
    <dgm:cxn modelId="{B133DA06-DFC4-4C8B-BB9E-0B4684A882F4}" type="presParOf" srcId="{1BF35792-2A86-412A-89A8-9A8D9D4BD3BF}" destId="{CAB5E5C6-F1F7-4981-805D-955E98F091E0}" srcOrd="0" destOrd="0" presId="urn:microsoft.com/office/officeart/2008/layout/PictureAccentList"/>
    <dgm:cxn modelId="{B004209F-A0A2-49EB-82C3-499DBF3F22AC}" type="presParOf" srcId="{CAB5E5C6-F1F7-4981-805D-955E98F091E0}" destId="{902E34D9-7EEA-4599-BB0A-67C67AFD7EE0}" srcOrd="0" destOrd="0" presId="urn:microsoft.com/office/officeart/2008/layout/PictureAccentList"/>
    <dgm:cxn modelId="{625D174A-7A70-4753-90E1-8D70C08840C1}" type="presParOf" srcId="{1BF35792-2A86-412A-89A8-9A8D9D4BD3BF}" destId="{F07C932F-8EA7-40CF-BF8C-E9EE9E0C870A}" srcOrd="1" destOrd="0" presId="urn:microsoft.com/office/officeart/2008/layout/PictureAccentList"/>
    <dgm:cxn modelId="{1B5BB173-7613-411F-9C3A-2BED4BB93723}" type="presParOf" srcId="{32FB442F-F4C3-4E4D-8107-7CCD3F1C6255}" destId="{9B9ABCA6-A538-412A-906A-9512D7D70F6F}" srcOrd="1" destOrd="0" presId="urn:microsoft.com/office/officeart/2008/layout/PictureAccentList"/>
    <dgm:cxn modelId="{159F4DEE-088D-49C0-9659-453A6B46C4B6}" type="presParOf" srcId="{9B9ABCA6-A538-412A-906A-9512D7D70F6F}" destId="{F2CE4E4C-8DE5-469B-AF5E-C7C9EC6E70CB}" srcOrd="0" destOrd="0" presId="urn:microsoft.com/office/officeart/2008/layout/PictureAccentList"/>
    <dgm:cxn modelId="{5D3EFA17-C306-4E9A-9FA8-19C74BBA3BF3}" type="presParOf" srcId="{F2CE4E4C-8DE5-469B-AF5E-C7C9EC6E70CB}" destId="{229EBB6B-392D-43F2-BB82-99F540E131C7}" srcOrd="0" destOrd="0" presId="urn:microsoft.com/office/officeart/2008/layout/PictureAccentList"/>
    <dgm:cxn modelId="{78612D2A-3100-4508-949A-AFEA239E8AE7}" type="presParOf" srcId="{9B9ABCA6-A538-412A-906A-9512D7D70F6F}" destId="{8C7A5028-FBC7-4516-A8A4-24CE2583A449}"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2B3803A-C0BC-46FC-AB28-7C6A1374E26C}" type="doc">
      <dgm:prSet loTypeId="urn:microsoft.com/office/officeart/2005/8/layout/hierarchy4" loCatId="list" qsTypeId="urn:microsoft.com/office/officeart/2005/8/quickstyle/simple1" qsCatId="simple" csTypeId="urn:microsoft.com/office/officeart/2005/8/colors/colorful1" csCatId="colorful" phldr="1"/>
      <dgm:spPr/>
      <dgm:t>
        <a:bodyPr/>
        <a:lstStyle/>
        <a:p>
          <a:endParaRPr lang="en-US"/>
        </a:p>
      </dgm:t>
    </dgm:pt>
    <dgm:pt modelId="{99041CE6-90C1-41C8-A0C2-C8030376833C}">
      <dgm:prSet phldrT="[Text]"/>
      <dgm:spPr/>
      <dgm:t>
        <a:bodyPr/>
        <a:lstStyle/>
        <a:p>
          <a:r>
            <a:rPr lang="en-US" dirty="0"/>
            <a:t>Microsoft Database Compatibility Level </a:t>
          </a:r>
          <a:r>
            <a:rPr lang="en-US" u="sng" dirty="0"/>
            <a:t>Protection</a:t>
          </a:r>
          <a:endParaRPr lang="en-US" dirty="0"/>
        </a:p>
      </dgm:t>
    </dgm:pt>
    <dgm:pt modelId="{90D94BA8-3036-449A-8C11-AAE6FDA2EB34}" type="parTrans" cxnId="{3720A8ED-E3FB-4324-B0B9-2F05AE591D30}">
      <dgm:prSet/>
      <dgm:spPr/>
      <dgm:t>
        <a:bodyPr/>
        <a:lstStyle/>
        <a:p>
          <a:endParaRPr lang="en-US"/>
        </a:p>
      </dgm:t>
    </dgm:pt>
    <dgm:pt modelId="{A5915128-9DDD-4630-AFC5-951A008884D3}" type="sibTrans" cxnId="{3720A8ED-E3FB-4324-B0B9-2F05AE591D30}">
      <dgm:prSet/>
      <dgm:spPr/>
      <dgm:t>
        <a:bodyPr/>
        <a:lstStyle/>
        <a:p>
          <a:endParaRPr lang="en-US"/>
        </a:p>
      </dgm:t>
    </dgm:pt>
    <dgm:pt modelId="{12D9C702-DB8A-47FF-A198-602EBC10A9DD}">
      <dgm:prSet/>
      <dgm:spPr/>
      <dgm:t>
        <a:bodyPr/>
        <a:lstStyle/>
        <a:p>
          <a:r>
            <a:rPr lang="en-US" dirty="0"/>
            <a:t>Full Functional protection once assessment tools runs clean with no errors.</a:t>
          </a:r>
        </a:p>
      </dgm:t>
    </dgm:pt>
    <dgm:pt modelId="{E21B152A-3766-4BA2-8A15-B1C321545E71}" type="parTrans" cxnId="{FF4FC9DD-CA3C-4326-A572-4173F4EC30E8}">
      <dgm:prSet/>
      <dgm:spPr/>
      <dgm:t>
        <a:bodyPr/>
        <a:lstStyle/>
        <a:p>
          <a:endParaRPr lang="en-US"/>
        </a:p>
      </dgm:t>
    </dgm:pt>
    <dgm:pt modelId="{C36239B0-267A-470A-AB0A-5CB632DD6C44}" type="sibTrans" cxnId="{FF4FC9DD-CA3C-4326-A572-4173F4EC30E8}">
      <dgm:prSet/>
      <dgm:spPr/>
      <dgm:t>
        <a:bodyPr/>
        <a:lstStyle/>
        <a:p>
          <a:endParaRPr lang="en-US"/>
        </a:p>
      </dgm:t>
    </dgm:pt>
    <dgm:pt modelId="{B58C766D-9888-403E-B5AE-1DDAAB1D77C7}">
      <dgm:prSet/>
      <dgm:spPr/>
      <dgm:t>
        <a:bodyPr/>
        <a:lstStyle/>
        <a:p>
          <a:r>
            <a:rPr lang="en-US" dirty="0"/>
            <a:t>Query Plan shape protection on comparable hardware.</a:t>
          </a:r>
        </a:p>
      </dgm:t>
    </dgm:pt>
    <dgm:pt modelId="{361C4EDD-C8D8-4B25-A8F7-A1731E1C03AC}" type="parTrans" cxnId="{9D53DC4E-9AF6-483E-AA73-9B5E6A562B86}">
      <dgm:prSet/>
      <dgm:spPr/>
      <dgm:t>
        <a:bodyPr/>
        <a:lstStyle/>
        <a:p>
          <a:endParaRPr lang="en-US"/>
        </a:p>
      </dgm:t>
    </dgm:pt>
    <dgm:pt modelId="{C49F5508-3CA9-4E19-8A93-4900267276DE}" type="sibTrans" cxnId="{9D53DC4E-9AF6-483E-AA73-9B5E6A562B86}">
      <dgm:prSet/>
      <dgm:spPr/>
      <dgm:t>
        <a:bodyPr/>
        <a:lstStyle/>
        <a:p>
          <a:endParaRPr lang="en-US"/>
        </a:p>
      </dgm:t>
    </dgm:pt>
    <dgm:pt modelId="{3E1D04A1-5E7F-4422-828C-C09B4A14D9E8}">
      <dgm:prSet/>
      <dgm:spPr/>
      <dgm:t>
        <a:bodyPr/>
        <a:lstStyle/>
        <a:p>
          <a:r>
            <a:rPr lang="en-US" dirty="0"/>
            <a:t>Maintaining backward compatibility is very important to SQL Server team.</a:t>
          </a:r>
        </a:p>
      </dgm:t>
    </dgm:pt>
    <dgm:pt modelId="{ACEC7677-C1CB-443D-A836-F4936A3F0F31}" type="parTrans" cxnId="{175BCF90-9645-4113-A06B-53846835EFDC}">
      <dgm:prSet/>
      <dgm:spPr/>
      <dgm:t>
        <a:bodyPr/>
        <a:lstStyle/>
        <a:p>
          <a:endParaRPr lang="en-US"/>
        </a:p>
      </dgm:t>
    </dgm:pt>
    <dgm:pt modelId="{0263CD6F-B3FC-4539-964E-A5B9501B556A}" type="sibTrans" cxnId="{175BCF90-9645-4113-A06B-53846835EFDC}">
      <dgm:prSet/>
      <dgm:spPr/>
      <dgm:t>
        <a:bodyPr/>
        <a:lstStyle/>
        <a:p>
          <a:endParaRPr lang="en-US"/>
        </a:p>
      </dgm:t>
    </dgm:pt>
    <dgm:pt modelId="{7B6EB133-E965-4DA1-AEDA-9F56B19073FB}" type="pres">
      <dgm:prSet presAssocID="{42B3803A-C0BC-46FC-AB28-7C6A1374E26C}" presName="Name0" presStyleCnt="0">
        <dgm:presLayoutVars>
          <dgm:chPref val="1"/>
          <dgm:dir/>
          <dgm:animOne val="branch"/>
          <dgm:animLvl val="lvl"/>
          <dgm:resizeHandles/>
        </dgm:presLayoutVars>
      </dgm:prSet>
      <dgm:spPr/>
    </dgm:pt>
    <dgm:pt modelId="{9DEAF91D-988B-436A-B4AD-0FA38680801F}" type="pres">
      <dgm:prSet presAssocID="{99041CE6-90C1-41C8-A0C2-C8030376833C}" presName="vertOne" presStyleCnt="0"/>
      <dgm:spPr/>
    </dgm:pt>
    <dgm:pt modelId="{0F131562-68F0-4B19-9C9B-11EDABF5C6C2}" type="pres">
      <dgm:prSet presAssocID="{99041CE6-90C1-41C8-A0C2-C8030376833C}" presName="txOne" presStyleLbl="node0" presStyleIdx="0" presStyleCnt="1" custScaleY="56530" custLinFactNeighborX="-13878" custLinFactNeighborY="-34886">
        <dgm:presLayoutVars>
          <dgm:chPref val="3"/>
        </dgm:presLayoutVars>
      </dgm:prSet>
      <dgm:spPr/>
    </dgm:pt>
    <dgm:pt modelId="{AB3CB3C0-8712-4BA4-81B8-87F9A0830E47}" type="pres">
      <dgm:prSet presAssocID="{99041CE6-90C1-41C8-A0C2-C8030376833C}" presName="parTransOne" presStyleCnt="0"/>
      <dgm:spPr/>
    </dgm:pt>
    <dgm:pt modelId="{90E14036-F607-48D2-8BB7-691FF71B9DDB}" type="pres">
      <dgm:prSet presAssocID="{99041CE6-90C1-41C8-A0C2-C8030376833C}" presName="horzOne" presStyleCnt="0"/>
      <dgm:spPr/>
    </dgm:pt>
    <dgm:pt modelId="{B6223322-94B2-4196-8422-7042F58D06B8}" type="pres">
      <dgm:prSet presAssocID="{12D9C702-DB8A-47FF-A198-602EBC10A9DD}" presName="vertTwo" presStyleCnt="0"/>
      <dgm:spPr/>
    </dgm:pt>
    <dgm:pt modelId="{BB60262A-7260-41EC-A300-83A70430AB88}" type="pres">
      <dgm:prSet presAssocID="{12D9C702-DB8A-47FF-A198-602EBC10A9DD}" presName="txTwo" presStyleLbl="node2" presStyleIdx="0" presStyleCnt="3">
        <dgm:presLayoutVars>
          <dgm:chPref val="3"/>
        </dgm:presLayoutVars>
      </dgm:prSet>
      <dgm:spPr/>
    </dgm:pt>
    <dgm:pt modelId="{55BC2CBB-6E25-40CC-9A8D-C06CE5B7F0A8}" type="pres">
      <dgm:prSet presAssocID="{12D9C702-DB8A-47FF-A198-602EBC10A9DD}" presName="horzTwo" presStyleCnt="0"/>
      <dgm:spPr/>
    </dgm:pt>
    <dgm:pt modelId="{287E28FA-D374-4A5D-A472-F229463CB04D}" type="pres">
      <dgm:prSet presAssocID="{C36239B0-267A-470A-AB0A-5CB632DD6C44}" presName="sibSpaceTwo" presStyleCnt="0"/>
      <dgm:spPr/>
    </dgm:pt>
    <dgm:pt modelId="{DA53B45B-5499-47F8-A556-0964BFD87D36}" type="pres">
      <dgm:prSet presAssocID="{B58C766D-9888-403E-B5AE-1DDAAB1D77C7}" presName="vertTwo" presStyleCnt="0"/>
      <dgm:spPr/>
    </dgm:pt>
    <dgm:pt modelId="{7818A2DF-6CC5-48A1-A1AD-474D3C9CEE83}" type="pres">
      <dgm:prSet presAssocID="{B58C766D-9888-403E-B5AE-1DDAAB1D77C7}" presName="txTwo" presStyleLbl="node2" presStyleIdx="1" presStyleCnt="3">
        <dgm:presLayoutVars>
          <dgm:chPref val="3"/>
        </dgm:presLayoutVars>
      </dgm:prSet>
      <dgm:spPr/>
    </dgm:pt>
    <dgm:pt modelId="{9B79251B-783E-491A-A9E5-F58B89F63EC8}" type="pres">
      <dgm:prSet presAssocID="{B58C766D-9888-403E-B5AE-1DDAAB1D77C7}" presName="horzTwo" presStyleCnt="0"/>
      <dgm:spPr/>
    </dgm:pt>
    <dgm:pt modelId="{FE2D0123-6B91-4B0E-A0EA-6AE9FCE6D574}" type="pres">
      <dgm:prSet presAssocID="{C49F5508-3CA9-4E19-8A93-4900267276DE}" presName="sibSpaceTwo" presStyleCnt="0"/>
      <dgm:spPr/>
    </dgm:pt>
    <dgm:pt modelId="{56A0D942-50A4-4348-9583-FC96137351ED}" type="pres">
      <dgm:prSet presAssocID="{3E1D04A1-5E7F-4422-828C-C09B4A14D9E8}" presName="vertTwo" presStyleCnt="0"/>
      <dgm:spPr/>
    </dgm:pt>
    <dgm:pt modelId="{3B92D154-099C-4BE2-9BB9-C48EC9DD153F}" type="pres">
      <dgm:prSet presAssocID="{3E1D04A1-5E7F-4422-828C-C09B4A14D9E8}" presName="txTwo" presStyleLbl="node2" presStyleIdx="2" presStyleCnt="3">
        <dgm:presLayoutVars>
          <dgm:chPref val="3"/>
        </dgm:presLayoutVars>
      </dgm:prSet>
      <dgm:spPr/>
    </dgm:pt>
    <dgm:pt modelId="{BB27141E-5621-4AB1-9F06-0F814C66E625}" type="pres">
      <dgm:prSet presAssocID="{3E1D04A1-5E7F-4422-828C-C09B4A14D9E8}" presName="horzTwo" presStyleCnt="0"/>
      <dgm:spPr/>
    </dgm:pt>
  </dgm:ptLst>
  <dgm:cxnLst>
    <dgm:cxn modelId="{D19C6C0F-6071-4D35-88D2-7DA633252AF9}" type="presOf" srcId="{3E1D04A1-5E7F-4422-828C-C09B4A14D9E8}" destId="{3B92D154-099C-4BE2-9BB9-C48EC9DD153F}" srcOrd="0" destOrd="0" presId="urn:microsoft.com/office/officeart/2005/8/layout/hierarchy4"/>
    <dgm:cxn modelId="{46818032-BA35-4235-BB2E-BB6751F92E86}" type="presOf" srcId="{B58C766D-9888-403E-B5AE-1DDAAB1D77C7}" destId="{7818A2DF-6CC5-48A1-A1AD-474D3C9CEE83}" srcOrd="0" destOrd="0" presId="urn:microsoft.com/office/officeart/2005/8/layout/hierarchy4"/>
    <dgm:cxn modelId="{EFE2EE32-C1A4-465C-9811-39200747025B}" type="presOf" srcId="{99041CE6-90C1-41C8-A0C2-C8030376833C}" destId="{0F131562-68F0-4B19-9C9B-11EDABF5C6C2}" srcOrd="0" destOrd="0" presId="urn:microsoft.com/office/officeart/2005/8/layout/hierarchy4"/>
    <dgm:cxn modelId="{9D53DC4E-9AF6-483E-AA73-9B5E6A562B86}" srcId="{99041CE6-90C1-41C8-A0C2-C8030376833C}" destId="{B58C766D-9888-403E-B5AE-1DDAAB1D77C7}" srcOrd="1" destOrd="0" parTransId="{361C4EDD-C8D8-4B25-A8F7-A1731E1C03AC}" sibTransId="{C49F5508-3CA9-4E19-8A93-4900267276DE}"/>
    <dgm:cxn modelId="{CCD2527F-CC1A-43B0-85AB-5C7AFA6D610E}" type="presOf" srcId="{12D9C702-DB8A-47FF-A198-602EBC10A9DD}" destId="{BB60262A-7260-41EC-A300-83A70430AB88}" srcOrd="0" destOrd="0" presId="urn:microsoft.com/office/officeart/2005/8/layout/hierarchy4"/>
    <dgm:cxn modelId="{5243DC87-BD8E-4D91-B59A-F1A624514EEB}" type="presOf" srcId="{42B3803A-C0BC-46FC-AB28-7C6A1374E26C}" destId="{7B6EB133-E965-4DA1-AEDA-9F56B19073FB}" srcOrd="0" destOrd="0" presId="urn:microsoft.com/office/officeart/2005/8/layout/hierarchy4"/>
    <dgm:cxn modelId="{175BCF90-9645-4113-A06B-53846835EFDC}" srcId="{99041CE6-90C1-41C8-A0C2-C8030376833C}" destId="{3E1D04A1-5E7F-4422-828C-C09B4A14D9E8}" srcOrd="2" destOrd="0" parTransId="{ACEC7677-C1CB-443D-A836-F4936A3F0F31}" sibTransId="{0263CD6F-B3FC-4539-964E-A5B9501B556A}"/>
    <dgm:cxn modelId="{FF4FC9DD-CA3C-4326-A572-4173F4EC30E8}" srcId="{99041CE6-90C1-41C8-A0C2-C8030376833C}" destId="{12D9C702-DB8A-47FF-A198-602EBC10A9DD}" srcOrd="0" destOrd="0" parTransId="{E21B152A-3766-4BA2-8A15-B1C321545E71}" sibTransId="{C36239B0-267A-470A-AB0A-5CB632DD6C44}"/>
    <dgm:cxn modelId="{3720A8ED-E3FB-4324-B0B9-2F05AE591D30}" srcId="{42B3803A-C0BC-46FC-AB28-7C6A1374E26C}" destId="{99041CE6-90C1-41C8-A0C2-C8030376833C}" srcOrd="0" destOrd="0" parTransId="{90D94BA8-3036-449A-8C11-AAE6FDA2EB34}" sibTransId="{A5915128-9DDD-4630-AFC5-951A008884D3}"/>
    <dgm:cxn modelId="{00F7E771-1A4F-4069-BBCA-09410F119D3C}" type="presParOf" srcId="{7B6EB133-E965-4DA1-AEDA-9F56B19073FB}" destId="{9DEAF91D-988B-436A-B4AD-0FA38680801F}" srcOrd="0" destOrd="0" presId="urn:microsoft.com/office/officeart/2005/8/layout/hierarchy4"/>
    <dgm:cxn modelId="{4ACE5188-FED3-418B-A070-033B33A58F09}" type="presParOf" srcId="{9DEAF91D-988B-436A-B4AD-0FA38680801F}" destId="{0F131562-68F0-4B19-9C9B-11EDABF5C6C2}" srcOrd="0" destOrd="0" presId="urn:microsoft.com/office/officeart/2005/8/layout/hierarchy4"/>
    <dgm:cxn modelId="{632148F2-B851-4009-849D-63A089183C10}" type="presParOf" srcId="{9DEAF91D-988B-436A-B4AD-0FA38680801F}" destId="{AB3CB3C0-8712-4BA4-81B8-87F9A0830E47}" srcOrd="1" destOrd="0" presId="urn:microsoft.com/office/officeart/2005/8/layout/hierarchy4"/>
    <dgm:cxn modelId="{85E55806-0320-45FA-BC7E-C8DA8764BFE7}" type="presParOf" srcId="{9DEAF91D-988B-436A-B4AD-0FA38680801F}" destId="{90E14036-F607-48D2-8BB7-691FF71B9DDB}" srcOrd="2" destOrd="0" presId="urn:microsoft.com/office/officeart/2005/8/layout/hierarchy4"/>
    <dgm:cxn modelId="{840303A4-5CFA-4EFD-8025-EFC8A8747B43}" type="presParOf" srcId="{90E14036-F607-48D2-8BB7-691FF71B9DDB}" destId="{B6223322-94B2-4196-8422-7042F58D06B8}" srcOrd="0" destOrd="0" presId="urn:microsoft.com/office/officeart/2005/8/layout/hierarchy4"/>
    <dgm:cxn modelId="{F20A9E2C-4405-4049-84A7-47C042C04F5F}" type="presParOf" srcId="{B6223322-94B2-4196-8422-7042F58D06B8}" destId="{BB60262A-7260-41EC-A300-83A70430AB88}" srcOrd="0" destOrd="0" presId="urn:microsoft.com/office/officeart/2005/8/layout/hierarchy4"/>
    <dgm:cxn modelId="{9C2F95F6-80C2-4662-9802-6ED667680258}" type="presParOf" srcId="{B6223322-94B2-4196-8422-7042F58D06B8}" destId="{55BC2CBB-6E25-40CC-9A8D-C06CE5B7F0A8}" srcOrd="1" destOrd="0" presId="urn:microsoft.com/office/officeart/2005/8/layout/hierarchy4"/>
    <dgm:cxn modelId="{B566995C-D5C2-4F78-8A6A-6814F636FD71}" type="presParOf" srcId="{90E14036-F607-48D2-8BB7-691FF71B9DDB}" destId="{287E28FA-D374-4A5D-A472-F229463CB04D}" srcOrd="1" destOrd="0" presId="urn:microsoft.com/office/officeart/2005/8/layout/hierarchy4"/>
    <dgm:cxn modelId="{8D8BF93C-A18F-44E7-A345-47BEA82FAF04}" type="presParOf" srcId="{90E14036-F607-48D2-8BB7-691FF71B9DDB}" destId="{DA53B45B-5499-47F8-A556-0964BFD87D36}" srcOrd="2" destOrd="0" presId="urn:microsoft.com/office/officeart/2005/8/layout/hierarchy4"/>
    <dgm:cxn modelId="{B688EC78-A849-48CB-9C9C-3240F25BBBED}" type="presParOf" srcId="{DA53B45B-5499-47F8-A556-0964BFD87D36}" destId="{7818A2DF-6CC5-48A1-A1AD-474D3C9CEE83}" srcOrd="0" destOrd="0" presId="urn:microsoft.com/office/officeart/2005/8/layout/hierarchy4"/>
    <dgm:cxn modelId="{4608DEE6-957D-4AEB-811E-0BBEE4B61DD9}" type="presParOf" srcId="{DA53B45B-5499-47F8-A556-0964BFD87D36}" destId="{9B79251B-783E-491A-A9E5-F58B89F63EC8}" srcOrd="1" destOrd="0" presId="urn:microsoft.com/office/officeart/2005/8/layout/hierarchy4"/>
    <dgm:cxn modelId="{D3CC74D2-B098-4992-BFCA-5D7E349FB592}" type="presParOf" srcId="{90E14036-F607-48D2-8BB7-691FF71B9DDB}" destId="{FE2D0123-6B91-4B0E-A0EA-6AE9FCE6D574}" srcOrd="3" destOrd="0" presId="urn:microsoft.com/office/officeart/2005/8/layout/hierarchy4"/>
    <dgm:cxn modelId="{EB7CA100-1FED-4BE2-9349-2655B94E3B79}" type="presParOf" srcId="{90E14036-F607-48D2-8BB7-691FF71B9DDB}" destId="{56A0D942-50A4-4348-9583-FC96137351ED}" srcOrd="4" destOrd="0" presId="urn:microsoft.com/office/officeart/2005/8/layout/hierarchy4"/>
    <dgm:cxn modelId="{4F2002BB-CED5-4FE4-8E89-447044FE5854}" type="presParOf" srcId="{56A0D942-50A4-4348-9583-FC96137351ED}" destId="{3B92D154-099C-4BE2-9BB9-C48EC9DD153F}" srcOrd="0" destOrd="0" presId="urn:microsoft.com/office/officeart/2005/8/layout/hierarchy4"/>
    <dgm:cxn modelId="{9FDD906B-4D86-468A-B6A1-7C8E25BCF1B5}" type="presParOf" srcId="{56A0D942-50A4-4348-9583-FC96137351ED}" destId="{BB27141E-5621-4AB1-9F06-0F814C66E625}"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QL Server 2016 SP1/2017</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Trace flag 7412</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EA30451F-2E86-4CBA-B89B-16CEF8F265BD}">
      <dgm:prSet phldrT="[Text]"/>
      <dgm:spPr/>
      <dgm:t>
        <a:bodyPr/>
        <a:lstStyle/>
        <a:p>
          <a:r>
            <a:rPr lang="en-US" dirty="0"/>
            <a:t>XEvent query_thread_profile</a:t>
          </a:r>
        </a:p>
      </dgm:t>
    </dgm:pt>
    <dgm:pt modelId="{12CF15AE-1DB7-4C13-BB09-D721E593EF4D}" type="parTrans" cxnId="{6E792C79-D258-4435-AB62-8380657896AB}">
      <dgm:prSet/>
      <dgm:spPr/>
      <dgm:t>
        <a:bodyPr/>
        <a:lstStyle/>
        <a:p>
          <a:endParaRPr lang="en-US"/>
        </a:p>
      </dgm:t>
    </dgm:pt>
    <dgm:pt modelId="{D4260A18-1872-4FCA-90A1-486464E88BC2}" type="sibTrans" cxnId="{6E792C79-D258-4435-AB62-8380657896AB}">
      <dgm:prSet/>
      <dgm:spPr/>
      <dgm:t>
        <a:bodyPr/>
        <a:lstStyle/>
        <a:p>
          <a:endParaRPr lang="en-US"/>
        </a:p>
      </dgm:t>
    </dgm:pt>
    <dgm:pt modelId="{85156093-72B5-4363-B5F5-9C11AD7DEAB1}">
      <dgm:prSet phldrT="[Text]"/>
      <dgm:spPr/>
      <dgm:t>
        <a:bodyPr/>
        <a:lstStyle/>
        <a:p>
          <a:r>
            <a:rPr lang="en-US" dirty="0"/>
            <a:t>SQL Server 2019</a:t>
          </a:r>
        </a:p>
      </dgm:t>
    </dgm:pt>
    <dgm:pt modelId="{D7981A02-0BE7-4496-90E4-8357B0089380}" type="parTrans" cxnId="{0AF93085-A8C7-4C24-BA01-C3EBC7B44D59}">
      <dgm:prSet/>
      <dgm:spPr/>
      <dgm:t>
        <a:bodyPr/>
        <a:lstStyle/>
        <a:p>
          <a:endParaRPr lang="en-US"/>
        </a:p>
      </dgm:t>
    </dgm:pt>
    <dgm:pt modelId="{F502CCE8-A2AE-4D73-8881-2FA48CC14A21}" type="sibTrans" cxnId="{0AF93085-A8C7-4C24-BA01-C3EBC7B44D59}">
      <dgm:prSet/>
      <dgm:spPr/>
      <dgm:t>
        <a:bodyPr/>
        <a:lstStyle/>
        <a:p>
          <a:endParaRPr lang="en-US"/>
        </a:p>
      </dgm:t>
    </dgm:pt>
    <dgm:pt modelId="{A4D7A248-2BCF-46C0-9337-C76AE875CC88}">
      <dgm:prSet phldrT="[Text]"/>
      <dgm:spPr/>
      <dgm:t>
        <a:bodyPr/>
        <a:lstStyle/>
        <a:p>
          <a:r>
            <a:rPr lang="en-US" dirty="0"/>
            <a:t>On by default. No knobs required</a:t>
          </a:r>
        </a:p>
      </dgm:t>
    </dgm:pt>
    <dgm:pt modelId="{F8BD9CE0-35A8-47B2-9350-E2F5E9B5AAAE}" type="parTrans" cxnId="{41FA21CD-85F3-4FB4-98E8-C384FBFB0F3D}">
      <dgm:prSet/>
      <dgm:spPr/>
      <dgm:t>
        <a:bodyPr/>
        <a:lstStyle/>
        <a:p>
          <a:endParaRPr lang="en-US"/>
        </a:p>
      </dgm:t>
    </dgm:pt>
    <dgm:pt modelId="{38905E8B-E7A7-4B5E-AA16-A9E684D37EE5}" type="sibTrans" cxnId="{41FA21CD-85F3-4FB4-98E8-C384FBFB0F3D}">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2">
        <dgm:presLayoutVars>
          <dgm:chMax val="0"/>
          <dgm:bulletEnabled val="1"/>
        </dgm:presLayoutVars>
      </dgm:prSet>
      <dgm:spPr/>
    </dgm:pt>
    <dgm:pt modelId="{F4F491F2-8310-4EDC-83BE-3E4CB6BFF77F}" type="pres">
      <dgm:prSet presAssocID="{53D7EFAD-9D69-4131-B665-D784611009F2}" presName="childText" presStyleLbl="revTx" presStyleIdx="0" presStyleCnt="2">
        <dgm:presLayoutVars>
          <dgm:bulletEnabled val="1"/>
        </dgm:presLayoutVars>
      </dgm:prSet>
      <dgm:spPr/>
    </dgm:pt>
    <dgm:pt modelId="{DBA002F5-D519-4947-B33A-10D9DE2462FC}" type="pres">
      <dgm:prSet presAssocID="{85156093-72B5-4363-B5F5-9C11AD7DEAB1}" presName="parentText" presStyleLbl="node1" presStyleIdx="1" presStyleCnt="2">
        <dgm:presLayoutVars>
          <dgm:chMax val="0"/>
          <dgm:bulletEnabled val="1"/>
        </dgm:presLayoutVars>
      </dgm:prSet>
      <dgm:spPr/>
    </dgm:pt>
    <dgm:pt modelId="{C9D982FD-C3C7-4ABC-BA98-1B99ACA1F6D7}" type="pres">
      <dgm:prSet presAssocID="{85156093-72B5-4363-B5F5-9C11AD7DEAB1}" presName="childText" presStyleLbl="revTx" presStyleIdx="1" presStyleCnt="2">
        <dgm:presLayoutVars>
          <dgm:bulletEnabled val="1"/>
        </dgm:presLayoutVars>
      </dgm:prSet>
      <dgm:spPr/>
    </dgm:pt>
  </dgm:ptLst>
  <dgm:cxnLst>
    <dgm:cxn modelId="{BD6B9827-13EC-4B19-9D7E-4B8853ECDABA}" type="presOf" srcId="{EA30451F-2E86-4CBA-B89B-16CEF8F265BD}" destId="{F4F491F2-8310-4EDC-83BE-3E4CB6BFF77F}" srcOrd="0" destOrd="1" presId="urn:microsoft.com/office/officeart/2005/8/layout/vList2"/>
    <dgm:cxn modelId="{711D4C2F-D16D-4A73-A0AE-C758D0E21859}" type="presOf" srcId="{A4D7A248-2BCF-46C0-9337-C76AE875CC88}" destId="{C9D982FD-C3C7-4ABC-BA98-1B99ACA1F6D7}" srcOrd="0" destOrd="0"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A2A49A72-78AC-4F30-A6F7-A2A55883F7E4}" type="presOf" srcId="{85156093-72B5-4363-B5F5-9C11AD7DEAB1}" destId="{DBA002F5-D519-4947-B33A-10D9DE2462FC}" srcOrd="0" destOrd="0" presId="urn:microsoft.com/office/officeart/2005/8/layout/vList2"/>
    <dgm:cxn modelId="{6E792C79-D258-4435-AB62-8380657896AB}" srcId="{53D7EFAD-9D69-4131-B665-D784611009F2}" destId="{EA30451F-2E86-4CBA-B89B-16CEF8F265BD}" srcOrd="1" destOrd="0" parTransId="{12CF15AE-1DB7-4C13-BB09-D721E593EF4D}" sibTransId="{D4260A18-1872-4FCA-90A1-486464E88BC2}"/>
    <dgm:cxn modelId="{CCE35880-8BA3-4B58-A370-A0E6B37B5366}" type="presOf" srcId="{2F32B127-5802-4115-98D9-1D04E4767F15}" destId="{C70A7381-E7ED-45BE-9458-3C60AE6CCEC5}" srcOrd="0" destOrd="0" presId="urn:microsoft.com/office/officeart/2005/8/layout/vList2"/>
    <dgm:cxn modelId="{0AF93085-A8C7-4C24-BA01-C3EBC7B44D59}" srcId="{2F32B127-5802-4115-98D9-1D04E4767F15}" destId="{85156093-72B5-4363-B5F5-9C11AD7DEAB1}" srcOrd="1" destOrd="0" parTransId="{D7981A02-0BE7-4496-90E4-8357B0089380}" sibTransId="{F502CCE8-A2AE-4D73-8881-2FA48CC14A21}"/>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41FA21CD-85F3-4FB4-98E8-C384FBFB0F3D}" srcId="{85156093-72B5-4363-B5F5-9C11AD7DEAB1}" destId="{A4D7A248-2BCF-46C0-9337-C76AE875CC88}" srcOrd="0" destOrd="0" parTransId="{F8BD9CE0-35A8-47B2-9350-E2F5E9B5AAAE}" sibTransId="{38905E8B-E7A7-4B5E-AA16-A9E684D37EE5}"/>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 modelId="{429619F1-F96D-48B8-9648-688C25D922FC}" type="presParOf" srcId="{C70A7381-E7ED-45BE-9458-3C60AE6CCEC5}" destId="{DBA002F5-D519-4947-B33A-10D9DE2462FC}" srcOrd="2" destOrd="0" presId="urn:microsoft.com/office/officeart/2005/8/layout/vList2"/>
    <dgm:cxn modelId="{51904D07-3036-4793-AECE-8DA6E3720B59}" type="presParOf" srcId="{C70A7381-E7ED-45BE-9458-3C60AE6CCEC5}" destId="{C9D982FD-C3C7-4ABC-BA98-1B99ACA1F6D7}"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tempdb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3D7EFAD-9D69-4131-B665-D784611009F2}">
      <dgm:prSet phldrT="[Text]"/>
      <dgm:spPr/>
      <dgm:t>
        <a:bodyPr/>
        <a:lstStyle/>
        <a:p>
          <a:pPr algn="ctr"/>
          <a:r>
            <a:rPr lang="en-US" dirty="0"/>
            <a:t>The SQL 2019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Key tempdb system tables become SCHEMA_ONLY memory optimized tabl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B6106465-5966-4F90-9813-8FF8B4EA8BCF}">
      <dgm:prSet phldrT="[Text]"/>
      <dgm:spPr/>
      <dgm:t>
        <a:bodyPr/>
        <a:lstStyle/>
        <a:p>
          <a:r>
            <a:rPr lang="en-US" dirty="0"/>
            <a:t>Latch and lock free</a:t>
          </a:r>
        </a:p>
      </dgm:t>
    </dgm:pt>
    <dgm:pt modelId="{2FF9DAB1-49B6-4898-B8F1-AD8D12641217}" type="parTrans" cxnId="{68B2683E-2C60-4A37-88CD-40C3F28AB0AB}">
      <dgm:prSet/>
      <dgm:spPr/>
      <dgm:t>
        <a:bodyPr/>
        <a:lstStyle/>
        <a:p>
          <a:endParaRPr lang="en-US"/>
        </a:p>
      </dgm:t>
    </dgm:pt>
    <dgm:pt modelId="{31159908-A39C-40E3-8E71-AAF910A33ABA}" type="sibTrans" cxnId="{68B2683E-2C60-4A37-88CD-40C3F28AB0AB}">
      <dgm:prSet/>
      <dgm:spPr/>
      <dgm:t>
        <a:bodyPr/>
        <a:lstStyle/>
        <a:p>
          <a:endParaRPr lang="en-US"/>
        </a:p>
      </dgm:t>
    </dgm:pt>
    <dgm:pt modelId="{75CF7833-ECED-463B-8BF3-B45869A845E2}">
      <dgm:prSet phldrT="[Text]"/>
      <dgm:spPr/>
      <dgm:t>
        <a:bodyPr/>
        <a:lstStyle/>
        <a:p>
          <a:r>
            <a:rPr lang="en-US" dirty="0"/>
            <a:t>Turn on with ALTER SERVER CONFIGURATION</a:t>
          </a:r>
        </a:p>
      </dgm:t>
    </dgm:pt>
    <dgm:pt modelId="{592F51EB-1156-4022-906E-D14DF6A76DFF}" type="parTrans" cxnId="{4A11845D-5E75-44DA-814D-94F72A165321}">
      <dgm:prSet/>
      <dgm:spPr/>
      <dgm:t>
        <a:bodyPr/>
        <a:lstStyle/>
        <a:p>
          <a:endParaRPr lang="en-US"/>
        </a:p>
      </dgm:t>
    </dgm:pt>
    <dgm:pt modelId="{107431EF-D4F3-4817-9D5B-175DEAB6DD1A}" type="sibTrans" cxnId="{4A11845D-5E75-44DA-814D-94F72A165321}">
      <dgm:prSet/>
      <dgm:spPr/>
      <dgm:t>
        <a:bodyPr/>
        <a:lstStyle/>
        <a:p>
          <a:endParaRPr lang="en-US"/>
        </a:p>
      </dgm:t>
    </dgm:pt>
    <dgm:pt modelId="{9C1F7831-81FB-46BC-AC02-95AC5E5FA5C7}">
      <dgm:prSet phldrT="[Text]"/>
      <dgm:spPr/>
      <dgm:t>
        <a:bodyPr/>
        <a:lstStyle/>
        <a:p>
          <a:r>
            <a:rPr lang="en-US" dirty="0"/>
            <a:t>This is NOT user data just metadata so memory requirements small</a:t>
          </a:r>
        </a:p>
      </dgm:t>
    </dgm:pt>
    <dgm:pt modelId="{F85808CB-CB37-4661-846A-EBC424A3F77A}" type="parTrans" cxnId="{00A49946-A43A-425A-B4B3-02F8973B2753}">
      <dgm:prSet/>
      <dgm:spPr/>
      <dgm:t>
        <a:bodyPr/>
        <a:lstStyle/>
        <a:p>
          <a:endParaRPr lang="en-US"/>
        </a:p>
      </dgm:t>
    </dgm:pt>
    <dgm:pt modelId="{1C2B95D7-8FE3-440C-BBC2-CAC918D4C7FB}" type="sibTrans" cxnId="{00A49946-A43A-425A-B4B3-02F8973B2753}">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E1DAE408-C082-4E93-9A3E-C250E47398F8}" type="presOf" srcId="{9C1F7831-81FB-46BC-AC02-95AC5E5FA5C7}" destId="{F4F491F2-8310-4EDC-83BE-3E4CB6BFF77F}" srcOrd="0" destOrd="3" presId="urn:microsoft.com/office/officeart/2005/8/layout/vList2"/>
    <dgm:cxn modelId="{68B2683E-2C60-4A37-88CD-40C3F28AB0AB}" srcId="{53D7EFAD-9D69-4131-B665-D784611009F2}" destId="{B6106465-5966-4F90-9813-8FF8B4EA8BCF}" srcOrd="1" destOrd="0" parTransId="{2FF9DAB1-49B6-4898-B8F1-AD8D12641217}" sibTransId="{31159908-A39C-40E3-8E71-AAF910A33ABA}"/>
    <dgm:cxn modelId="{4A11845D-5E75-44DA-814D-94F72A165321}" srcId="{53D7EFAD-9D69-4131-B665-D784611009F2}" destId="{75CF7833-ECED-463B-8BF3-B45869A845E2}" srcOrd="2" destOrd="0" parTransId="{592F51EB-1156-4022-906E-D14DF6A76DFF}" sibTransId="{107431EF-D4F3-4817-9D5B-175DEAB6DD1A}"/>
    <dgm:cxn modelId="{1059A662-5253-4AA4-9512-3ED6B33D459C}" type="presOf" srcId="{B6106465-5966-4F90-9813-8FF8B4EA8BCF}" destId="{F4F491F2-8310-4EDC-83BE-3E4CB6BFF77F}" srcOrd="0" destOrd="1"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00A49946-A43A-425A-B4B3-02F8973B2753}" srcId="{53D7EFAD-9D69-4131-B665-D784611009F2}" destId="{9C1F7831-81FB-46BC-AC02-95AC5E5FA5C7}" srcOrd="3" destOrd="0" parTransId="{F85808CB-CB37-4661-846A-EBC424A3F77A}" sibTransId="{1C2B95D7-8FE3-440C-BBC2-CAC918D4C7FB}"/>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54B1D0F6-6A13-4967-982B-8BEFEBA7CDE5}" type="presOf" srcId="{75CF7833-ECED-463B-8BF3-B45869A845E2}"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50E2E8-A9AC-40BC-B54E-41CD0F86620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4A8724F-EDA7-4472-ABFA-7F647F0769AE}">
      <dgm:prSet phldrT="[Text]"/>
      <dgm:spPr/>
      <dgm:t>
        <a:bodyPr/>
        <a:lstStyle/>
        <a:p>
          <a:r>
            <a:rPr lang="en-US" dirty="0"/>
            <a:t>Online index create and rebuild</a:t>
          </a:r>
        </a:p>
      </dgm:t>
    </dgm:pt>
    <dgm:pt modelId="{118D7270-4086-44D9-AFAE-A8D05D899EEF}" type="parTrans" cxnId="{079E1DCB-6A93-40FC-9F47-456E765D704C}">
      <dgm:prSet/>
      <dgm:spPr/>
      <dgm:t>
        <a:bodyPr/>
        <a:lstStyle/>
        <a:p>
          <a:endParaRPr lang="en-US"/>
        </a:p>
      </dgm:t>
    </dgm:pt>
    <dgm:pt modelId="{1E143D44-74A9-42AA-BAC8-540F8EAB9948}" type="sibTrans" cxnId="{079E1DCB-6A93-40FC-9F47-456E765D704C}">
      <dgm:prSet/>
      <dgm:spPr/>
      <dgm:t>
        <a:bodyPr/>
        <a:lstStyle/>
        <a:p>
          <a:endParaRPr lang="en-US"/>
        </a:p>
      </dgm:t>
    </dgm:pt>
    <dgm:pt modelId="{D9459782-5A29-4197-A8CC-0FC9F5A0DB35}">
      <dgm:prSet phldrT="[Text]"/>
      <dgm:spPr/>
      <dgm:t>
        <a:bodyPr/>
        <a:lstStyle/>
        <a:p>
          <a:r>
            <a:rPr lang="en-US" dirty="0"/>
            <a:t>Resumable online rebuild</a:t>
          </a:r>
        </a:p>
      </dgm:t>
    </dgm:pt>
    <dgm:pt modelId="{57D0329F-BE61-4A94-A302-A849BEECD1F7}" type="parTrans" cxnId="{C4E70246-A6E6-4830-9ABD-2464DE5D3CCF}">
      <dgm:prSet/>
      <dgm:spPr/>
      <dgm:t>
        <a:bodyPr/>
        <a:lstStyle/>
        <a:p>
          <a:endParaRPr lang="en-US"/>
        </a:p>
      </dgm:t>
    </dgm:pt>
    <dgm:pt modelId="{BE5C154A-4E94-4366-9C5D-0B745F581958}" type="sibTrans" cxnId="{C4E70246-A6E6-4830-9ABD-2464DE5D3CCF}">
      <dgm:prSet/>
      <dgm:spPr/>
      <dgm:t>
        <a:bodyPr/>
        <a:lstStyle/>
        <a:p>
          <a:endParaRPr lang="en-US"/>
        </a:p>
      </dgm:t>
    </dgm:pt>
    <dgm:pt modelId="{D7B996E7-4AE9-4D68-A2C9-73F6FEF9F749}">
      <dgm:prSet phldrT="[Text]"/>
      <dgm:spPr/>
      <dgm:t>
        <a:bodyPr/>
        <a:lstStyle/>
        <a:p>
          <a:r>
            <a:rPr lang="en-US" dirty="0"/>
            <a:t>Resumable online index create</a:t>
          </a:r>
        </a:p>
      </dgm:t>
    </dgm:pt>
    <dgm:pt modelId="{0F58C572-EDEC-4727-A241-C381014DBBA5}" type="parTrans" cxnId="{A0D0D870-3DB0-4901-A301-87A512E94ADF}">
      <dgm:prSet/>
      <dgm:spPr/>
      <dgm:t>
        <a:bodyPr/>
        <a:lstStyle/>
        <a:p>
          <a:endParaRPr lang="en-US"/>
        </a:p>
      </dgm:t>
    </dgm:pt>
    <dgm:pt modelId="{BD77FFFD-A1A7-47BB-8118-A1FECF1EE016}" type="sibTrans" cxnId="{A0D0D870-3DB0-4901-A301-87A512E94ADF}">
      <dgm:prSet/>
      <dgm:spPr/>
      <dgm:t>
        <a:bodyPr/>
        <a:lstStyle/>
        <a:p>
          <a:endParaRPr lang="en-US"/>
        </a:p>
      </dgm:t>
    </dgm:pt>
    <dgm:pt modelId="{D8281198-08C8-4025-9281-001E7AE513A0}">
      <dgm:prSet phldrT="[Text]"/>
      <dgm:spPr/>
      <dgm:t>
        <a:bodyPr/>
        <a:lstStyle/>
        <a:p>
          <a:r>
            <a:rPr lang="en-US" dirty="0"/>
            <a:t>Online Clustered Columnstore create and rebuild</a:t>
          </a:r>
        </a:p>
      </dgm:t>
    </dgm:pt>
    <dgm:pt modelId="{28CFA9AF-3479-4B2C-AE8F-689174F54AEA}" type="parTrans" cxnId="{A3BA6EE5-7533-4F2B-BB7B-88475BC9787A}">
      <dgm:prSet/>
      <dgm:spPr/>
      <dgm:t>
        <a:bodyPr/>
        <a:lstStyle/>
        <a:p>
          <a:endParaRPr lang="en-US"/>
        </a:p>
      </dgm:t>
    </dgm:pt>
    <dgm:pt modelId="{06E709F1-B714-4C01-A8C2-C779B7184C3E}" type="sibTrans" cxnId="{A3BA6EE5-7533-4F2B-BB7B-88475BC9787A}">
      <dgm:prSet/>
      <dgm:spPr/>
      <dgm:t>
        <a:bodyPr/>
        <a:lstStyle/>
        <a:p>
          <a:endParaRPr lang="en-US"/>
        </a:p>
      </dgm:t>
    </dgm:pt>
    <dgm:pt modelId="{A80A0AA8-BBBF-462D-9913-FF1791D3D92D}">
      <dgm:prSet phldrT="[Text]"/>
      <dgm:spPr/>
      <dgm:t>
        <a:bodyPr/>
        <a:lstStyle/>
        <a:p>
          <a:r>
            <a:rPr lang="en-US" dirty="0"/>
            <a:t>SQL Server 2019</a:t>
          </a:r>
        </a:p>
      </dgm:t>
    </dgm:pt>
    <dgm:pt modelId="{D5ABDD6A-5E3C-4806-8AE7-77B994BB03F2}" type="parTrans" cxnId="{653181FB-07DC-4220-A31D-4F1C346ACB83}">
      <dgm:prSet/>
      <dgm:spPr/>
      <dgm:t>
        <a:bodyPr/>
        <a:lstStyle/>
        <a:p>
          <a:endParaRPr lang="en-US"/>
        </a:p>
      </dgm:t>
    </dgm:pt>
    <dgm:pt modelId="{55A66AF1-25B6-4BC2-8DBF-9E5D92AAEFBD}" type="sibTrans" cxnId="{653181FB-07DC-4220-A31D-4F1C346ACB83}">
      <dgm:prSet/>
      <dgm:spPr/>
      <dgm:t>
        <a:bodyPr/>
        <a:lstStyle/>
        <a:p>
          <a:endParaRPr lang="en-US"/>
        </a:p>
      </dgm:t>
    </dgm:pt>
    <dgm:pt modelId="{5DDE5ACE-E048-429A-8362-58C3512974CB}">
      <dgm:prSet phldrT="[Text]"/>
      <dgm:spPr/>
      <dgm:t>
        <a:bodyPr/>
        <a:lstStyle/>
        <a:p>
          <a:r>
            <a:rPr lang="en-US" dirty="0"/>
            <a:t>SQL Server 2017</a:t>
          </a:r>
        </a:p>
      </dgm:t>
    </dgm:pt>
    <dgm:pt modelId="{C1997BEC-0DE4-4816-AEB1-DC6118F219F0}" type="parTrans" cxnId="{8508C2D5-A81B-4D29-B42F-743C35D2F3AD}">
      <dgm:prSet/>
      <dgm:spPr/>
      <dgm:t>
        <a:bodyPr/>
        <a:lstStyle/>
        <a:p>
          <a:endParaRPr lang="en-US"/>
        </a:p>
      </dgm:t>
    </dgm:pt>
    <dgm:pt modelId="{FCFF5471-D734-46EA-A1CA-CB8297BF49F7}" type="sibTrans" cxnId="{8508C2D5-A81B-4D29-B42F-743C35D2F3AD}">
      <dgm:prSet/>
      <dgm:spPr/>
      <dgm:t>
        <a:bodyPr/>
        <a:lstStyle/>
        <a:p>
          <a:endParaRPr lang="en-US"/>
        </a:p>
      </dgm:t>
    </dgm:pt>
    <dgm:pt modelId="{A34E3D43-F5E4-47F5-92AB-9BF875C4595B}">
      <dgm:prSet phldrT="[Text]"/>
      <dgm:spPr/>
      <dgm:t>
        <a:bodyPr/>
        <a:lstStyle/>
        <a:p>
          <a:r>
            <a:rPr lang="en-US" dirty="0"/>
            <a:t>Pause and Resume</a:t>
          </a:r>
        </a:p>
      </dgm:t>
    </dgm:pt>
    <dgm:pt modelId="{E5C13B37-4227-4A48-B5C2-90BF802AB422}" type="parTrans" cxnId="{FDC38D7A-596E-415D-88DD-E3AFBC13D3C7}">
      <dgm:prSet/>
      <dgm:spPr/>
      <dgm:t>
        <a:bodyPr/>
        <a:lstStyle/>
        <a:p>
          <a:endParaRPr lang="en-US"/>
        </a:p>
      </dgm:t>
    </dgm:pt>
    <dgm:pt modelId="{4C1D070A-EAAE-4A27-9911-CB183E5E2182}" type="sibTrans" cxnId="{FDC38D7A-596E-415D-88DD-E3AFBC13D3C7}">
      <dgm:prSet/>
      <dgm:spPr/>
      <dgm:t>
        <a:bodyPr/>
        <a:lstStyle/>
        <a:p>
          <a:endParaRPr lang="en-US"/>
        </a:p>
      </dgm:t>
    </dgm:pt>
    <dgm:pt modelId="{D248DB17-C146-49BE-9257-6BCE15F8DB31}">
      <dgm:prSet phldrT="[Text]"/>
      <dgm:spPr/>
      <dgm:t>
        <a:bodyPr/>
        <a:lstStyle/>
        <a:p>
          <a:r>
            <a:rPr lang="en-US" dirty="0"/>
            <a:t>Incremental rebuild</a:t>
          </a:r>
        </a:p>
      </dgm:t>
    </dgm:pt>
    <dgm:pt modelId="{389F8B87-5A59-4BB4-A35A-D7D3E3DD5133}" type="parTrans" cxnId="{F81E4343-FD90-47D6-82FC-29D83698F550}">
      <dgm:prSet/>
      <dgm:spPr/>
      <dgm:t>
        <a:bodyPr/>
        <a:lstStyle/>
        <a:p>
          <a:endParaRPr lang="en-US"/>
        </a:p>
      </dgm:t>
    </dgm:pt>
    <dgm:pt modelId="{0E339D50-912F-42A8-BC68-A28AE146498A}" type="sibTrans" cxnId="{F81E4343-FD90-47D6-82FC-29D83698F550}">
      <dgm:prSet/>
      <dgm:spPr/>
      <dgm:t>
        <a:bodyPr/>
        <a:lstStyle/>
        <a:p>
          <a:endParaRPr lang="en-US"/>
        </a:p>
      </dgm:t>
    </dgm:pt>
    <dgm:pt modelId="{F9056107-5FA3-4BC3-96AF-80BB7791645B}">
      <dgm:prSet phldrT="[Text]"/>
      <dgm:spPr/>
      <dgm:t>
        <a:bodyPr/>
        <a:lstStyle/>
        <a:p>
          <a:r>
            <a:rPr lang="en-US" dirty="0"/>
            <a:t>This has been around for a while</a:t>
          </a:r>
        </a:p>
      </dgm:t>
    </dgm:pt>
    <dgm:pt modelId="{74E60D96-5DC3-4321-8A46-CA0D67C3EDB1}" type="parTrans" cxnId="{7A1C7DDA-2B09-46A7-8A53-99CA1D98D4FA}">
      <dgm:prSet/>
      <dgm:spPr/>
      <dgm:t>
        <a:bodyPr/>
        <a:lstStyle/>
        <a:p>
          <a:endParaRPr lang="en-US"/>
        </a:p>
      </dgm:t>
    </dgm:pt>
    <dgm:pt modelId="{5C66B34B-FD98-4645-B6E4-7B5AC5797CFF}" type="sibTrans" cxnId="{7A1C7DDA-2B09-46A7-8A53-99CA1D98D4FA}">
      <dgm:prSet/>
      <dgm:spPr/>
      <dgm:t>
        <a:bodyPr/>
        <a:lstStyle/>
        <a:p>
          <a:endParaRPr lang="en-US"/>
        </a:p>
      </dgm:t>
    </dgm:pt>
    <dgm:pt modelId="{5068A018-7EF2-4B82-9BE8-3FC339959544}">
      <dgm:prSet phldrT="[Text]"/>
      <dgm:spPr/>
      <dgm:t>
        <a:bodyPr/>
        <a:lstStyle/>
        <a:p>
          <a:r>
            <a:rPr lang="en-US" dirty="0"/>
            <a:t>SQL Server 2019</a:t>
          </a:r>
        </a:p>
      </dgm:t>
    </dgm:pt>
    <dgm:pt modelId="{8FC980E5-B7EA-4FCC-B8AB-718292196AAD}" type="parTrans" cxnId="{9B50E89D-33FE-4624-ABFC-5C5124B0BC9A}">
      <dgm:prSet/>
      <dgm:spPr/>
      <dgm:t>
        <a:bodyPr/>
        <a:lstStyle/>
        <a:p>
          <a:endParaRPr lang="en-US"/>
        </a:p>
      </dgm:t>
    </dgm:pt>
    <dgm:pt modelId="{7D72AC83-04F3-4172-BB5B-E029D9C95AFE}" type="sibTrans" cxnId="{9B50E89D-33FE-4624-ABFC-5C5124B0BC9A}">
      <dgm:prSet/>
      <dgm:spPr/>
      <dgm:t>
        <a:bodyPr/>
        <a:lstStyle/>
        <a:p>
          <a:endParaRPr lang="en-US"/>
        </a:p>
      </dgm:t>
    </dgm:pt>
    <dgm:pt modelId="{D384E879-6D24-43E8-B0EE-C38F3A0AB2DB}">
      <dgm:prSet phldrT="[Text]"/>
      <dgm:spPr/>
      <dgm:t>
        <a:bodyPr/>
        <a:lstStyle/>
        <a:p>
          <a:r>
            <a:rPr lang="en-US" dirty="0"/>
            <a:t>Online Non-clustered Columnstore create and rebuild</a:t>
          </a:r>
        </a:p>
      </dgm:t>
    </dgm:pt>
    <dgm:pt modelId="{A5B536F2-D32B-463C-B157-AF125E941ED3}" type="parTrans" cxnId="{A127170F-FEA3-4423-820C-F8A7A4DB8125}">
      <dgm:prSet/>
      <dgm:spPr/>
      <dgm:t>
        <a:bodyPr/>
        <a:lstStyle/>
        <a:p>
          <a:endParaRPr lang="en-US"/>
        </a:p>
      </dgm:t>
    </dgm:pt>
    <dgm:pt modelId="{9286D314-CBBD-41B2-807B-47B84762D6DA}" type="sibTrans" cxnId="{A127170F-FEA3-4423-820C-F8A7A4DB8125}">
      <dgm:prSet/>
      <dgm:spPr/>
      <dgm:t>
        <a:bodyPr/>
        <a:lstStyle/>
        <a:p>
          <a:endParaRPr lang="en-US"/>
        </a:p>
      </dgm:t>
    </dgm:pt>
    <dgm:pt modelId="{58937628-C350-4BDA-B24A-729ED0626FE4}">
      <dgm:prSet phldrT="[Text]"/>
      <dgm:spPr/>
      <dgm:t>
        <a:bodyPr/>
        <a:lstStyle/>
        <a:p>
          <a:r>
            <a:rPr lang="en-US" dirty="0"/>
            <a:t>SQL Server 2017</a:t>
          </a:r>
        </a:p>
      </dgm:t>
    </dgm:pt>
    <dgm:pt modelId="{77B80EA5-0395-4E66-91BE-1B078749629B}" type="parTrans" cxnId="{F9D002B2-FF5C-4305-B048-0D3A476E7D8E}">
      <dgm:prSet/>
      <dgm:spPr/>
      <dgm:t>
        <a:bodyPr/>
        <a:lstStyle/>
        <a:p>
          <a:endParaRPr lang="en-US"/>
        </a:p>
      </dgm:t>
    </dgm:pt>
    <dgm:pt modelId="{0AFE73F8-8FB8-4658-9063-90BFC3899BE6}" type="sibTrans" cxnId="{F9D002B2-FF5C-4305-B048-0D3A476E7D8E}">
      <dgm:prSet/>
      <dgm:spPr/>
      <dgm:t>
        <a:bodyPr/>
        <a:lstStyle/>
        <a:p>
          <a:endParaRPr lang="en-US"/>
        </a:p>
      </dgm:t>
    </dgm:pt>
    <dgm:pt modelId="{53ABD22A-8AB2-4EA0-AA13-B6AE8D1D0D95}" type="pres">
      <dgm:prSet presAssocID="{B250E2E8-A9AC-40BC-B54E-41CD0F866201}" presName="theList" presStyleCnt="0">
        <dgm:presLayoutVars>
          <dgm:dir/>
          <dgm:animLvl val="lvl"/>
          <dgm:resizeHandles val="exact"/>
        </dgm:presLayoutVars>
      </dgm:prSet>
      <dgm:spPr/>
    </dgm:pt>
    <dgm:pt modelId="{790B8A9D-9BD0-44A3-AE20-430630502152}" type="pres">
      <dgm:prSet presAssocID="{F4A8724F-EDA7-4472-ABFA-7F647F0769AE}" presName="compNode" presStyleCnt="0"/>
      <dgm:spPr/>
    </dgm:pt>
    <dgm:pt modelId="{F30F9D58-9067-4581-B8C9-C587C3B9FE1F}" type="pres">
      <dgm:prSet presAssocID="{F4A8724F-EDA7-4472-ABFA-7F647F0769AE}" presName="aNode" presStyleLbl="bgShp" presStyleIdx="0" presStyleCnt="5"/>
      <dgm:spPr/>
    </dgm:pt>
    <dgm:pt modelId="{9C3B7929-8C13-48D3-BA5A-24E7B06F6167}" type="pres">
      <dgm:prSet presAssocID="{F4A8724F-EDA7-4472-ABFA-7F647F0769AE}" presName="textNode" presStyleLbl="bgShp" presStyleIdx="0" presStyleCnt="5"/>
      <dgm:spPr/>
    </dgm:pt>
    <dgm:pt modelId="{E68A6D00-94BA-4BE7-8CAA-3E5AE20FDDBB}" type="pres">
      <dgm:prSet presAssocID="{F4A8724F-EDA7-4472-ABFA-7F647F0769AE}" presName="compChildNode" presStyleCnt="0"/>
      <dgm:spPr/>
    </dgm:pt>
    <dgm:pt modelId="{7ECB9F98-68D6-4F81-B68C-D4C5A6B9EBBD}" type="pres">
      <dgm:prSet presAssocID="{F4A8724F-EDA7-4472-ABFA-7F647F0769AE}" presName="theInnerList" presStyleCnt="0"/>
      <dgm:spPr/>
    </dgm:pt>
    <dgm:pt modelId="{573518BA-E4CB-4E5B-BB19-4A2E74BAA0FB}" type="pres">
      <dgm:prSet presAssocID="{F9056107-5FA3-4BC3-96AF-80BB7791645B}" presName="childNode" presStyleLbl="node1" presStyleIdx="0" presStyleCnt="7">
        <dgm:presLayoutVars>
          <dgm:bulletEnabled val="1"/>
        </dgm:presLayoutVars>
      </dgm:prSet>
      <dgm:spPr/>
    </dgm:pt>
    <dgm:pt modelId="{29905C7F-790B-41DA-9B57-CE0B601B2C21}" type="pres">
      <dgm:prSet presAssocID="{F4A8724F-EDA7-4472-ABFA-7F647F0769AE}" presName="aSpace" presStyleCnt="0"/>
      <dgm:spPr/>
    </dgm:pt>
    <dgm:pt modelId="{4181701F-DD73-4CD7-B33D-C990A21A7F3E}" type="pres">
      <dgm:prSet presAssocID="{D9459782-5A29-4197-A8CC-0FC9F5A0DB35}" presName="compNode" presStyleCnt="0"/>
      <dgm:spPr/>
    </dgm:pt>
    <dgm:pt modelId="{1E38B38C-7757-4AFC-A4A5-B7AD295E65B6}" type="pres">
      <dgm:prSet presAssocID="{D9459782-5A29-4197-A8CC-0FC9F5A0DB35}" presName="aNode" presStyleLbl="bgShp" presStyleIdx="1" presStyleCnt="5"/>
      <dgm:spPr/>
    </dgm:pt>
    <dgm:pt modelId="{22D59A5A-A3B0-4E13-BA8A-E0CA87761986}" type="pres">
      <dgm:prSet presAssocID="{D9459782-5A29-4197-A8CC-0FC9F5A0DB35}" presName="textNode" presStyleLbl="bgShp" presStyleIdx="1" presStyleCnt="5"/>
      <dgm:spPr/>
    </dgm:pt>
    <dgm:pt modelId="{08FB25CB-ED29-4557-8147-FDE85B90D32D}" type="pres">
      <dgm:prSet presAssocID="{D9459782-5A29-4197-A8CC-0FC9F5A0DB35}" presName="compChildNode" presStyleCnt="0"/>
      <dgm:spPr/>
    </dgm:pt>
    <dgm:pt modelId="{5919383B-3DF0-4CAB-8AEF-358DC99BEBA2}" type="pres">
      <dgm:prSet presAssocID="{D9459782-5A29-4197-A8CC-0FC9F5A0DB35}" presName="theInnerList" presStyleCnt="0"/>
      <dgm:spPr/>
    </dgm:pt>
    <dgm:pt modelId="{0B1EB628-A91F-4A03-B0BB-BDAFAC944E32}" type="pres">
      <dgm:prSet presAssocID="{5DDE5ACE-E048-429A-8362-58C3512974CB}" presName="childNode" presStyleLbl="node1" presStyleIdx="1" presStyleCnt="7">
        <dgm:presLayoutVars>
          <dgm:bulletEnabled val="1"/>
        </dgm:presLayoutVars>
      </dgm:prSet>
      <dgm:spPr/>
    </dgm:pt>
    <dgm:pt modelId="{22D324A2-907F-474B-8925-BC63DF620263}" type="pres">
      <dgm:prSet presAssocID="{5DDE5ACE-E048-429A-8362-58C3512974CB}" presName="aSpace2" presStyleCnt="0"/>
      <dgm:spPr/>
    </dgm:pt>
    <dgm:pt modelId="{B0E7295E-6666-4ACB-80EA-DE855883143F}" type="pres">
      <dgm:prSet presAssocID="{A34E3D43-F5E4-47F5-92AB-9BF875C4595B}" presName="childNode" presStyleLbl="node1" presStyleIdx="2" presStyleCnt="7">
        <dgm:presLayoutVars>
          <dgm:bulletEnabled val="1"/>
        </dgm:presLayoutVars>
      </dgm:prSet>
      <dgm:spPr/>
    </dgm:pt>
    <dgm:pt modelId="{EE0DBFC5-B3A9-46AB-8B97-37671AF296E5}" type="pres">
      <dgm:prSet presAssocID="{A34E3D43-F5E4-47F5-92AB-9BF875C4595B}" presName="aSpace2" presStyleCnt="0"/>
      <dgm:spPr/>
    </dgm:pt>
    <dgm:pt modelId="{064E88C3-E887-4D2A-A7D8-DD9B3800DE62}" type="pres">
      <dgm:prSet presAssocID="{D248DB17-C146-49BE-9257-6BCE15F8DB31}" presName="childNode" presStyleLbl="node1" presStyleIdx="3" presStyleCnt="7">
        <dgm:presLayoutVars>
          <dgm:bulletEnabled val="1"/>
        </dgm:presLayoutVars>
      </dgm:prSet>
      <dgm:spPr/>
    </dgm:pt>
    <dgm:pt modelId="{94A8A13A-0AEC-4788-809A-A7FF2890E2E1}" type="pres">
      <dgm:prSet presAssocID="{D9459782-5A29-4197-A8CC-0FC9F5A0DB35}" presName="aSpace" presStyleCnt="0"/>
      <dgm:spPr/>
    </dgm:pt>
    <dgm:pt modelId="{88CFFD24-2A1F-4D8B-BA8F-E1D32DDA6D18}" type="pres">
      <dgm:prSet presAssocID="{D7B996E7-4AE9-4D68-A2C9-73F6FEF9F749}" presName="compNode" presStyleCnt="0"/>
      <dgm:spPr/>
    </dgm:pt>
    <dgm:pt modelId="{D174599E-222E-457A-BFD6-2620322894C0}" type="pres">
      <dgm:prSet presAssocID="{D7B996E7-4AE9-4D68-A2C9-73F6FEF9F749}" presName="aNode" presStyleLbl="bgShp" presStyleIdx="2" presStyleCnt="5"/>
      <dgm:spPr/>
    </dgm:pt>
    <dgm:pt modelId="{2AF97D24-4962-40DC-B3F8-227063657348}" type="pres">
      <dgm:prSet presAssocID="{D7B996E7-4AE9-4D68-A2C9-73F6FEF9F749}" presName="textNode" presStyleLbl="bgShp" presStyleIdx="2" presStyleCnt="5"/>
      <dgm:spPr/>
    </dgm:pt>
    <dgm:pt modelId="{BB3F12E5-9ED4-46B9-BE83-7833756D4794}" type="pres">
      <dgm:prSet presAssocID="{D7B996E7-4AE9-4D68-A2C9-73F6FEF9F749}" presName="compChildNode" presStyleCnt="0"/>
      <dgm:spPr/>
    </dgm:pt>
    <dgm:pt modelId="{1DAC08EC-BDA1-47BE-9456-1EE3595CFE53}" type="pres">
      <dgm:prSet presAssocID="{D7B996E7-4AE9-4D68-A2C9-73F6FEF9F749}" presName="theInnerList" presStyleCnt="0"/>
      <dgm:spPr/>
    </dgm:pt>
    <dgm:pt modelId="{40F3804C-1CF2-4856-8949-48F6627C44B5}" type="pres">
      <dgm:prSet presAssocID="{A80A0AA8-BBBF-462D-9913-FF1791D3D92D}" presName="childNode" presStyleLbl="node1" presStyleIdx="4" presStyleCnt="7">
        <dgm:presLayoutVars>
          <dgm:bulletEnabled val="1"/>
        </dgm:presLayoutVars>
      </dgm:prSet>
      <dgm:spPr/>
    </dgm:pt>
    <dgm:pt modelId="{B6C785C4-C6D4-413A-9ABA-3543FFB8D3BC}" type="pres">
      <dgm:prSet presAssocID="{D7B996E7-4AE9-4D68-A2C9-73F6FEF9F749}" presName="aSpace" presStyleCnt="0"/>
      <dgm:spPr/>
    </dgm:pt>
    <dgm:pt modelId="{BB02F8D8-5E88-456B-9032-F13312EF9A38}" type="pres">
      <dgm:prSet presAssocID="{D384E879-6D24-43E8-B0EE-C38F3A0AB2DB}" presName="compNode" presStyleCnt="0"/>
      <dgm:spPr/>
    </dgm:pt>
    <dgm:pt modelId="{7D45AECE-F8B5-4053-86DF-5E204DA1AABA}" type="pres">
      <dgm:prSet presAssocID="{D384E879-6D24-43E8-B0EE-C38F3A0AB2DB}" presName="aNode" presStyleLbl="bgShp" presStyleIdx="3" presStyleCnt="5"/>
      <dgm:spPr/>
    </dgm:pt>
    <dgm:pt modelId="{005F1AE2-4C6A-4939-8ADE-E128F7EF5B51}" type="pres">
      <dgm:prSet presAssocID="{D384E879-6D24-43E8-B0EE-C38F3A0AB2DB}" presName="textNode" presStyleLbl="bgShp" presStyleIdx="3" presStyleCnt="5"/>
      <dgm:spPr/>
    </dgm:pt>
    <dgm:pt modelId="{77A51793-56B4-4FCC-9DD5-6E97A99D9A45}" type="pres">
      <dgm:prSet presAssocID="{D384E879-6D24-43E8-B0EE-C38F3A0AB2DB}" presName="compChildNode" presStyleCnt="0"/>
      <dgm:spPr/>
    </dgm:pt>
    <dgm:pt modelId="{E28261DB-F241-4B92-AB7F-2F8D7370FDB0}" type="pres">
      <dgm:prSet presAssocID="{D384E879-6D24-43E8-B0EE-C38F3A0AB2DB}" presName="theInnerList" presStyleCnt="0"/>
      <dgm:spPr/>
    </dgm:pt>
    <dgm:pt modelId="{11E2E5ED-2C16-425D-9DAF-1F80DFBA6D7C}" type="pres">
      <dgm:prSet presAssocID="{58937628-C350-4BDA-B24A-729ED0626FE4}" presName="childNode" presStyleLbl="node1" presStyleIdx="5" presStyleCnt="7">
        <dgm:presLayoutVars>
          <dgm:bulletEnabled val="1"/>
        </dgm:presLayoutVars>
      </dgm:prSet>
      <dgm:spPr/>
    </dgm:pt>
    <dgm:pt modelId="{DB0F2F08-7FE7-4EB5-8479-87F343EB3640}" type="pres">
      <dgm:prSet presAssocID="{D384E879-6D24-43E8-B0EE-C38F3A0AB2DB}" presName="aSpace" presStyleCnt="0"/>
      <dgm:spPr/>
    </dgm:pt>
    <dgm:pt modelId="{C7771065-4068-46B9-88FD-461C5360ABF1}" type="pres">
      <dgm:prSet presAssocID="{D8281198-08C8-4025-9281-001E7AE513A0}" presName="compNode" presStyleCnt="0"/>
      <dgm:spPr/>
    </dgm:pt>
    <dgm:pt modelId="{12CE0E28-AFA6-4EC6-9E45-E0FE3F2BE3AE}" type="pres">
      <dgm:prSet presAssocID="{D8281198-08C8-4025-9281-001E7AE513A0}" presName="aNode" presStyleLbl="bgShp" presStyleIdx="4" presStyleCnt="5"/>
      <dgm:spPr/>
    </dgm:pt>
    <dgm:pt modelId="{7BDA2030-7165-44B4-9A3E-3240290D6205}" type="pres">
      <dgm:prSet presAssocID="{D8281198-08C8-4025-9281-001E7AE513A0}" presName="textNode" presStyleLbl="bgShp" presStyleIdx="4" presStyleCnt="5"/>
      <dgm:spPr/>
    </dgm:pt>
    <dgm:pt modelId="{7B74CA4A-687B-4ADC-AC39-C0C2E5CF75A7}" type="pres">
      <dgm:prSet presAssocID="{D8281198-08C8-4025-9281-001E7AE513A0}" presName="compChildNode" presStyleCnt="0"/>
      <dgm:spPr/>
    </dgm:pt>
    <dgm:pt modelId="{4FFFB7C9-C0AD-497F-9898-E85D38F50335}" type="pres">
      <dgm:prSet presAssocID="{D8281198-08C8-4025-9281-001E7AE513A0}" presName="theInnerList" presStyleCnt="0"/>
      <dgm:spPr/>
    </dgm:pt>
    <dgm:pt modelId="{2B4E2960-875A-4C12-9498-2D9822073D9F}" type="pres">
      <dgm:prSet presAssocID="{5068A018-7EF2-4B82-9BE8-3FC339959544}" presName="childNode" presStyleLbl="node1" presStyleIdx="6" presStyleCnt="7">
        <dgm:presLayoutVars>
          <dgm:bulletEnabled val="1"/>
        </dgm:presLayoutVars>
      </dgm:prSet>
      <dgm:spPr/>
    </dgm:pt>
  </dgm:ptLst>
  <dgm:cxnLst>
    <dgm:cxn modelId="{A127170F-FEA3-4423-820C-F8A7A4DB8125}" srcId="{B250E2E8-A9AC-40BC-B54E-41CD0F866201}" destId="{D384E879-6D24-43E8-B0EE-C38F3A0AB2DB}" srcOrd="3" destOrd="0" parTransId="{A5B536F2-D32B-463C-B157-AF125E941ED3}" sibTransId="{9286D314-CBBD-41B2-807B-47B84762D6DA}"/>
    <dgm:cxn modelId="{B91E0015-A3DD-40E5-88A2-EE5546339F6D}" type="presOf" srcId="{A80A0AA8-BBBF-462D-9913-FF1791D3D92D}" destId="{40F3804C-1CF2-4856-8949-48F6627C44B5}" srcOrd="0" destOrd="0" presId="urn:microsoft.com/office/officeart/2005/8/layout/lProcess2"/>
    <dgm:cxn modelId="{43BA4D1B-BE69-475A-96A6-B8706611456F}" type="presOf" srcId="{D8281198-08C8-4025-9281-001E7AE513A0}" destId="{7BDA2030-7165-44B4-9A3E-3240290D6205}" srcOrd="1" destOrd="0" presId="urn:microsoft.com/office/officeart/2005/8/layout/lProcess2"/>
    <dgm:cxn modelId="{03C58024-94CE-4D53-8FDE-21CB08D4575E}" type="presOf" srcId="{5068A018-7EF2-4B82-9BE8-3FC339959544}" destId="{2B4E2960-875A-4C12-9498-2D9822073D9F}" srcOrd="0" destOrd="0" presId="urn:microsoft.com/office/officeart/2005/8/layout/lProcess2"/>
    <dgm:cxn modelId="{0C9E6C5D-C629-4B78-B253-385A028FBE70}" type="presOf" srcId="{D384E879-6D24-43E8-B0EE-C38F3A0AB2DB}" destId="{7D45AECE-F8B5-4053-86DF-5E204DA1AABA}" srcOrd="0" destOrd="0" presId="urn:microsoft.com/office/officeart/2005/8/layout/lProcess2"/>
    <dgm:cxn modelId="{046C485E-74B4-4574-A97A-361E0A3A2C22}" type="presOf" srcId="{D9459782-5A29-4197-A8CC-0FC9F5A0DB35}" destId="{1E38B38C-7757-4AFC-A4A5-B7AD295E65B6}" srcOrd="0" destOrd="0" presId="urn:microsoft.com/office/officeart/2005/8/layout/lProcess2"/>
    <dgm:cxn modelId="{F81E4343-FD90-47D6-82FC-29D83698F550}" srcId="{D9459782-5A29-4197-A8CC-0FC9F5A0DB35}" destId="{D248DB17-C146-49BE-9257-6BCE15F8DB31}" srcOrd="2" destOrd="0" parTransId="{389F8B87-5A59-4BB4-A35A-D7D3E3DD5133}" sibTransId="{0E339D50-912F-42A8-BC68-A28AE146498A}"/>
    <dgm:cxn modelId="{CB201364-D16F-4CC8-8658-8BB68AF8C579}" type="presOf" srcId="{F4A8724F-EDA7-4472-ABFA-7F647F0769AE}" destId="{9C3B7929-8C13-48D3-BA5A-24E7B06F6167}" srcOrd="1" destOrd="0" presId="urn:microsoft.com/office/officeart/2005/8/layout/lProcess2"/>
    <dgm:cxn modelId="{14A07E44-D01C-4347-8C94-9C4B45557B0D}" type="presOf" srcId="{5DDE5ACE-E048-429A-8362-58C3512974CB}" destId="{0B1EB628-A91F-4A03-B0BB-BDAFAC944E32}" srcOrd="0" destOrd="0" presId="urn:microsoft.com/office/officeart/2005/8/layout/lProcess2"/>
    <dgm:cxn modelId="{0791DC65-56FA-4D79-AA73-46F522741C4E}" type="presOf" srcId="{D7B996E7-4AE9-4D68-A2C9-73F6FEF9F749}" destId="{2AF97D24-4962-40DC-B3F8-227063657348}" srcOrd="1" destOrd="0" presId="urn:microsoft.com/office/officeart/2005/8/layout/lProcess2"/>
    <dgm:cxn modelId="{C4E70246-A6E6-4830-9ABD-2464DE5D3CCF}" srcId="{B250E2E8-A9AC-40BC-B54E-41CD0F866201}" destId="{D9459782-5A29-4197-A8CC-0FC9F5A0DB35}" srcOrd="1" destOrd="0" parTransId="{57D0329F-BE61-4A94-A302-A849BEECD1F7}" sibTransId="{BE5C154A-4E94-4366-9C5D-0B745F581958}"/>
    <dgm:cxn modelId="{3048A76A-AB3B-4E42-B793-94325AA3DD41}" type="presOf" srcId="{D8281198-08C8-4025-9281-001E7AE513A0}" destId="{12CE0E28-AFA6-4EC6-9E45-E0FE3F2BE3AE}" srcOrd="0" destOrd="0" presId="urn:microsoft.com/office/officeart/2005/8/layout/lProcess2"/>
    <dgm:cxn modelId="{885BEC6E-EE88-4BCD-9588-62F7D26B36DA}" type="presOf" srcId="{D9459782-5A29-4197-A8CC-0FC9F5A0DB35}" destId="{22D59A5A-A3B0-4E13-BA8A-E0CA87761986}" srcOrd="1" destOrd="0" presId="urn:microsoft.com/office/officeart/2005/8/layout/lProcess2"/>
    <dgm:cxn modelId="{A0D0D870-3DB0-4901-A301-87A512E94ADF}" srcId="{B250E2E8-A9AC-40BC-B54E-41CD0F866201}" destId="{D7B996E7-4AE9-4D68-A2C9-73F6FEF9F749}" srcOrd="2" destOrd="0" parTransId="{0F58C572-EDEC-4727-A241-C381014DBBA5}" sibTransId="{BD77FFFD-A1A7-47BB-8118-A1FECF1EE016}"/>
    <dgm:cxn modelId="{FDC38D7A-596E-415D-88DD-E3AFBC13D3C7}" srcId="{D9459782-5A29-4197-A8CC-0FC9F5A0DB35}" destId="{A34E3D43-F5E4-47F5-92AB-9BF875C4595B}" srcOrd="1" destOrd="0" parTransId="{E5C13B37-4227-4A48-B5C2-90BF802AB422}" sibTransId="{4C1D070A-EAAE-4A27-9911-CB183E5E2182}"/>
    <dgm:cxn modelId="{0C332283-CA97-4405-8768-0E8BB68FC97D}" type="presOf" srcId="{D384E879-6D24-43E8-B0EE-C38F3A0AB2DB}" destId="{005F1AE2-4C6A-4939-8ADE-E128F7EF5B51}" srcOrd="1" destOrd="0" presId="urn:microsoft.com/office/officeart/2005/8/layout/lProcess2"/>
    <dgm:cxn modelId="{D800048A-7ACE-4AD1-A66C-5733D43C6507}" type="presOf" srcId="{F4A8724F-EDA7-4472-ABFA-7F647F0769AE}" destId="{F30F9D58-9067-4581-B8C9-C587C3B9FE1F}" srcOrd="0" destOrd="0" presId="urn:microsoft.com/office/officeart/2005/8/layout/lProcess2"/>
    <dgm:cxn modelId="{D6141794-F766-4A93-B4D2-F9796B7134B5}" type="presOf" srcId="{A34E3D43-F5E4-47F5-92AB-9BF875C4595B}" destId="{B0E7295E-6666-4ACB-80EA-DE855883143F}" srcOrd="0" destOrd="0" presId="urn:microsoft.com/office/officeart/2005/8/layout/lProcess2"/>
    <dgm:cxn modelId="{9B50E89D-33FE-4624-ABFC-5C5124B0BC9A}" srcId="{D8281198-08C8-4025-9281-001E7AE513A0}" destId="{5068A018-7EF2-4B82-9BE8-3FC339959544}" srcOrd="0" destOrd="0" parTransId="{8FC980E5-B7EA-4FCC-B8AB-718292196AAD}" sibTransId="{7D72AC83-04F3-4172-BB5B-E029D9C95AFE}"/>
    <dgm:cxn modelId="{F9D002B2-FF5C-4305-B048-0D3A476E7D8E}" srcId="{D384E879-6D24-43E8-B0EE-C38F3A0AB2DB}" destId="{58937628-C350-4BDA-B24A-729ED0626FE4}" srcOrd="0" destOrd="0" parTransId="{77B80EA5-0395-4E66-91BE-1B078749629B}" sibTransId="{0AFE73F8-8FB8-4658-9063-90BFC3899BE6}"/>
    <dgm:cxn modelId="{079E1DCB-6A93-40FC-9F47-456E765D704C}" srcId="{B250E2E8-A9AC-40BC-B54E-41CD0F866201}" destId="{F4A8724F-EDA7-4472-ABFA-7F647F0769AE}" srcOrd="0" destOrd="0" parTransId="{118D7270-4086-44D9-AFAE-A8D05D899EEF}" sibTransId="{1E143D44-74A9-42AA-BAC8-540F8EAB9948}"/>
    <dgm:cxn modelId="{222D42CB-5CAA-4169-A566-1751E8C1F2C3}" type="presOf" srcId="{D248DB17-C146-49BE-9257-6BCE15F8DB31}" destId="{064E88C3-E887-4D2A-A7D8-DD9B3800DE62}" srcOrd="0" destOrd="0" presId="urn:microsoft.com/office/officeart/2005/8/layout/lProcess2"/>
    <dgm:cxn modelId="{EA6F57CB-B9C5-4538-848E-48B80927664C}" type="presOf" srcId="{B250E2E8-A9AC-40BC-B54E-41CD0F866201}" destId="{53ABD22A-8AB2-4EA0-AA13-B6AE8D1D0D95}" srcOrd="0" destOrd="0" presId="urn:microsoft.com/office/officeart/2005/8/layout/lProcess2"/>
    <dgm:cxn modelId="{8508C2D5-A81B-4D29-B42F-743C35D2F3AD}" srcId="{D9459782-5A29-4197-A8CC-0FC9F5A0DB35}" destId="{5DDE5ACE-E048-429A-8362-58C3512974CB}" srcOrd="0" destOrd="0" parTransId="{C1997BEC-0DE4-4816-AEB1-DC6118F219F0}" sibTransId="{FCFF5471-D734-46EA-A1CA-CB8297BF49F7}"/>
    <dgm:cxn modelId="{7A1C7DDA-2B09-46A7-8A53-99CA1D98D4FA}" srcId="{F4A8724F-EDA7-4472-ABFA-7F647F0769AE}" destId="{F9056107-5FA3-4BC3-96AF-80BB7791645B}" srcOrd="0" destOrd="0" parTransId="{74E60D96-5DC3-4321-8A46-CA0D67C3EDB1}" sibTransId="{5C66B34B-FD98-4645-B6E4-7B5AC5797CFF}"/>
    <dgm:cxn modelId="{D33F3CDE-AADB-46C4-9D09-75DDDFA7F4C3}" type="presOf" srcId="{F9056107-5FA3-4BC3-96AF-80BB7791645B}" destId="{573518BA-E4CB-4E5B-BB19-4A2E74BAA0FB}" srcOrd="0" destOrd="0" presId="urn:microsoft.com/office/officeart/2005/8/layout/lProcess2"/>
    <dgm:cxn modelId="{5B70B6E3-4FB3-4688-8BDB-40C2407BDE3D}" type="presOf" srcId="{58937628-C350-4BDA-B24A-729ED0626FE4}" destId="{11E2E5ED-2C16-425D-9DAF-1F80DFBA6D7C}" srcOrd="0" destOrd="0" presId="urn:microsoft.com/office/officeart/2005/8/layout/lProcess2"/>
    <dgm:cxn modelId="{A3BA6EE5-7533-4F2B-BB7B-88475BC9787A}" srcId="{B250E2E8-A9AC-40BC-B54E-41CD0F866201}" destId="{D8281198-08C8-4025-9281-001E7AE513A0}" srcOrd="4" destOrd="0" parTransId="{28CFA9AF-3479-4B2C-AE8F-689174F54AEA}" sibTransId="{06E709F1-B714-4C01-A8C2-C779B7184C3E}"/>
    <dgm:cxn modelId="{653181FB-07DC-4220-A31D-4F1C346ACB83}" srcId="{D7B996E7-4AE9-4D68-A2C9-73F6FEF9F749}" destId="{A80A0AA8-BBBF-462D-9913-FF1791D3D92D}" srcOrd="0" destOrd="0" parTransId="{D5ABDD6A-5E3C-4806-8AE7-77B994BB03F2}" sibTransId="{55A66AF1-25B6-4BC2-8DBF-9E5D92AAEFBD}"/>
    <dgm:cxn modelId="{E22FF6FB-FEE1-43BD-8480-3BBA9602ACAE}" type="presOf" srcId="{D7B996E7-4AE9-4D68-A2C9-73F6FEF9F749}" destId="{D174599E-222E-457A-BFD6-2620322894C0}" srcOrd="0" destOrd="0" presId="urn:microsoft.com/office/officeart/2005/8/layout/lProcess2"/>
    <dgm:cxn modelId="{0D25AB84-48C7-48EC-9409-28E5135B6481}" type="presParOf" srcId="{53ABD22A-8AB2-4EA0-AA13-B6AE8D1D0D95}" destId="{790B8A9D-9BD0-44A3-AE20-430630502152}" srcOrd="0" destOrd="0" presId="urn:microsoft.com/office/officeart/2005/8/layout/lProcess2"/>
    <dgm:cxn modelId="{3E1454F1-60A3-4AA9-A7B8-76A034ED3C7B}" type="presParOf" srcId="{790B8A9D-9BD0-44A3-AE20-430630502152}" destId="{F30F9D58-9067-4581-B8C9-C587C3B9FE1F}" srcOrd="0" destOrd="0" presId="urn:microsoft.com/office/officeart/2005/8/layout/lProcess2"/>
    <dgm:cxn modelId="{50119DED-2A92-40DC-8C20-9C1F4E8ED0B6}" type="presParOf" srcId="{790B8A9D-9BD0-44A3-AE20-430630502152}" destId="{9C3B7929-8C13-48D3-BA5A-24E7B06F6167}" srcOrd="1" destOrd="0" presId="urn:microsoft.com/office/officeart/2005/8/layout/lProcess2"/>
    <dgm:cxn modelId="{581FD319-1F9B-4F62-8A0B-8DB6A0BD030A}" type="presParOf" srcId="{790B8A9D-9BD0-44A3-AE20-430630502152}" destId="{E68A6D00-94BA-4BE7-8CAA-3E5AE20FDDBB}" srcOrd="2" destOrd="0" presId="urn:microsoft.com/office/officeart/2005/8/layout/lProcess2"/>
    <dgm:cxn modelId="{6B0A03DC-C2A2-48EC-BB92-CA3FBF208B8C}" type="presParOf" srcId="{E68A6D00-94BA-4BE7-8CAA-3E5AE20FDDBB}" destId="{7ECB9F98-68D6-4F81-B68C-D4C5A6B9EBBD}" srcOrd="0" destOrd="0" presId="urn:microsoft.com/office/officeart/2005/8/layout/lProcess2"/>
    <dgm:cxn modelId="{21E61670-1DCF-48C1-A1FE-C5C9AE31F7DC}" type="presParOf" srcId="{7ECB9F98-68D6-4F81-B68C-D4C5A6B9EBBD}" destId="{573518BA-E4CB-4E5B-BB19-4A2E74BAA0FB}" srcOrd="0" destOrd="0" presId="urn:microsoft.com/office/officeart/2005/8/layout/lProcess2"/>
    <dgm:cxn modelId="{193346C8-35EC-45A5-885B-3A24E2BE5CDF}" type="presParOf" srcId="{53ABD22A-8AB2-4EA0-AA13-B6AE8D1D0D95}" destId="{29905C7F-790B-41DA-9B57-CE0B601B2C21}" srcOrd="1" destOrd="0" presId="urn:microsoft.com/office/officeart/2005/8/layout/lProcess2"/>
    <dgm:cxn modelId="{9A955C7A-ADF8-467B-B86C-ABE82CF9AACA}" type="presParOf" srcId="{53ABD22A-8AB2-4EA0-AA13-B6AE8D1D0D95}" destId="{4181701F-DD73-4CD7-B33D-C990A21A7F3E}" srcOrd="2" destOrd="0" presId="urn:microsoft.com/office/officeart/2005/8/layout/lProcess2"/>
    <dgm:cxn modelId="{82F54FA0-D1F0-4A42-893E-41C1534DDB6D}" type="presParOf" srcId="{4181701F-DD73-4CD7-B33D-C990A21A7F3E}" destId="{1E38B38C-7757-4AFC-A4A5-B7AD295E65B6}" srcOrd="0" destOrd="0" presId="urn:microsoft.com/office/officeart/2005/8/layout/lProcess2"/>
    <dgm:cxn modelId="{2CCB62C7-56DF-4BF2-B408-26DF29F5DB9C}" type="presParOf" srcId="{4181701F-DD73-4CD7-B33D-C990A21A7F3E}" destId="{22D59A5A-A3B0-4E13-BA8A-E0CA87761986}" srcOrd="1" destOrd="0" presId="urn:microsoft.com/office/officeart/2005/8/layout/lProcess2"/>
    <dgm:cxn modelId="{F1FEB916-B7CB-4F48-840B-C6E18166774A}" type="presParOf" srcId="{4181701F-DD73-4CD7-B33D-C990A21A7F3E}" destId="{08FB25CB-ED29-4557-8147-FDE85B90D32D}" srcOrd="2" destOrd="0" presId="urn:microsoft.com/office/officeart/2005/8/layout/lProcess2"/>
    <dgm:cxn modelId="{789B732C-39F2-4795-B361-033F6A6D46FD}" type="presParOf" srcId="{08FB25CB-ED29-4557-8147-FDE85B90D32D}" destId="{5919383B-3DF0-4CAB-8AEF-358DC99BEBA2}" srcOrd="0" destOrd="0" presId="urn:microsoft.com/office/officeart/2005/8/layout/lProcess2"/>
    <dgm:cxn modelId="{1F6E7FA8-9317-4E5B-82FF-2E06877B39CD}" type="presParOf" srcId="{5919383B-3DF0-4CAB-8AEF-358DC99BEBA2}" destId="{0B1EB628-A91F-4A03-B0BB-BDAFAC944E32}" srcOrd="0" destOrd="0" presId="urn:microsoft.com/office/officeart/2005/8/layout/lProcess2"/>
    <dgm:cxn modelId="{287C3F7B-AFA3-4198-9C59-D5E6D58A63DD}" type="presParOf" srcId="{5919383B-3DF0-4CAB-8AEF-358DC99BEBA2}" destId="{22D324A2-907F-474B-8925-BC63DF620263}" srcOrd="1" destOrd="0" presId="urn:microsoft.com/office/officeart/2005/8/layout/lProcess2"/>
    <dgm:cxn modelId="{113ABB28-B5E1-42C7-A947-FBEF21C632C8}" type="presParOf" srcId="{5919383B-3DF0-4CAB-8AEF-358DC99BEBA2}" destId="{B0E7295E-6666-4ACB-80EA-DE855883143F}" srcOrd="2" destOrd="0" presId="urn:microsoft.com/office/officeart/2005/8/layout/lProcess2"/>
    <dgm:cxn modelId="{939D91EB-AB50-477B-AF3D-791C7C673AB6}" type="presParOf" srcId="{5919383B-3DF0-4CAB-8AEF-358DC99BEBA2}" destId="{EE0DBFC5-B3A9-46AB-8B97-37671AF296E5}" srcOrd="3" destOrd="0" presId="urn:microsoft.com/office/officeart/2005/8/layout/lProcess2"/>
    <dgm:cxn modelId="{168F17C9-6FEE-46D8-9627-5B27C0C4F88D}" type="presParOf" srcId="{5919383B-3DF0-4CAB-8AEF-358DC99BEBA2}" destId="{064E88C3-E887-4D2A-A7D8-DD9B3800DE62}" srcOrd="4" destOrd="0" presId="urn:microsoft.com/office/officeart/2005/8/layout/lProcess2"/>
    <dgm:cxn modelId="{40A3436F-3F44-4648-B12D-D2F95AE02122}" type="presParOf" srcId="{53ABD22A-8AB2-4EA0-AA13-B6AE8D1D0D95}" destId="{94A8A13A-0AEC-4788-809A-A7FF2890E2E1}" srcOrd="3" destOrd="0" presId="urn:microsoft.com/office/officeart/2005/8/layout/lProcess2"/>
    <dgm:cxn modelId="{F6C4593C-1FB6-443A-A8FA-6E8A44D8BA27}" type="presParOf" srcId="{53ABD22A-8AB2-4EA0-AA13-B6AE8D1D0D95}" destId="{88CFFD24-2A1F-4D8B-BA8F-E1D32DDA6D18}" srcOrd="4" destOrd="0" presId="urn:microsoft.com/office/officeart/2005/8/layout/lProcess2"/>
    <dgm:cxn modelId="{7BBCACF0-C585-4BB7-B762-1B2C2DD0068C}" type="presParOf" srcId="{88CFFD24-2A1F-4D8B-BA8F-E1D32DDA6D18}" destId="{D174599E-222E-457A-BFD6-2620322894C0}" srcOrd="0" destOrd="0" presId="urn:microsoft.com/office/officeart/2005/8/layout/lProcess2"/>
    <dgm:cxn modelId="{10611E5A-B9FF-4024-A20E-2057FAE80CD0}" type="presParOf" srcId="{88CFFD24-2A1F-4D8B-BA8F-E1D32DDA6D18}" destId="{2AF97D24-4962-40DC-B3F8-227063657348}" srcOrd="1" destOrd="0" presId="urn:microsoft.com/office/officeart/2005/8/layout/lProcess2"/>
    <dgm:cxn modelId="{3C57476E-E889-449E-813E-1CCE0AA3ABBA}" type="presParOf" srcId="{88CFFD24-2A1F-4D8B-BA8F-E1D32DDA6D18}" destId="{BB3F12E5-9ED4-46B9-BE83-7833756D4794}" srcOrd="2" destOrd="0" presId="urn:microsoft.com/office/officeart/2005/8/layout/lProcess2"/>
    <dgm:cxn modelId="{87DD2AA9-90E2-4C4A-8FE1-D8897ED74E7C}" type="presParOf" srcId="{BB3F12E5-9ED4-46B9-BE83-7833756D4794}" destId="{1DAC08EC-BDA1-47BE-9456-1EE3595CFE53}" srcOrd="0" destOrd="0" presId="urn:microsoft.com/office/officeart/2005/8/layout/lProcess2"/>
    <dgm:cxn modelId="{38F660CC-6854-4BC8-9D04-02953FFEEF5F}" type="presParOf" srcId="{1DAC08EC-BDA1-47BE-9456-1EE3595CFE53}" destId="{40F3804C-1CF2-4856-8949-48F6627C44B5}" srcOrd="0" destOrd="0" presId="urn:microsoft.com/office/officeart/2005/8/layout/lProcess2"/>
    <dgm:cxn modelId="{A264B9CD-9177-47B3-B3D0-5D9C6CFD091B}" type="presParOf" srcId="{53ABD22A-8AB2-4EA0-AA13-B6AE8D1D0D95}" destId="{B6C785C4-C6D4-413A-9ABA-3543FFB8D3BC}" srcOrd="5" destOrd="0" presId="urn:microsoft.com/office/officeart/2005/8/layout/lProcess2"/>
    <dgm:cxn modelId="{94D6E274-C544-4025-A1B7-D1EE0C4A4376}" type="presParOf" srcId="{53ABD22A-8AB2-4EA0-AA13-B6AE8D1D0D95}" destId="{BB02F8D8-5E88-456B-9032-F13312EF9A38}" srcOrd="6" destOrd="0" presId="urn:microsoft.com/office/officeart/2005/8/layout/lProcess2"/>
    <dgm:cxn modelId="{CFAAB49C-C2DD-42DB-A311-FAF8B6AAB2C4}" type="presParOf" srcId="{BB02F8D8-5E88-456B-9032-F13312EF9A38}" destId="{7D45AECE-F8B5-4053-86DF-5E204DA1AABA}" srcOrd="0" destOrd="0" presId="urn:microsoft.com/office/officeart/2005/8/layout/lProcess2"/>
    <dgm:cxn modelId="{9FE75BFC-EF42-4DC1-AE6C-B9FC74BD5B97}" type="presParOf" srcId="{BB02F8D8-5E88-456B-9032-F13312EF9A38}" destId="{005F1AE2-4C6A-4939-8ADE-E128F7EF5B51}" srcOrd="1" destOrd="0" presId="urn:microsoft.com/office/officeart/2005/8/layout/lProcess2"/>
    <dgm:cxn modelId="{AC3CB9D9-77B5-482B-A143-FFAA7CEED4EF}" type="presParOf" srcId="{BB02F8D8-5E88-456B-9032-F13312EF9A38}" destId="{77A51793-56B4-4FCC-9DD5-6E97A99D9A45}" srcOrd="2" destOrd="0" presId="urn:microsoft.com/office/officeart/2005/8/layout/lProcess2"/>
    <dgm:cxn modelId="{F4FA81E6-F204-4AA2-B8DF-5738BD5474F8}" type="presParOf" srcId="{77A51793-56B4-4FCC-9DD5-6E97A99D9A45}" destId="{E28261DB-F241-4B92-AB7F-2F8D7370FDB0}" srcOrd="0" destOrd="0" presId="urn:microsoft.com/office/officeart/2005/8/layout/lProcess2"/>
    <dgm:cxn modelId="{D248945F-D525-4BB3-9F1E-7F0A88F00E15}" type="presParOf" srcId="{E28261DB-F241-4B92-AB7F-2F8D7370FDB0}" destId="{11E2E5ED-2C16-425D-9DAF-1F80DFBA6D7C}" srcOrd="0" destOrd="0" presId="urn:microsoft.com/office/officeart/2005/8/layout/lProcess2"/>
    <dgm:cxn modelId="{27AAC4B3-2175-41CB-83A3-48BE70424381}" type="presParOf" srcId="{53ABD22A-8AB2-4EA0-AA13-B6AE8D1D0D95}" destId="{DB0F2F08-7FE7-4EB5-8479-87F343EB3640}" srcOrd="7" destOrd="0" presId="urn:microsoft.com/office/officeart/2005/8/layout/lProcess2"/>
    <dgm:cxn modelId="{72469167-97C6-4CD8-8B99-E51BEC246D90}" type="presParOf" srcId="{53ABD22A-8AB2-4EA0-AA13-B6AE8D1D0D95}" destId="{C7771065-4068-46B9-88FD-461C5360ABF1}" srcOrd="8" destOrd="0" presId="urn:microsoft.com/office/officeart/2005/8/layout/lProcess2"/>
    <dgm:cxn modelId="{D87AC78C-AA70-4287-A27D-7FFA3162CFBE}" type="presParOf" srcId="{C7771065-4068-46B9-88FD-461C5360ABF1}" destId="{12CE0E28-AFA6-4EC6-9E45-E0FE3F2BE3AE}" srcOrd="0" destOrd="0" presId="urn:microsoft.com/office/officeart/2005/8/layout/lProcess2"/>
    <dgm:cxn modelId="{913ED616-5AB9-4E21-96E1-125A7255253E}" type="presParOf" srcId="{C7771065-4068-46B9-88FD-461C5360ABF1}" destId="{7BDA2030-7165-44B4-9A3E-3240290D6205}" srcOrd="1" destOrd="0" presId="urn:microsoft.com/office/officeart/2005/8/layout/lProcess2"/>
    <dgm:cxn modelId="{2A0AEA26-FE0C-40FC-B454-D4221B6DFB8B}" type="presParOf" srcId="{C7771065-4068-46B9-88FD-461C5360ABF1}" destId="{7B74CA4A-687B-4ADC-AC39-C0C2E5CF75A7}" srcOrd="2" destOrd="0" presId="urn:microsoft.com/office/officeart/2005/8/layout/lProcess2"/>
    <dgm:cxn modelId="{E3FA9FA4-E463-431A-9F4D-FD5B96FEF81E}" type="presParOf" srcId="{7B74CA4A-687B-4ADC-AC39-C0C2E5CF75A7}" destId="{4FFFB7C9-C0AD-497F-9898-E85D38F50335}" srcOrd="0" destOrd="0" presId="urn:microsoft.com/office/officeart/2005/8/layout/lProcess2"/>
    <dgm:cxn modelId="{B76DDB27-1C86-4A60-80CC-822DD3D3A708}" type="presParOf" srcId="{4FFFB7C9-C0AD-497F-9898-E85D38F50335}" destId="{2B4E2960-875A-4C12-9498-2D9822073D9F}"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E8C01B-ABD0-4694-B154-4EC5E73877C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908F522-CCAE-4187-AC75-F2976AED433C}">
      <dgm:prSet phldrT="[Text]"/>
      <dgm:spPr/>
      <dgm:t>
        <a:bodyPr/>
        <a:lstStyle/>
        <a:p>
          <a:r>
            <a:rPr lang="en-US" dirty="0"/>
            <a:t>Parallel redo can help</a:t>
          </a:r>
        </a:p>
      </dgm:t>
    </dgm:pt>
    <dgm:pt modelId="{A3602A98-3B1A-4FD1-AD4B-F7B36CB2C29C}" type="parTrans" cxnId="{2FC22689-A734-45EA-9887-E23FED5EBE99}">
      <dgm:prSet/>
      <dgm:spPr/>
      <dgm:t>
        <a:bodyPr/>
        <a:lstStyle/>
        <a:p>
          <a:endParaRPr lang="en-US"/>
        </a:p>
      </dgm:t>
    </dgm:pt>
    <dgm:pt modelId="{2158ED31-8163-4509-A3A6-D65E29F44661}" type="sibTrans" cxnId="{2FC22689-A734-45EA-9887-E23FED5EBE99}">
      <dgm:prSet/>
      <dgm:spPr/>
      <dgm:t>
        <a:bodyPr/>
        <a:lstStyle/>
        <a:p>
          <a:endParaRPr lang="en-US"/>
        </a:p>
      </dgm:t>
    </dgm:pt>
    <dgm:pt modelId="{87A1D241-BE96-404E-B8F1-667707C47BB3}">
      <dgm:prSet phldrT="[Text]"/>
      <dgm:spPr/>
      <dgm:t>
        <a:bodyPr/>
        <a:lstStyle/>
        <a:p>
          <a:r>
            <a:rPr lang="en-US" dirty="0"/>
            <a:t>“Long” recovery usually due to long undo</a:t>
          </a:r>
        </a:p>
      </dgm:t>
    </dgm:pt>
    <dgm:pt modelId="{C6502312-4373-4F54-8795-5CF2FCFAFC75}" type="parTrans" cxnId="{864EEBB6-3387-43AD-B8DE-DA428E588CF7}">
      <dgm:prSet/>
      <dgm:spPr/>
      <dgm:t>
        <a:bodyPr/>
        <a:lstStyle/>
        <a:p>
          <a:endParaRPr lang="en-US"/>
        </a:p>
      </dgm:t>
    </dgm:pt>
    <dgm:pt modelId="{46C28CE6-F1FB-490C-83F4-FCC1764B2686}" type="sibTrans" cxnId="{864EEBB6-3387-43AD-B8DE-DA428E588CF7}">
      <dgm:prSet/>
      <dgm:spPr/>
      <dgm:t>
        <a:bodyPr/>
        <a:lstStyle/>
        <a:p>
          <a:endParaRPr lang="en-US"/>
        </a:p>
      </dgm:t>
    </dgm:pt>
    <dgm:pt modelId="{148636D0-F758-4F84-82B8-D991A4A461C1}">
      <dgm:prSet phldrT="[Text]"/>
      <dgm:spPr/>
      <dgm:t>
        <a:bodyPr/>
        <a:lstStyle/>
        <a:p>
          <a:r>
            <a:rPr lang="en-US" dirty="0"/>
            <a:t>Undo dependent on oldest active transaction</a:t>
          </a:r>
        </a:p>
      </dgm:t>
    </dgm:pt>
    <dgm:pt modelId="{A45574D5-A9A8-4E72-A4D3-690E733DCE60}" type="parTrans" cxnId="{89FDCE87-270A-46A5-BC85-AADA59D61F87}">
      <dgm:prSet/>
      <dgm:spPr/>
      <dgm:t>
        <a:bodyPr/>
        <a:lstStyle/>
        <a:p>
          <a:endParaRPr lang="en-US"/>
        </a:p>
      </dgm:t>
    </dgm:pt>
    <dgm:pt modelId="{683EE71D-2D24-41E7-96DC-9456C3FBEDB8}" type="sibTrans" cxnId="{89FDCE87-270A-46A5-BC85-AADA59D61F87}">
      <dgm:prSet/>
      <dgm:spPr/>
      <dgm:t>
        <a:bodyPr/>
        <a:lstStyle/>
        <a:p>
          <a:endParaRPr lang="en-US"/>
        </a:p>
      </dgm:t>
    </dgm:pt>
    <dgm:pt modelId="{DB6298D5-4D01-422B-8DE2-D85F5AF7B5D1}" type="pres">
      <dgm:prSet presAssocID="{D3E8C01B-ABD0-4694-B154-4EC5E73877C6}" presName="diagram" presStyleCnt="0">
        <dgm:presLayoutVars>
          <dgm:dir/>
          <dgm:resizeHandles val="exact"/>
        </dgm:presLayoutVars>
      </dgm:prSet>
      <dgm:spPr/>
    </dgm:pt>
    <dgm:pt modelId="{142C0297-7972-44A3-91D9-677BBE6965B8}" type="pres">
      <dgm:prSet presAssocID="{4908F522-CCAE-4187-AC75-F2976AED433C}" presName="node" presStyleLbl="node1" presStyleIdx="0" presStyleCnt="3">
        <dgm:presLayoutVars>
          <dgm:bulletEnabled val="1"/>
        </dgm:presLayoutVars>
      </dgm:prSet>
      <dgm:spPr/>
    </dgm:pt>
    <dgm:pt modelId="{5DEFB087-CA9E-4709-AF64-D7EF181B29BD}" type="pres">
      <dgm:prSet presAssocID="{2158ED31-8163-4509-A3A6-D65E29F44661}" presName="sibTrans" presStyleCnt="0"/>
      <dgm:spPr/>
    </dgm:pt>
    <dgm:pt modelId="{3F567382-DF82-401B-BD2B-3094BE6E1D3E}" type="pres">
      <dgm:prSet presAssocID="{148636D0-F758-4F84-82B8-D991A4A461C1}" presName="node" presStyleLbl="node1" presStyleIdx="1" presStyleCnt="3">
        <dgm:presLayoutVars>
          <dgm:bulletEnabled val="1"/>
        </dgm:presLayoutVars>
      </dgm:prSet>
      <dgm:spPr/>
    </dgm:pt>
    <dgm:pt modelId="{2148E235-CE7F-4B53-A7CE-C475DE3F1260}" type="pres">
      <dgm:prSet presAssocID="{683EE71D-2D24-41E7-96DC-9456C3FBEDB8}" presName="sibTrans" presStyleCnt="0"/>
      <dgm:spPr/>
    </dgm:pt>
    <dgm:pt modelId="{4144D6A6-656B-4191-84EC-795DAAC0A419}" type="pres">
      <dgm:prSet presAssocID="{87A1D241-BE96-404E-B8F1-667707C47BB3}" presName="node" presStyleLbl="node1" presStyleIdx="2" presStyleCnt="3">
        <dgm:presLayoutVars>
          <dgm:bulletEnabled val="1"/>
        </dgm:presLayoutVars>
      </dgm:prSet>
      <dgm:spPr/>
    </dgm:pt>
  </dgm:ptLst>
  <dgm:cxnLst>
    <dgm:cxn modelId="{0B7BC740-D3B2-447F-BFAD-A979099CF222}" type="presOf" srcId="{4908F522-CCAE-4187-AC75-F2976AED433C}" destId="{142C0297-7972-44A3-91D9-677BBE6965B8}" srcOrd="0" destOrd="0" presId="urn:microsoft.com/office/officeart/2005/8/layout/default"/>
    <dgm:cxn modelId="{52D3186E-5D63-41FE-A38D-894BA6C12905}" type="presOf" srcId="{87A1D241-BE96-404E-B8F1-667707C47BB3}" destId="{4144D6A6-656B-4191-84EC-795DAAC0A419}" srcOrd="0" destOrd="0" presId="urn:microsoft.com/office/officeart/2005/8/layout/default"/>
    <dgm:cxn modelId="{658E1173-733D-44DD-B435-2C3666B73C10}" type="presOf" srcId="{148636D0-F758-4F84-82B8-D991A4A461C1}" destId="{3F567382-DF82-401B-BD2B-3094BE6E1D3E}" srcOrd="0" destOrd="0" presId="urn:microsoft.com/office/officeart/2005/8/layout/default"/>
    <dgm:cxn modelId="{89FDCE87-270A-46A5-BC85-AADA59D61F87}" srcId="{D3E8C01B-ABD0-4694-B154-4EC5E73877C6}" destId="{148636D0-F758-4F84-82B8-D991A4A461C1}" srcOrd="1" destOrd="0" parTransId="{A45574D5-A9A8-4E72-A4D3-690E733DCE60}" sibTransId="{683EE71D-2D24-41E7-96DC-9456C3FBEDB8}"/>
    <dgm:cxn modelId="{2FC22689-A734-45EA-9887-E23FED5EBE99}" srcId="{D3E8C01B-ABD0-4694-B154-4EC5E73877C6}" destId="{4908F522-CCAE-4187-AC75-F2976AED433C}" srcOrd="0" destOrd="0" parTransId="{A3602A98-3B1A-4FD1-AD4B-F7B36CB2C29C}" sibTransId="{2158ED31-8163-4509-A3A6-D65E29F44661}"/>
    <dgm:cxn modelId="{864EEBB6-3387-43AD-B8DE-DA428E588CF7}" srcId="{D3E8C01B-ABD0-4694-B154-4EC5E73877C6}" destId="{87A1D241-BE96-404E-B8F1-667707C47BB3}" srcOrd="2" destOrd="0" parTransId="{C6502312-4373-4F54-8795-5CF2FCFAFC75}" sibTransId="{46C28CE6-F1FB-490C-83F4-FCC1764B2686}"/>
    <dgm:cxn modelId="{72DC57CD-0F9A-4F51-88DD-272872A2591B}" type="presOf" srcId="{D3E8C01B-ABD0-4694-B154-4EC5E73877C6}" destId="{DB6298D5-4D01-422B-8DE2-D85F5AF7B5D1}" srcOrd="0" destOrd="0" presId="urn:microsoft.com/office/officeart/2005/8/layout/default"/>
    <dgm:cxn modelId="{BAE90153-57C3-4632-8995-161BF014ED03}" type="presParOf" srcId="{DB6298D5-4D01-422B-8DE2-D85F5AF7B5D1}" destId="{142C0297-7972-44A3-91D9-677BBE6965B8}" srcOrd="0" destOrd="0" presId="urn:microsoft.com/office/officeart/2005/8/layout/default"/>
    <dgm:cxn modelId="{FA8AD1EC-393A-4405-9532-456C383ABA03}" type="presParOf" srcId="{DB6298D5-4D01-422B-8DE2-D85F5AF7B5D1}" destId="{5DEFB087-CA9E-4709-AF64-D7EF181B29BD}" srcOrd="1" destOrd="0" presId="urn:microsoft.com/office/officeart/2005/8/layout/default"/>
    <dgm:cxn modelId="{1C759737-91DA-49BC-A4BF-31548F79646B}" type="presParOf" srcId="{DB6298D5-4D01-422B-8DE2-D85F5AF7B5D1}" destId="{3F567382-DF82-401B-BD2B-3094BE6E1D3E}" srcOrd="2" destOrd="0" presId="urn:microsoft.com/office/officeart/2005/8/layout/default"/>
    <dgm:cxn modelId="{CE64B358-2021-41B5-9A3C-01F4C5062CC2}" type="presParOf" srcId="{DB6298D5-4D01-422B-8DE2-D85F5AF7B5D1}" destId="{2148E235-CE7F-4B53-A7CE-C475DE3F1260}" srcOrd="3" destOrd="0" presId="urn:microsoft.com/office/officeart/2005/8/layout/default"/>
    <dgm:cxn modelId="{1289248F-B7D2-45EA-B058-D4DD028EB1E0}" type="presParOf" srcId="{DB6298D5-4D01-422B-8DE2-D85F5AF7B5D1}" destId="{4144D6A6-656B-4191-84EC-795DAAC0A41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06B5FFB-87A7-4D9F-9116-C3DE480B06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A593518-6782-4C7D-B252-62FE32B03F53}">
      <dgm:prSet phldrT="[Text]"/>
      <dgm:spPr/>
      <dgm:t>
        <a:bodyPr/>
        <a:lstStyle/>
        <a:p>
          <a:r>
            <a:rPr lang="en-US" dirty="0"/>
            <a:t>Persisted Version Store</a:t>
          </a:r>
        </a:p>
      </dgm:t>
    </dgm:pt>
    <dgm:pt modelId="{D1973079-C904-4B91-BA22-DCCABD512544}" type="parTrans" cxnId="{CE13E07E-ACBB-4C4D-8148-4D4FF7ABE22B}">
      <dgm:prSet/>
      <dgm:spPr/>
      <dgm:t>
        <a:bodyPr/>
        <a:lstStyle/>
        <a:p>
          <a:endParaRPr lang="en-US"/>
        </a:p>
      </dgm:t>
    </dgm:pt>
    <dgm:pt modelId="{A827483E-5110-450E-8992-3035724DF066}" type="sibTrans" cxnId="{CE13E07E-ACBB-4C4D-8148-4D4FF7ABE22B}">
      <dgm:prSet/>
      <dgm:spPr/>
      <dgm:t>
        <a:bodyPr/>
        <a:lstStyle/>
        <a:p>
          <a:endParaRPr lang="en-US"/>
        </a:p>
      </dgm:t>
    </dgm:pt>
    <dgm:pt modelId="{83235B57-F53F-4B44-8BB9-E3F449B922EA}">
      <dgm:prSet phldrT="[Text]"/>
      <dgm:spPr/>
      <dgm:t>
        <a:bodyPr/>
        <a:lstStyle/>
        <a:p>
          <a:r>
            <a:rPr lang="en-US" dirty="0"/>
            <a:t>Logical Revert</a:t>
          </a:r>
        </a:p>
      </dgm:t>
    </dgm:pt>
    <dgm:pt modelId="{D4EF6A3C-406E-4BBC-9DCB-8D3BECCDC860}" type="parTrans" cxnId="{621DFFF5-4D52-49A4-8B72-56F79043E437}">
      <dgm:prSet/>
      <dgm:spPr/>
      <dgm:t>
        <a:bodyPr/>
        <a:lstStyle/>
        <a:p>
          <a:endParaRPr lang="en-US"/>
        </a:p>
      </dgm:t>
    </dgm:pt>
    <dgm:pt modelId="{BF01D031-5375-4BEE-8FE7-A6D167752664}" type="sibTrans" cxnId="{621DFFF5-4D52-49A4-8B72-56F79043E437}">
      <dgm:prSet/>
      <dgm:spPr/>
      <dgm:t>
        <a:bodyPr/>
        <a:lstStyle/>
        <a:p>
          <a:endParaRPr lang="en-US"/>
        </a:p>
      </dgm:t>
    </dgm:pt>
    <dgm:pt modelId="{38613528-42BC-4973-9E02-82690165D0F0}">
      <dgm:prSet phldrT="[Text]"/>
      <dgm:spPr/>
      <dgm:t>
        <a:bodyPr/>
        <a:lstStyle/>
        <a:p>
          <a:r>
            <a:rPr lang="en-US" dirty="0"/>
            <a:t>sLog</a:t>
          </a:r>
        </a:p>
      </dgm:t>
    </dgm:pt>
    <dgm:pt modelId="{442217BB-76EE-4693-A3E6-0807CD9404DD}" type="parTrans" cxnId="{5BB90658-BF68-45F0-986A-11732F5A8B1E}">
      <dgm:prSet/>
      <dgm:spPr/>
      <dgm:t>
        <a:bodyPr/>
        <a:lstStyle/>
        <a:p>
          <a:endParaRPr lang="en-US"/>
        </a:p>
      </dgm:t>
    </dgm:pt>
    <dgm:pt modelId="{5B25A2CF-4F5D-4769-8F47-F08B70166D0E}" type="sibTrans" cxnId="{5BB90658-BF68-45F0-986A-11732F5A8B1E}">
      <dgm:prSet/>
      <dgm:spPr/>
      <dgm:t>
        <a:bodyPr/>
        <a:lstStyle/>
        <a:p>
          <a:endParaRPr lang="en-US"/>
        </a:p>
      </dgm:t>
    </dgm:pt>
    <dgm:pt modelId="{C9EDB6E8-8E1D-417A-A930-95F655966FF6}">
      <dgm:prSet phldrT="[Text]"/>
      <dgm:spPr/>
      <dgm:t>
        <a:bodyPr/>
        <a:lstStyle/>
        <a:p>
          <a:r>
            <a:rPr lang="en-US" dirty="0"/>
            <a:t>Cleaner</a:t>
          </a:r>
        </a:p>
      </dgm:t>
    </dgm:pt>
    <dgm:pt modelId="{6BE77B2F-4C49-42DB-A8E4-139C602CCFB5}" type="parTrans" cxnId="{4910D3F3-10C1-4290-9F61-E3341CF4939D}">
      <dgm:prSet/>
      <dgm:spPr/>
      <dgm:t>
        <a:bodyPr/>
        <a:lstStyle/>
        <a:p>
          <a:endParaRPr lang="en-US"/>
        </a:p>
      </dgm:t>
    </dgm:pt>
    <dgm:pt modelId="{0A1BE392-B18A-4856-9F82-4436E31A4B06}" type="sibTrans" cxnId="{4910D3F3-10C1-4290-9F61-E3341CF4939D}">
      <dgm:prSet/>
      <dgm:spPr/>
      <dgm:t>
        <a:bodyPr/>
        <a:lstStyle/>
        <a:p>
          <a:endParaRPr lang="en-US"/>
        </a:p>
      </dgm:t>
    </dgm:pt>
    <dgm:pt modelId="{84C581CE-261D-4027-A534-33D2AA03CB6A}" type="pres">
      <dgm:prSet presAssocID="{206B5FFB-87A7-4D9F-9116-C3DE480B066E}" presName="diagram" presStyleCnt="0">
        <dgm:presLayoutVars>
          <dgm:dir/>
          <dgm:resizeHandles val="exact"/>
        </dgm:presLayoutVars>
      </dgm:prSet>
      <dgm:spPr/>
    </dgm:pt>
    <dgm:pt modelId="{9DB184BF-9D04-49B0-89F1-E7B252FF6E2B}" type="pres">
      <dgm:prSet presAssocID="{AA593518-6782-4C7D-B252-62FE32B03F53}" presName="node" presStyleLbl="node1" presStyleIdx="0" presStyleCnt="4">
        <dgm:presLayoutVars>
          <dgm:bulletEnabled val="1"/>
        </dgm:presLayoutVars>
      </dgm:prSet>
      <dgm:spPr/>
    </dgm:pt>
    <dgm:pt modelId="{BF8AE313-5ECB-4F55-9892-428B0A911678}" type="pres">
      <dgm:prSet presAssocID="{A827483E-5110-450E-8992-3035724DF066}" presName="sibTrans" presStyleCnt="0"/>
      <dgm:spPr/>
    </dgm:pt>
    <dgm:pt modelId="{9ED8D298-C79D-4AF2-9347-1CD084771BD1}" type="pres">
      <dgm:prSet presAssocID="{83235B57-F53F-4B44-8BB9-E3F449B922EA}" presName="node" presStyleLbl="node1" presStyleIdx="1" presStyleCnt="4">
        <dgm:presLayoutVars>
          <dgm:bulletEnabled val="1"/>
        </dgm:presLayoutVars>
      </dgm:prSet>
      <dgm:spPr/>
    </dgm:pt>
    <dgm:pt modelId="{CB893C80-4F45-41CE-9D61-A90C4E7032E3}" type="pres">
      <dgm:prSet presAssocID="{BF01D031-5375-4BEE-8FE7-A6D167752664}" presName="sibTrans" presStyleCnt="0"/>
      <dgm:spPr/>
    </dgm:pt>
    <dgm:pt modelId="{B3AB1A72-1047-4A58-81A4-447D62BE6B7C}" type="pres">
      <dgm:prSet presAssocID="{38613528-42BC-4973-9E02-82690165D0F0}" presName="node" presStyleLbl="node1" presStyleIdx="2" presStyleCnt="4">
        <dgm:presLayoutVars>
          <dgm:bulletEnabled val="1"/>
        </dgm:presLayoutVars>
      </dgm:prSet>
      <dgm:spPr/>
    </dgm:pt>
    <dgm:pt modelId="{1AB3775E-7083-4875-BE44-5CC3E19AD9B9}" type="pres">
      <dgm:prSet presAssocID="{5B25A2CF-4F5D-4769-8F47-F08B70166D0E}" presName="sibTrans" presStyleCnt="0"/>
      <dgm:spPr/>
    </dgm:pt>
    <dgm:pt modelId="{5B04727B-952E-4F49-BA24-4E9249308685}" type="pres">
      <dgm:prSet presAssocID="{C9EDB6E8-8E1D-417A-A930-95F655966FF6}" presName="node" presStyleLbl="node1" presStyleIdx="3" presStyleCnt="4">
        <dgm:presLayoutVars>
          <dgm:bulletEnabled val="1"/>
        </dgm:presLayoutVars>
      </dgm:prSet>
      <dgm:spPr/>
    </dgm:pt>
  </dgm:ptLst>
  <dgm:cxnLst>
    <dgm:cxn modelId="{FF3EB724-51F7-4A76-B74E-592FED48630B}" type="presOf" srcId="{AA593518-6782-4C7D-B252-62FE32B03F53}" destId="{9DB184BF-9D04-49B0-89F1-E7B252FF6E2B}" srcOrd="0" destOrd="0" presId="urn:microsoft.com/office/officeart/2005/8/layout/default"/>
    <dgm:cxn modelId="{1032AA60-9719-4E68-A05F-F325BABE28C4}" type="presOf" srcId="{206B5FFB-87A7-4D9F-9116-C3DE480B066E}" destId="{84C581CE-261D-4027-A534-33D2AA03CB6A}" srcOrd="0" destOrd="0" presId="urn:microsoft.com/office/officeart/2005/8/layout/default"/>
    <dgm:cxn modelId="{5BB90658-BF68-45F0-986A-11732F5A8B1E}" srcId="{206B5FFB-87A7-4D9F-9116-C3DE480B066E}" destId="{38613528-42BC-4973-9E02-82690165D0F0}" srcOrd="2" destOrd="0" parTransId="{442217BB-76EE-4693-A3E6-0807CD9404DD}" sibTransId="{5B25A2CF-4F5D-4769-8F47-F08B70166D0E}"/>
    <dgm:cxn modelId="{CE13E07E-ACBB-4C4D-8148-4D4FF7ABE22B}" srcId="{206B5FFB-87A7-4D9F-9116-C3DE480B066E}" destId="{AA593518-6782-4C7D-B252-62FE32B03F53}" srcOrd="0" destOrd="0" parTransId="{D1973079-C904-4B91-BA22-DCCABD512544}" sibTransId="{A827483E-5110-450E-8992-3035724DF066}"/>
    <dgm:cxn modelId="{18DDB4A6-F2D2-4706-9835-3A4E88C5D2A7}" type="presOf" srcId="{38613528-42BC-4973-9E02-82690165D0F0}" destId="{B3AB1A72-1047-4A58-81A4-447D62BE6B7C}" srcOrd="0" destOrd="0" presId="urn:microsoft.com/office/officeart/2005/8/layout/default"/>
    <dgm:cxn modelId="{AD4720C4-2B7F-45B0-AE05-4F7FBCB1AE75}" type="presOf" srcId="{C9EDB6E8-8E1D-417A-A930-95F655966FF6}" destId="{5B04727B-952E-4F49-BA24-4E9249308685}" srcOrd="0" destOrd="0" presId="urn:microsoft.com/office/officeart/2005/8/layout/default"/>
    <dgm:cxn modelId="{D051B7E3-3C57-450B-BF83-5A5DC3483110}" type="presOf" srcId="{83235B57-F53F-4B44-8BB9-E3F449B922EA}" destId="{9ED8D298-C79D-4AF2-9347-1CD084771BD1}" srcOrd="0" destOrd="0" presId="urn:microsoft.com/office/officeart/2005/8/layout/default"/>
    <dgm:cxn modelId="{4910D3F3-10C1-4290-9F61-E3341CF4939D}" srcId="{206B5FFB-87A7-4D9F-9116-C3DE480B066E}" destId="{C9EDB6E8-8E1D-417A-A930-95F655966FF6}" srcOrd="3" destOrd="0" parTransId="{6BE77B2F-4C49-42DB-A8E4-139C602CCFB5}" sibTransId="{0A1BE392-B18A-4856-9F82-4436E31A4B06}"/>
    <dgm:cxn modelId="{621DFFF5-4D52-49A4-8B72-56F79043E437}" srcId="{206B5FFB-87A7-4D9F-9116-C3DE480B066E}" destId="{83235B57-F53F-4B44-8BB9-E3F449B922EA}" srcOrd="1" destOrd="0" parTransId="{D4EF6A3C-406E-4BBC-9DCB-8D3BECCDC860}" sibTransId="{BF01D031-5375-4BEE-8FE7-A6D167752664}"/>
    <dgm:cxn modelId="{A5C8AF96-B859-43DB-9030-DAE554C87F13}" type="presParOf" srcId="{84C581CE-261D-4027-A534-33D2AA03CB6A}" destId="{9DB184BF-9D04-49B0-89F1-E7B252FF6E2B}" srcOrd="0" destOrd="0" presId="urn:microsoft.com/office/officeart/2005/8/layout/default"/>
    <dgm:cxn modelId="{6E163EC0-F315-482B-906D-6B3BC8E01F3E}" type="presParOf" srcId="{84C581CE-261D-4027-A534-33D2AA03CB6A}" destId="{BF8AE313-5ECB-4F55-9892-428B0A911678}" srcOrd="1" destOrd="0" presId="urn:microsoft.com/office/officeart/2005/8/layout/default"/>
    <dgm:cxn modelId="{F0AEF3EF-CA4D-47A9-A7AF-B705BCAF6406}" type="presParOf" srcId="{84C581CE-261D-4027-A534-33D2AA03CB6A}" destId="{9ED8D298-C79D-4AF2-9347-1CD084771BD1}" srcOrd="2" destOrd="0" presId="urn:microsoft.com/office/officeart/2005/8/layout/default"/>
    <dgm:cxn modelId="{E291418B-90EB-44EB-9724-36DF60AE2EEB}" type="presParOf" srcId="{84C581CE-261D-4027-A534-33D2AA03CB6A}" destId="{CB893C80-4F45-41CE-9D61-A90C4E7032E3}" srcOrd="3" destOrd="0" presId="urn:microsoft.com/office/officeart/2005/8/layout/default"/>
    <dgm:cxn modelId="{C2A8C9C3-8B38-49A9-975D-9DE3C3BC0BF8}" type="presParOf" srcId="{84C581CE-261D-4027-A534-33D2AA03CB6A}" destId="{B3AB1A72-1047-4A58-81A4-447D62BE6B7C}" srcOrd="4" destOrd="0" presId="urn:microsoft.com/office/officeart/2005/8/layout/default"/>
    <dgm:cxn modelId="{398EE6C7-7F6D-4F71-8F25-63A43EE75A16}" type="presParOf" srcId="{84C581CE-261D-4027-A534-33D2AA03CB6A}" destId="{1AB3775E-7083-4875-BE44-5CC3E19AD9B9}" srcOrd="5" destOrd="0" presId="urn:microsoft.com/office/officeart/2005/8/layout/default"/>
    <dgm:cxn modelId="{67319E41-D81D-42C8-904E-D19DBCC78665}" type="presParOf" srcId="{84C581CE-261D-4027-A534-33D2AA03CB6A}" destId="{5B04727B-952E-4F49-BA24-4E924930868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70FDB5B-0843-4686-B2F1-F7991B2447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B150C80-9725-47EB-AB59-9D1357133B38}">
      <dgm:prSet phldrT="[Text]"/>
      <dgm:spPr/>
      <dgm:t>
        <a:bodyPr/>
        <a:lstStyle/>
        <a:p>
          <a:r>
            <a:rPr lang="en-US" dirty="0"/>
            <a:t>R, Python, or Java on the same computer but not in SQL process</a:t>
          </a:r>
        </a:p>
      </dgm:t>
    </dgm:pt>
    <dgm:pt modelId="{F38FBAB8-3C2F-44F6-AC7A-BD77E0B42BEB}" type="parTrans" cxnId="{72DF7360-7E99-4B9B-B9B7-F75AEE408AD7}">
      <dgm:prSet/>
      <dgm:spPr/>
      <dgm:t>
        <a:bodyPr/>
        <a:lstStyle/>
        <a:p>
          <a:endParaRPr lang="en-US"/>
        </a:p>
      </dgm:t>
    </dgm:pt>
    <dgm:pt modelId="{4229DD21-4605-4FC2-AFE9-C7C53DD7C995}" type="sibTrans" cxnId="{72DF7360-7E99-4B9B-B9B7-F75AEE408AD7}">
      <dgm:prSet/>
      <dgm:spPr/>
      <dgm:t>
        <a:bodyPr/>
        <a:lstStyle/>
        <a:p>
          <a:endParaRPr lang="en-US"/>
        </a:p>
      </dgm:t>
    </dgm:pt>
    <dgm:pt modelId="{BF3233FA-3496-4497-A04F-E861BD9A7648}">
      <dgm:prSet phldrT="[Text]"/>
      <dgm:spPr/>
      <dgm:t>
        <a:bodyPr/>
        <a:lstStyle/>
        <a:p>
          <a:r>
            <a:rPr lang="en-US" dirty="0"/>
            <a:t>Compat across Windows and Linux</a:t>
          </a:r>
        </a:p>
      </dgm:t>
    </dgm:pt>
    <dgm:pt modelId="{9BDF8241-35BF-4DF0-A98E-4E3431B82254}" type="parTrans" cxnId="{ADD9736D-0CED-445F-BC92-FB736354AB1A}">
      <dgm:prSet/>
      <dgm:spPr/>
      <dgm:t>
        <a:bodyPr/>
        <a:lstStyle/>
        <a:p>
          <a:endParaRPr lang="en-US"/>
        </a:p>
      </dgm:t>
    </dgm:pt>
    <dgm:pt modelId="{1F140F44-3E66-458A-9288-58D18F8B8182}" type="sibTrans" cxnId="{ADD9736D-0CED-445F-BC92-FB736354AB1A}">
      <dgm:prSet/>
      <dgm:spPr/>
      <dgm:t>
        <a:bodyPr/>
        <a:lstStyle/>
        <a:p>
          <a:endParaRPr lang="en-US"/>
        </a:p>
      </dgm:t>
    </dgm:pt>
    <dgm:pt modelId="{6DA21F7C-C1D1-4D00-A2AD-2A0B70E289B3}">
      <dgm:prSet phldrT="[Text]"/>
      <dgm:spPr/>
      <dgm:t>
        <a:bodyPr/>
        <a:lstStyle/>
        <a:p>
          <a:r>
            <a:rPr lang="en-US" dirty="0"/>
            <a:t>Resource governor enabled</a:t>
          </a:r>
        </a:p>
      </dgm:t>
    </dgm:pt>
    <dgm:pt modelId="{CFF2001E-97F6-4458-AD58-CDD28AF5E718}" type="parTrans" cxnId="{69A2A591-4167-4F38-8B7A-783723C5468F}">
      <dgm:prSet/>
      <dgm:spPr/>
      <dgm:t>
        <a:bodyPr/>
        <a:lstStyle/>
        <a:p>
          <a:endParaRPr lang="en-US"/>
        </a:p>
      </dgm:t>
    </dgm:pt>
    <dgm:pt modelId="{9776DEDA-1C6E-4947-ADAA-75EBA3B4539D}" type="sibTrans" cxnId="{69A2A591-4167-4F38-8B7A-783723C5468F}">
      <dgm:prSet/>
      <dgm:spPr/>
      <dgm:t>
        <a:bodyPr/>
        <a:lstStyle/>
        <a:p>
          <a:endParaRPr lang="en-US"/>
        </a:p>
      </dgm:t>
    </dgm:pt>
    <dgm:pt modelId="{50EC864D-AE64-4E2B-B82F-7A884DBCCBF8}">
      <dgm:prSet phldrT="[Text]"/>
      <dgm:spPr/>
      <dgm:t>
        <a:bodyPr/>
        <a:lstStyle/>
        <a:p>
          <a:r>
            <a:rPr lang="en-US" dirty="0"/>
            <a:t>Extend the T-SQL language</a:t>
          </a:r>
        </a:p>
      </dgm:t>
    </dgm:pt>
    <dgm:pt modelId="{F2EEC04A-1AF3-4E59-A13F-A66A0CE35CE5}" type="parTrans" cxnId="{D8F0BCF9-39F1-4EA3-8AFD-3F048BF18A69}">
      <dgm:prSet/>
      <dgm:spPr/>
      <dgm:t>
        <a:bodyPr/>
        <a:lstStyle/>
        <a:p>
          <a:endParaRPr lang="en-US"/>
        </a:p>
      </dgm:t>
    </dgm:pt>
    <dgm:pt modelId="{1BAE82AA-6C7F-4603-A024-D105E096BA45}" type="sibTrans" cxnId="{D8F0BCF9-39F1-4EA3-8AFD-3F048BF18A69}">
      <dgm:prSet/>
      <dgm:spPr/>
      <dgm:t>
        <a:bodyPr/>
        <a:lstStyle/>
        <a:p>
          <a:endParaRPr lang="en-US"/>
        </a:p>
      </dgm:t>
    </dgm:pt>
    <dgm:pt modelId="{90022685-EECD-4C08-BEFA-EA2F1CDEA93B}">
      <dgm:prSet phldrT="[Text]"/>
      <dgm:spPr/>
      <dgm:t>
        <a:bodyPr/>
        <a:lstStyle/>
        <a:p>
          <a:r>
            <a:rPr lang="en-US" dirty="0"/>
            <a:t>Secure and isolated</a:t>
          </a:r>
        </a:p>
      </dgm:t>
    </dgm:pt>
    <dgm:pt modelId="{44C679FA-B258-4620-BB12-0B2D7655B976}" type="parTrans" cxnId="{3772A655-0FC9-43F9-991B-CD557B04F71A}">
      <dgm:prSet/>
      <dgm:spPr/>
      <dgm:t>
        <a:bodyPr/>
        <a:lstStyle/>
        <a:p>
          <a:endParaRPr lang="en-US"/>
        </a:p>
      </dgm:t>
    </dgm:pt>
    <dgm:pt modelId="{791AFF30-9717-4125-A2A4-FB99124E554E}" type="sibTrans" cxnId="{3772A655-0FC9-43F9-991B-CD557B04F71A}">
      <dgm:prSet/>
      <dgm:spPr/>
      <dgm:t>
        <a:bodyPr/>
        <a:lstStyle/>
        <a:p>
          <a:endParaRPr lang="en-US"/>
        </a:p>
      </dgm:t>
    </dgm:pt>
    <dgm:pt modelId="{5D62B1E0-C25A-44B7-AA13-26C31EBC47E6}">
      <dgm:prSet phldrT="[Text]"/>
      <dgm:spPr/>
      <dgm:t>
        <a:bodyPr/>
        <a:lstStyle/>
        <a:p>
          <a:r>
            <a:rPr lang="en-US" dirty="0"/>
            <a:t>Machine Learning</a:t>
          </a:r>
        </a:p>
      </dgm:t>
    </dgm:pt>
    <dgm:pt modelId="{4DFD104D-8AEC-4E19-8572-E2BEF7B9E809}" type="parTrans" cxnId="{DC100FBE-79E6-4243-9649-828F8D8A0B8E}">
      <dgm:prSet/>
      <dgm:spPr/>
      <dgm:t>
        <a:bodyPr/>
        <a:lstStyle/>
        <a:p>
          <a:endParaRPr lang="en-US"/>
        </a:p>
      </dgm:t>
    </dgm:pt>
    <dgm:pt modelId="{621490BA-5528-4161-B1FD-5C3CCBF849BB}" type="sibTrans" cxnId="{DC100FBE-79E6-4243-9649-828F8D8A0B8E}">
      <dgm:prSet/>
      <dgm:spPr/>
      <dgm:t>
        <a:bodyPr/>
        <a:lstStyle/>
        <a:p>
          <a:endParaRPr lang="en-US"/>
        </a:p>
      </dgm:t>
    </dgm:pt>
    <dgm:pt modelId="{149F2335-6CCB-4C43-BB82-A4257947A965}" type="pres">
      <dgm:prSet presAssocID="{970FDB5B-0843-4686-B2F1-F7991B2447C1}" presName="diagram" presStyleCnt="0">
        <dgm:presLayoutVars>
          <dgm:dir/>
          <dgm:resizeHandles val="exact"/>
        </dgm:presLayoutVars>
      </dgm:prSet>
      <dgm:spPr/>
    </dgm:pt>
    <dgm:pt modelId="{6EC20FFF-23F7-42C3-8D81-883B955D1F83}" type="pres">
      <dgm:prSet presAssocID="{AB150C80-9725-47EB-AB59-9D1357133B38}" presName="node" presStyleLbl="node1" presStyleIdx="0" presStyleCnt="6">
        <dgm:presLayoutVars>
          <dgm:bulletEnabled val="1"/>
        </dgm:presLayoutVars>
      </dgm:prSet>
      <dgm:spPr/>
    </dgm:pt>
    <dgm:pt modelId="{BB81864E-4F9D-456E-AE43-1D1B5240AD36}" type="pres">
      <dgm:prSet presAssocID="{4229DD21-4605-4FC2-AFE9-C7C53DD7C995}" presName="sibTrans" presStyleCnt="0"/>
      <dgm:spPr/>
    </dgm:pt>
    <dgm:pt modelId="{910A122A-2929-44C4-853D-706CDE98E43F}" type="pres">
      <dgm:prSet presAssocID="{50EC864D-AE64-4E2B-B82F-7A884DBCCBF8}" presName="node" presStyleLbl="node1" presStyleIdx="1" presStyleCnt="6">
        <dgm:presLayoutVars>
          <dgm:bulletEnabled val="1"/>
        </dgm:presLayoutVars>
      </dgm:prSet>
      <dgm:spPr/>
    </dgm:pt>
    <dgm:pt modelId="{7C269FF0-0AA5-4638-9F50-55400E37D473}" type="pres">
      <dgm:prSet presAssocID="{1BAE82AA-6C7F-4603-A024-D105E096BA45}" presName="sibTrans" presStyleCnt="0"/>
      <dgm:spPr/>
    </dgm:pt>
    <dgm:pt modelId="{6B9D86E9-EA09-48A2-9E14-A3A8914269F9}" type="pres">
      <dgm:prSet presAssocID="{5D62B1E0-C25A-44B7-AA13-26C31EBC47E6}" presName="node" presStyleLbl="node1" presStyleIdx="2" presStyleCnt="6">
        <dgm:presLayoutVars>
          <dgm:bulletEnabled val="1"/>
        </dgm:presLayoutVars>
      </dgm:prSet>
      <dgm:spPr/>
    </dgm:pt>
    <dgm:pt modelId="{F1E16D96-C311-45BB-844C-D0DB56113651}" type="pres">
      <dgm:prSet presAssocID="{621490BA-5528-4161-B1FD-5C3CCBF849BB}" presName="sibTrans" presStyleCnt="0"/>
      <dgm:spPr/>
    </dgm:pt>
    <dgm:pt modelId="{AFE9D508-A6C4-4E19-B94A-3FC7366EEEA8}" type="pres">
      <dgm:prSet presAssocID="{BF3233FA-3496-4497-A04F-E861BD9A7648}" presName="node" presStyleLbl="node1" presStyleIdx="3" presStyleCnt="6">
        <dgm:presLayoutVars>
          <dgm:bulletEnabled val="1"/>
        </dgm:presLayoutVars>
      </dgm:prSet>
      <dgm:spPr/>
    </dgm:pt>
    <dgm:pt modelId="{7C9CF341-3E95-45C5-AC0F-E42AB60ABF8D}" type="pres">
      <dgm:prSet presAssocID="{1F140F44-3E66-458A-9288-58D18F8B8182}" presName="sibTrans" presStyleCnt="0"/>
      <dgm:spPr/>
    </dgm:pt>
    <dgm:pt modelId="{509E2887-E6A7-40B6-9D56-4583D773DD4B}" type="pres">
      <dgm:prSet presAssocID="{90022685-EECD-4C08-BEFA-EA2F1CDEA93B}" presName="node" presStyleLbl="node1" presStyleIdx="4" presStyleCnt="6">
        <dgm:presLayoutVars>
          <dgm:bulletEnabled val="1"/>
        </dgm:presLayoutVars>
      </dgm:prSet>
      <dgm:spPr/>
    </dgm:pt>
    <dgm:pt modelId="{24C2CD66-4F50-4F6B-B8A1-FD1059312B7E}" type="pres">
      <dgm:prSet presAssocID="{791AFF30-9717-4125-A2A4-FB99124E554E}" presName="sibTrans" presStyleCnt="0"/>
      <dgm:spPr/>
    </dgm:pt>
    <dgm:pt modelId="{33B7DBE7-AE26-4AAD-85AE-0A1CF4D05DE2}" type="pres">
      <dgm:prSet presAssocID="{6DA21F7C-C1D1-4D00-A2AD-2A0B70E289B3}" presName="node" presStyleLbl="node1" presStyleIdx="5" presStyleCnt="6">
        <dgm:presLayoutVars>
          <dgm:bulletEnabled val="1"/>
        </dgm:presLayoutVars>
      </dgm:prSet>
      <dgm:spPr/>
    </dgm:pt>
  </dgm:ptLst>
  <dgm:cxnLst>
    <dgm:cxn modelId="{A18AF70B-7471-4E59-8B6B-A5247990DBE2}" type="presOf" srcId="{6DA21F7C-C1D1-4D00-A2AD-2A0B70E289B3}" destId="{33B7DBE7-AE26-4AAD-85AE-0A1CF4D05DE2}" srcOrd="0" destOrd="0" presId="urn:microsoft.com/office/officeart/2005/8/layout/default"/>
    <dgm:cxn modelId="{72DF7360-7E99-4B9B-B9B7-F75AEE408AD7}" srcId="{970FDB5B-0843-4686-B2F1-F7991B2447C1}" destId="{AB150C80-9725-47EB-AB59-9D1357133B38}" srcOrd="0" destOrd="0" parTransId="{F38FBAB8-3C2F-44F6-AC7A-BD77E0B42BEB}" sibTransId="{4229DD21-4605-4FC2-AFE9-C7C53DD7C995}"/>
    <dgm:cxn modelId="{ADD9736D-0CED-445F-BC92-FB736354AB1A}" srcId="{970FDB5B-0843-4686-B2F1-F7991B2447C1}" destId="{BF3233FA-3496-4497-A04F-E861BD9A7648}" srcOrd="3" destOrd="0" parTransId="{9BDF8241-35BF-4DF0-A98E-4E3431B82254}" sibTransId="{1F140F44-3E66-458A-9288-58D18F8B8182}"/>
    <dgm:cxn modelId="{3772A655-0FC9-43F9-991B-CD557B04F71A}" srcId="{970FDB5B-0843-4686-B2F1-F7991B2447C1}" destId="{90022685-EECD-4C08-BEFA-EA2F1CDEA93B}" srcOrd="4" destOrd="0" parTransId="{44C679FA-B258-4620-BB12-0B2D7655B976}" sibTransId="{791AFF30-9717-4125-A2A4-FB99124E554E}"/>
    <dgm:cxn modelId="{B73A2B7D-A2E0-4A1C-95D6-A5163CEC2F7A}" type="presOf" srcId="{AB150C80-9725-47EB-AB59-9D1357133B38}" destId="{6EC20FFF-23F7-42C3-8D81-883B955D1F83}" srcOrd="0" destOrd="0" presId="urn:microsoft.com/office/officeart/2005/8/layout/default"/>
    <dgm:cxn modelId="{69A2A591-4167-4F38-8B7A-783723C5468F}" srcId="{970FDB5B-0843-4686-B2F1-F7991B2447C1}" destId="{6DA21F7C-C1D1-4D00-A2AD-2A0B70E289B3}" srcOrd="5" destOrd="0" parTransId="{CFF2001E-97F6-4458-AD58-CDD28AF5E718}" sibTransId="{9776DEDA-1C6E-4947-ADAA-75EBA3B4539D}"/>
    <dgm:cxn modelId="{DC100FBE-79E6-4243-9649-828F8D8A0B8E}" srcId="{970FDB5B-0843-4686-B2F1-F7991B2447C1}" destId="{5D62B1E0-C25A-44B7-AA13-26C31EBC47E6}" srcOrd="2" destOrd="0" parTransId="{4DFD104D-8AEC-4E19-8572-E2BEF7B9E809}" sibTransId="{621490BA-5528-4161-B1FD-5C3CCBF849BB}"/>
    <dgm:cxn modelId="{398949E3-CAE0-437B-BA6B-2C5363C81FC7}" type="presOf" srcId="{50EC864D-AE64-4E2B-B82F-7A884DBCCBF8}" destId="{910A122A-2929-44C4-853D-706CDE98E43F}" srcOrd="0" destOrd="0" presId="urn:microsoft.com/office/officeart/2005/8/layout/default"/>
    <dgm:cxn modelId="{E650C0E4-0C08-41D9-9103-019C8728E67A}" type="presOf" srcId="{970FDB5B-0843-4686-B2F1-F7991B2447C1}" destId="{149F2335-6CCB-4C43-BB82-A4257947A965}" srcOrd="0" destOrd="0" presId="urn:microsoft.com/office/officeart/2005/8/layout/default"/>
    <dgm:cxn modelId="{976928E6-A608-4899-B901-9D5E1E6B780D}" type="presOf" srcId="{BF3233FA-3496-4497-A04F-E861BD9A7648}" destId="{AFE9D508-A6C4-4E19-B94A-3FC7366EEEA8}" srcOrd="0" destOrd="0" presId="urn:microsoft.com/office/officeart/2005/8/layout/default"/>
    <dgm:cxn modelId="{3B2C17EC-5973-484A-AED1-54F277FB2479}" type="presOf" srcId="{5D62B1E0-C25A-44B7-AA13-26C31EBC47E6}" destId="{6B9D86E9-EA09-48A2-9E14-A3A8914269F9}" srcOrd="0" destOrd="0" presId="urn:microsoft.com/office/officeart/2005/8/layout/default"/>
    <dgm:cxn modelId="{D8F0BCF9-39F1-4EA3-8AFD-3F048BF18A69}" srcId="{970FDB5B-0843-4686-B2F1-F7991B2447C1}" destId="{50EC864D-AE64-4E2B-B82F-7A884DBCCBF8}" srcOrd="1" destOrd="0" parTransId="{F2EEC04A-1AF3-4E59-A13F-A66A0CE35CE5}" sibTransId="{1BAE82AA-6C7F-4603-A024-D105E096BA45}"/>
    <dgm:cxn modelId="{B03DDCFA-FF52-4413-95FE-C1C26AA5A950}" type="presOf" srcId="{90022685-EECD-4C08-BEFA-EA2F1CDEA93B}" destId="{509E2887-E6A7-40B6-9D56-4583D773DD4B}" srcOrd="0" destOrd="0" presId="urn:microsoft.com/office/officeart/2005/8/layout/default"/>
    <dgm:cxn modelId="{FB578720-9A45-4C97-9FC6-642242412869}" type="presParOf" srcId="{149F2335-6CCB-4C43-BB82-A4257947A965}" destId="{6EC20FFF-23F7-42C3-8D81-883B955D1F83}" srcOrd="0" destOrd="0" presId="urn:microsoft.com/office/officeart/2005/8/layout/default"/>
    <dgm:cxn modelId="{A206378C-36E6-4A04-A408-498C094E3950}" type="presParOf" srcId="{149F2335-6CCB-4C43-BB82-A4257947A965}" destId="{BB81864E-4F9D-456E-AE43-1D1B5240AD36}" srcOrd="1" destOrd="0" presId="urn:microsoft.com/office/officeart/2005/8/layout/default"/>
    <dgm:cxn modelId="{CFCA08B1-B677-4978-9BC1-0E6F273FE263}" type="presParOf" srcId="{149F2335-6CCB-4C43-BB82-A4257947A965}" destId="{910A122A-2929-44C4-853D-706CDE98E43F}" srcOrd="2" destOrd="0" presId="urn:microsoft.com/office/officeart/2005/8/layout/default"/>
    <dgm:cxn modelId="{EE6AB35A-C9C8-4884-8C84-67B6AF586889}" type="presParOf" srcId="{149F2335-6CCB-4C43-BB82-A4257947A965}" destId="{7C269FF0-0AA5-4638-9F50-55400E37D473}" srcOrd="3" destOrd="0" presId="urn:microsoft.com/office/officeart/2005/8/layout/default"/>
    <dgm:cxn modelId="{D537F6F2-92C1-46D9-9C1D-30475B32D7B3}" type="presParOf" srcId="{149F2335-6CCB-4C43-BB82-A4257947A965}" destId="{6B9D86E9-EA09-48A2-9E14-A3A8914269F9}" srcOrd="4" destOrd="0" presId="urn:microsoft.com/office/officeart/2005/8/layout/default"/>
    <dgm:cxn modelId="{103C9A65-16E8-4E48-95A2-79AE6A8D6CEE}" type="presParOf" srcId="{149F2335-6CCB-4C43-BB82-A4257947A965}" destId="{F1E16D96-C311-45BB-844C-D0DB56113651}" srcOrd="5" destOrd="0" presId="urn:microsoft.com/office/officeart/2005/8/layout/default"/>
    <dgm:cxn modelId="{B3EDBE8F-3342-49D0-8C40-1AED4E60FEBF}" type="presParOf" srcId="{149F2335-6CCB-4C43-BB82-A4257947A965}" destId="{AFE9D508-A6C4-4E19-B94A-3FC7366EEEA8}" srcOrd="6" destOrd="0" presId="urn:microsoft.com/office/officeart/2005/8/layout/default"/>
    <dgm:cxn modelId="{DF8DDBF4-D6D2-4387-B117-5642DF6B25A3}" type="presParOf" srcId="{149F2335-6CCB-4C43-BB82-A4257947A965}" destId="{7C9CF341-3E95-45C5-AC0F-E42AB60ABF8D}" srcOrd="7" destOrd="0" presId="urn:microsoft.com/office/officeart/2005/8/layout/default"/>
    <dgm:cxn modelId="{A759EB2C-7255-4A10-958C-440F1716CA71}" type="presParOf" srcId="{149F2335-6CCB-4C43-BB82-A4257947A965}" destId="{509E2887-E6A7-40B6-9D56-4583D773DD4B}" srcOrd="8" destOrd="0" presId="urn:microsoft.com/office/officeart/2005/8/layout/default"/>
    <dgm:cxn modelId="{73D499E8-2CDA-4F61-A6B3-AFE8A5D6904B}" type="presParOf" srcId="{149F2335-6CCB-4C43-BB82-A4257947A965}" destId="{24C2CD66-4F50-4F6B-B8A1-FD1059312B7E}" srcOrd="9" destOrd="0" presId="urn:microsoft.com/office/officeart/2005/8/layout/default"/>
    <dgm:cxn modelId="{E8100A25-3565-40E8-B638-164ACA704422}" type="presParOf" srcId="{149F2335-6CCB-4C43-BB82-A4257947A965}" destId="{33B7DBE7-AE26-4AAD-85AE-0A1CF4D05DE2}"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0678B-6C37-4397-A984-AA0E5ECE5678}">
      <dsp:nvSpPr>
        <dsp:cNvPr id="0" name=""/>
        <dsp:cNvSpPr/>
      </dsp:nvSpPr>
      <dsp:spPr>
        <a:xfrm>
          <a:off x="5514"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6</a:t>
          </a:r>
        </a:p>
      </dsp:txBody>
      <dsp:txXfrm>
        <a:off x="5514" y="0"/>
        <a:ext cx="5304814" cy="1645919"/>
      </dsp:txXfrm>
    </dsp:sp>
    <dsp:sp modelId="{C558B9F0-3221-4C2C-9357-5311FBAD3127}">
      <dsp:nvSpPr>
        <dsp:cNvPr id="0" name=""/>
        <dsp:cNvSpPr/>
      </dsp:nvSpPr>
      <dsp:spPr>
        <a:xfrm>
          <a:off x="535996" y="1647527"/>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Query Store</a:t>
          </a:r>
        </a:p>
      </dsp:txBody>
      <dsp:txXfrm>
        <a:off x="546196" y="1657727"/>
        <a:ext cx="4223451" cy="327857"/>
      </dsp:txXfrm>
    </dsp:sp>
    <dsp:sp modelId="{DA2D2C97-9906-40C6-BF8F-965C6E93AAC7}">
      <dsp:nvSpPr>
        <dsp:cNvPr id="0" name=""/>
        <dsp:cNvSpPr/>
      </dsp:nvSpPr>
      <dsp:spPr>
        <a:xfrm>
          <a:off x="535996" y="204936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olybase</a:t>
          </a:r>
        </a:p>
      </dsp:txBody>
      <dsp:txXfrm>
        <a:off x="546196" y="2059562"/>
        <a:ext cx="4223451" cy="327857"/>
      </dsp:txXfrm>
    </dsp:sp>
    <dsp:sp modelId="{14955BB3-7454-4B7C-857E-D4B3A808FBEA}">
      <dsp:nvSpPr>
        <dsp:cNvPr id="0" name=""/>
        <dsp:cNvSpPr/>
      </dsp:nvSpPr>
      <dsp:spPr>
        <a:xfrm>
          <a:off x="535996" y="245119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Temporal Tables</a:t>
          </a:r>
        </a:p>
      </dsp:txBody>
      <dsp:txXfrm>
        <a:off x="546196" y="2461398"/>
        <a:ext cx="4223451" cy="327857"/>
      </dsp:txXfrm>
    </dsp:sp>
    <dsp:sp modelId="{9DAB298F-C7D7-40C3-AEAF-B3A9C1BE4F3E}">
      <dsp:nvSpPr>
        <dsp:cNvPr id="0" name=""/>
        <dsp:cNvSpPr/>
      </dsp:nvSpPr>
      <dsp:spPr>
        <a:xfrm>
          <a:off x="535996" y="2853034"/>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JSON</a:t>
          </a:r>
        </a:p>
      </dsp:txBody>
      <dsp:txXfrm>
        <a:off x="546196" y="2863234"/>
        <a:ext cx="4223451" cy="327857"/>
      </dsp:txXfrm>
    </dsp:sp>
    <dsp:sp modelId="{6625B9DB-080B-407C-A753-4A21C2B032D8}">
      <dsp:nvSpPr>
        <dsp:cNvPr id="0" name=""/>
        <dsp:cNvSpPr/>
      </dsp:nvSpPr>
      <dsp:spPr>
        <a:xfrm>
          <a:off x="535996" y="3254870"/>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lways Encrypted</a:t>
          </a:r>
        </a:p>
      </dsp:txBody>
      <dsp:txXfrm>
        <a:off x="546196" y="3265070"/>
        <a:ext cx="4223451" cy="327857"/>
      </dsp:txXfrm>
    </dsp:sp>
    <dsp:sp modelId="{F03BA2C8-0EA8-4027-9427-FC921CA28BFF}">
      <dsp:nvSpPr>
        <dsp:cNvPr id="0" name=""/>
        <dsp:cNvSpPr/>
      </dsp:nvSpPr>
      <dsp:spPr>
        <a:xfrm>
          <a:off x="535996" y="3656706"/>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ynamic Data Masking</a:t>
          </a:r>
        </a:p>
      </dsp:txBody>
      <dsp:txXfrm>
        <a:off x="546196" y="3666906"/>
        <a:ext cx="4223451" cy="327857"/>
      </dsp:txXfrm>
    </dsp:sp>
    <dsp:sp modelId="{CBCFF23A-7FA0-4F60-9358-40C4DE08C619}">
      <dsp:nvSpPr>
        <dsp:cNvPr id="0" name=""/>
        <dsp:cNvSpPr/>
      </dsp:nvSpPr>
      <dsp:spPr>
        <a:xfrm>
          <a:off x="535996" y="405854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ow Level Security</a:t>
          </a:r>
        </a:p>
      </dsp:txBody>
      <dsp:txXfrm>
        <a:off x="546196" y="4068742"/>
        <a:ext cx="4223451" cy="327857"/>
      </dsp:txXfrm>
    </dsp:sp>
    <dsp:sp modelId="{BAF2D761-C3A4-4FC9-9E66-C10498E393CA}">
      <dsp:nvSpPr>
        <dsp:cNvPr id="0" name=""/>
        <dsp:cNvSpPr/>
      </dsp:nvSpPr>
      <dsp:spPr>
        <a:xfrm>
          <a:off x="535996" y="446037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 and Machine Learning</a:t>
          </a:r>
        </a:p>
      </dsp:txBody>
      <dsp:txXfrm>
        <a:off x="546196" y="4470578"/>
        <a:ext cx="4223451" cy="327857"/>
      </dsp:txXfrm>
    </dsp:sp>
    <dsp:sp modelId="{52436426-258F-43C8-BBCF-6E0C021BD3A2}">
      <dsp:nvSpPr>
        <dsp:cNvPr id="0" name=""/>
        <dsp:cNvSpPr/>
      </dsp:nvSpPr>
      <dsp:spPr>
        <a:xfrm>
          <a:off x="535996" y="4862213"/>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It Just Runs Faster</a:t>
          </a:r>
        </a:p>
      </dsp:txBody>
      <dsp:txXfrm>
        <a:off x="546196" y="4872413"/>
        <a:ext cx="4223451" cy="327857"/>
      </dsp:txXfrm>
    </dsp:sp>
    <dsp:sp modelId="{8177A520-5A0C-4244-ADC2-822920B3603A}">
      <dsp:nvSpPr>
        <dsp:cNvPr id="0" name=""/>
        <dsp:cNvSpPr/>
      </dsp:nvSpPr>
      <dsp:spPr>
        <a:xfrm>
          <a:off x="5708190"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7</a:t>
          </a:r>
        </a:p>
      </dsp:txBody>
      <dsp:txXfrm>
        <a:off x="5708190" y="0"/>
        <a:ext cx="5304814" cy="1645919"/>
      </dsp:txXfrm>
    </dsp:sp>
    <dsp:sp modelId="{D9EA7C31-6A85-4C11-AF1A-E2FAB6E4C479}">
      <dsp:nvSpPr>
        <dsp:cNvPr id="0" name=""/>
        <dsp:cNvSpPr/>
      </dsp:nvSpPr>
      <dsp:spPr>
        <a:xfrm>
          <a:off x="6238672" y="164618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inux and Containers</a:t>
          </a:r>
        </a:p>
      </dsp:txBody>
      <dsp:txXfrm>
        <a:off x="6254100" y="1661615"/>
        <a:ext cx="4212995" cy="495883"/>
      </dsp:txXfrm>
    </dsp:sp>
    <dsp:sp modelId="{3BA22687-9C03-4BE3-B1D8-3AB7FB5EA104}">
      <dsp:nvSpPr>
        <dsp:cNvPr id="0" name=""/>
        <dsp:cNvSpPr/>
      </dsp:nvSpPr>
      <dsp:spPr>
        <a:xfrm>
          <a:off x="6238672" y="225396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daptive Query Processing</a:t>
          </a:r>
        </a:p>
      </dsp:txBody>
      <dsp:txXfrm>
        <a:off x="6254100" y="2269392"/>
        <a:ext cx="4212995" cy="495883"/>
      </dsp:txXfrm>
    </dsp:sp>
    <dsp:sp modelId="{43EFC17D-4366-4EEF-A4EC-C09CFDE6CFA1}">
      <dsp:nvSpPr>
        <dsp:cNvPr id="0" name=""/>
        <dsp:cNvSpPr/>
      </dsp:nvSpPr>
      <dsp:spPr>
        <a:xfrm>
          <a:off x="6238672" y="286174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utomatic Tuning</a:t>
          </a:r>
        </a:p>
      </dsp:txBody>
      <dsp:txXfrm>
        <a:off x="6254100" y="2877169"/>
        <a:ext cx="4212995" cy="495883"/>
      </dsp:txXfrm>
    </dsp:sp>
    <dsp:sp modelId="{0517F963-117B-4680-9A6B-E0356D8B1455}">
      <dsp:nvSpPr>
        <dsp:cNvPr id="0" name=""/>
        <dsp:cNvSpPr/>
      </dsp:nvSpPr>
      <dsp:spPr>
        <a:xfrm>
          <a:off x="6238672" y="346951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i="1" kern="1200" dirty="0"/>
            <a:t>Clusterless</a:t>
          </a:r>
          <a:r>
            <a:rPr lang="en-US" sz="1700" kern="1200" dirty="0"/>
            <a:t> Availability Groups</a:t>
          </a:r>
        </a:p>
      </dsp:txBody>
      <dsp:txXfrm>
        <a:off x="6254100" y="3484945"/>
        <a:ext cx="4212995" cy="495883"/>
      </dsp:txXfrm>
    </dsp:sp>
    <dsp:sp modelId="{BAECC03D-F0C0-406C-9F35-25FF06F8EB49}">
      <dsp:nvSpPr>
        <dsp:cNvPr id="0" name=""/>
        <dsp:cNvSpPr/>
      </dsp:nvSpPr>
      <dsp:spPr>
        <a:xfrm>
          <a:off x="6238672" y="407729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Graph database</a:t>
          </a:r>
        </a:p>
      </dsp:txBody>
      <dsp:txXfrm>
        <a:off x="6254100" y="4092722"/>
        <a:ext cx="4212995" cy="495883"/>
      </dsp:txXfrm>
    </dsp:sp>
    <dsp:sp modelId="{5D4E2A2F-3FEC-4A6B-A629-266559C51F3C}">
      <dsp:nvSpPr>
        <dsp:cNvPr id="0" name=""/>
        <dsp:cNvSpPr/>
      </dsp:nvSpPr>
      <dsp:spPr>
        <a:xfrm>
          <a:off x="6238672" y="468507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ython</a:t>
          </a:r>
        </a:p>
      </dsp:txBody>
      <dsp:txXfrm>
        <a:off x="6254100" y="4700499"/>
        <a:ext cx="4212995" cy="49588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5B289-DAEE-446B-A637-A4D6355BA418}">
      <dsp:nvSpPr>
        <dsp:cNvPr id="0" name=""/>
        <dsp:cNvSpPr/>
      </dsp:nvSpPr>
      <dsp:spPr>
        <a:xfrm>
          <a:off x="2159698"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11M+ Docker Pulls</a:t>
          </a:r>
          <a:endParaRPr lang="en-US" sz="1600" kern="1200" dirty="0"/>
        </a:p>
      </dsp:txBody>
      <dsp:txXfrm>
        <a:off x="2159698" y="16"/>
        <a:ext cx="1925221" cy="1155132"/>
      </dsp:txXfrm>
    </dsp:sp>
    <dsp:sp modelId="{8624D9B7-1B60-421A-A038-6AA038836560}">
      <dsp:nvSpPr>
        <dsp:cNvPr id="0" name=""/>
        <dsp:cNvSpPr/>
      </dsp:nvSpPr>
      <dsp:spPr>
        <a:xfrm>
          <a:off x="4277441"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ousands of instances and CPUs using SQL Server on Linux</a:t>
          </a:r>
        </a:p>
      </dsp:txBody>
      <dsp:txXfrm>
        <a:off x="4277441" y="16"/>
        <a:ext cx="1925221" cy="11551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CDE6F6-E719-45CB-8223-453D552928EE}">
      <dsp:nvSpPr>
        <dsp:cNvPr id="0" name=""/>
        <dsp:cNvSpPr/>
      </dsp:nvSpPr>
      <dsp:spPr>
        <a:xfrm>
          <a:off x="0" y="251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it the same as Windows?</a:t>
          </a:r>
        </a:p>
      </dsp:txBody>
      <dsp:txXfrm>
        <a:off x="17591" y="42758"/>
        <a:ext cx="8204420" cy="325178"/>
      </dsp:txXfrm>
    </dsp:sp>
    <dsp:sp modelId="{3ABBD336-40E8-4549-9A99-20E97504E217}">
      <dsp:nvSpPr>
        <dsp:cNvPr id="0" name=""/>
        <dsp:cNvSpPr/>
      </dsp:nvSpPr>
      <dsp:spPr>
        <a:xfrm>
          <a:off x="0" y="42584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performance the same as on Windows?</a:t>
          </a:r>
        </a:p>
      </dsp:txBody>
      <dsp:txXfrm>
        <a:off x="17591" y="443438"/>
        <a:ext cx="8204420" cy="325178"/>
      </dsp:txXfrm>
    </dsp:sp>
    <dsp:sp modelId="{CA4A3630-1C2E-4A1F-BE87-D2F87469B0AE}">
      <dsp:nvSpPr>
        <dsp:cNvPr id="0" name=""/>
        <dsp:cNvSpPr/>
      </dsp:nvSpPr>
      <dsp:spPr>
        <a:xfrm>
          <a:off x="0" y="82652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licensing the same as on Windows?</a:t>
          </a:r>
        </a:p>
      </dsp:txBody>
      <dsp:txXfrm>
        <a:off x="17591" y="844118"/>
        <a:ext cx="8204420" cy="325178"/>
      </dsp:txXfrm>
    </dsp:sp>
    <dsp:sp modelId="{E64BC9FD-807C-409A-9805-720EA7503BF4}">
      <dsp:nvSpPr>
        <dsp:cNvPr id="0" name=""/>
        <dsp:cNvSpPr/>
      </dsp:nvSpPr>
      <dsp:spPr>
        <a:xfrm>
          <a:off x="0" y="122720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Do I need to know Linux?</a:t>
          </a:r>
        </a:p>
      </dsp:txBody>
      <dsp:txXfrm>
        <a:off x="17591" y="1244798"/>
        <a:ext cx="8204420" cy="325178"/>
      </dsp:txXfrm>
    </dsp:sp>
    <dsp:sp modelId="{CCAEB940-CC1B-48F2-95A4-8902D8908AB9}">
      <dsp:nvSpPr>
        <dsp:cNvPr id="0" name=""/>
        <dsp:cNvSpPr/>
      </dsp:nvSpPr>
      <dsp:spPr>
        <a:xfrm>
          <a:off x="0" y="162788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SQL Server different in a container?</a:t>
          </a:r>
        </a:p>
      </dsp:txBody>
      <dsp:txXfrm>
        <a:off x="17591" y="1645478"/>
        <a:ext cx="8204420" cy="325178"/>
      </dsp:txXfrm>
    </dsp:sp>
    <dsp:sp modelId="{C40AE0EB-D8AA-451C-BEE8-21CE03FDFD29}">
      <dsp:nvSpPr>
        <dsp:cNvPr id="0" name=""/>
        <dsp:cNvSpPr/>
      </dsp:nvSpPr>
      <dsp:spPr>
        <a:xfrm>
          <a:off x="0" y="20285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Need multi-instance? Use containers</a:t>
          </a:r>
        </a:p>
      </dsp:txBody>
      <dsp:txXfrm>
        <a:off x="17591" y="2046158"/>
        <a:ext cx="8204420" cy="3251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659E-DBBA-4CD4-867F-27361D1003B4}">
      <dsp:nvSpPr>
        <dsp:cNvPr id="0" name=""/>
        <dsp:cNvSpPr/>
      </dsp:nvSpPr>
      <dsp:spPr>
        <a:xfrm>
          <a:off x="7427"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a:t>
          </a:r>
        </a:p>
      </dsp:txBody>
      <dsp:txXfrm>
        <a:off x="7427" y="140189"/>
        <a:ext cx="1110057" cy="666034"/>
      </dsp:txXfrm>
    </dsp:sp>
    <dsp:sp modelId="{08BD63EA-CEE8-40D6-9CD7-E336968F521F}">
      <dsp:nvSpPr>
        <dsp:cNvPr id="0" name=""/>
        <dsp:cNvSpPr/>
      </dsp:nvSpPr>
      <dsp:spPr>
        <a:xfrm>
          <a:off x="1228490"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tools</a:t>
          </a:r>
        </a:p>
      </dsp:txBody>
      <dsp:txXfrm>
        <a:off x="1228490" y="140189"/>
        <a:ext cx="1110057" cy="666034"/>
      </dsp:txXfrm>
    </dsp:sp>
    <dsp:sp modelId="{C9A64BF8-7013-4702-A8E8-11930FC18B2E}">
      <dsp:nvSpPr>
        <dsp:cNvPr id="0" name=""/>
        <dsp:cNvSpPr/>
      </dsp:nvSpPr>
      <dsp:spPr>
        <a:xfrm>
          <a:off x="2449553"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fts</a:t>
          </a:r>
        </a:p>
      </dsp:txBody>
      <dsp:txXfrm>
        <a:off x="2449553" y="140189"/>
        <a:ext cx="1110057" cy="666034"/>
      </dsp:txXfrm>
    </dsp:sp>
    <dsp:sp modelId="{62A692D1-E9B0-4E60-B17C-FDA65098E03F}">
      <dsp:nvSpPr>
        <dsp:cNvPr id="0" name=""/>
        <dsp:cNvSpPr/>
      </dsp:nvSpPr>
      <dsp:spPr>
        <a:xfrm>
          <a:off x="3670616"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ha</a:t>
          </a:r>
        </a:p>
      </dsp:txBody>
      <dsp:txXfrm>
        <a:off x="3670616" y="140189"/>
        <a:ext cx="1110057" cy="666034"/>
      </dsp:txXfrm>
    </dsp:sp>
    <dsp:sp modelId="{40EAA6A1-C5F3-48C0-A627-D89ECF4DE8EE}">
      <dsp:nvSpPr>
        <dsp:cNvPr id="0" name=""/>
        <dsp:cNvSpPr/>
      </dsp:nvSpPr>
      <dsp:spPr>
        <a:xfrm>
          <a:off x="4891679"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is</a:t>
          </a:r>
        </a:p>
      </dsp:txBody>
      <dsp:txXfrm>
        <a:off x="4891679" y="140189"/>
        <a:ext cx="1110057" cy="666034"/>
      </dsp:txXfrm>
    </dsp:sp>
    <dsp:sp modelId="{4243F23D-D958-4B07-953A-95F00D0DF05D}">
      <dsp:nvSpPr>
        <dsp:cNvPr id="0" name=""/>
        <dsp:cNvSpPr/>
      </dsp:nvSpPr>
      <dsp:spPr>
        <a:xfrm>
          <a:off x="6112742"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hlinkClick xmlns:r="http://schemas.openxmlformats.org/officeDocument/2006/relationships" r:id="rId1"/>
            </a:rPr>
            <a:t>“extensibility, Java, and ML Services”</a:t>
          </a:r>
          <a:endParaRPr lang="en-US" sz="1200" kern="1200" dirty="0"/>
        </a:p>
      </dsp:txBody>
      <dsp:txXfrm>
        <a:off x="6112742" y="140189"/>
        <a:ext cx="1110057" cy="666034"/>
      </dsp:txXfrm>
    </dsp:sp>
    <dsp:sp modelId="{68561884-0745-4510-9543-F7D214C60D44}">
      <dsp:nvSpPr>
        <dsp:cNvPr id="0" name=""/>
        <dsp:cNvSpPr/>
      </dsp:nvSpPr>
      <dsp:spPr>
        <a:xfrm>
          <a:off x="7333805"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ssql-server-polybase</a:t>
          </a:r>
          <a:endParaRPr lang="en-US" sz="1200" kern="1200" dirty="0"/>
        </a:p>
      </dsp:txBody>
      <dsp:txXfrm>
        <a:off x="7333805" y="140189"/>
        <a:ext cx="1110057" cy="66603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85EC8-B888-4F47-9261-22B2CA46B927}">
      <dsp:nvSpPr>
        <dsp:cNvPr id="0" name=""/>
        <dsp:cNvSpPr/>
      </dsp:nvSpPr>
      <dsp:spPr>
        <a:xfrm>
          <a:off x="3143"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Inside the Engine</a:t>
          </a:r>
        </a:p>
      </dsp:txBody>
      <dsp:txXfrm>
        <a:off x="3143" y="0"/>
        <a:ext cx="3023465" cy="1393842"/>
      </dsp:txXfrm>
    </dsp:sp>
    <dsp:sp modelId="{DFB13D7C-8E28-4030-B7E0-54EE205E2CA0}">
      <dsp:nvSpPr>
        <dsp:cNvPr id="0" name=""/>
        <dsp:cNvSpPr/>
      </dsp:nvSpPr>
      <dsp:spPr>
        <a:xfrm>
          <a:off x="305489"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ALTER SERVER CONFIGURATION</a:t>
          </a:r>
        </a:p>
      </dsp:txBody>
      <dsp:txXfrm>
        <a:off x="346519" y="1436233"/>
        <a:ext cx="2336712" cy="1318815"/>
      </dsp:txXfrm>
    </dsp:sp>
    <dsp:sp modelId="{F6885A86-2B33-4AA0-97E9-F29ED73946E1}">
      <dsp:nvSpPr>
        <dsp:cNvPr id="0" name=""/>
        <dsp:cNvSpPr/>
      </dsp:nvSpPr>
      <dsp:spPr>
        <a:xfrm>
          <a:off x="305489"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sp_configure</a:t>
          </a:r>
        </a:p>
      </dsp:txBody>
      <dsp:txXfrm>
        <a:off x="346519" y="3052627"/>
        <a:ext cx="2336712" cy="1318815"/>
      </dsp:txXfrm>
    </dsp:sp>
    <dsp:sp modelId="{D4A1A83A-EB8F-4629-8EA6-48A17EB0E121}">
      <dsp:nvSpPr>
        <dsp:cNvPr id="0" name=""/>
        <dsp:cNvSpPr/>
      </dsp:nvSpPr>
      <dsp:spPr>
        <a:xfrm>
          <a:off x="3256512"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Outside the Engine</a:t>
          </a:r>
        </a:p>
      </dsp:txBody>
      <dsp:txXfrm>
        <a:off x="3256512" y="0"/>
        <a:ext cx="3023465" cy="1393842"/>
      </dsp:txXfrm>
    </dsp:sp>
    <dsp:sp modelId="{7B1490E8-0459-4602-B48F-8121443A17E7}">
      <dsp:nvSpPr>
        <dsp:cNvPr id="0" name=""/>
        <dsp:cNvSpPr/>
      </dsp:nvSpPr>
      <dsp:spPr>
        <a:xfrm>
          <a:off x="3555715"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Environment variables during setup</a:t>
          </a:r>
        </a:p>
      </dsp:txBody>
      <dsp:txXfrm>
        <a:off x="3596745" y="1436233"/>
        <a:ext cx="2336712" cy="1318815"/>
      </dsp:txXfrm>
    </dsp:sp>
    <dsp:sp modelId="{CC7F087E-F092-4A8E-AAEA-A010D55FCBDD}">
      <dsp:nvSpPr>
        <dsp:cNvPr id="0" name=""/>
        <dsp:cNvSpPr/>
      </dsp:nvSpPr>
      <dsp:spPr>
        <a:xfrm>
          <a:off x="3555715"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ssql-conf script after setup</a:t>
          </a:r>
        </a:p>
      </dsp:txBody>
      <dsp:txXfrm>
        <a:off x="3596745" y="3052627"/>
        <a:ext cx="2336712" cy="131881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C1513C-8B4B-43EC-B63E-9329ED625168}">
      <dsp:nvSpPr>
        <dsp:cNvPr id="0" name=""/>
        <dsp:cNvSpPr/>
      </dsp:nvSpPr>
      <dsp:spPr>
        <a:xfrm>
          <a:off x="235900" y="2244"/>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 for each CU and GDR</a:t>
          </a:r>
        </a:p>
      </dsp:txBody>
      <dsp:txXfrm>
        <a:off x="235900" y="2244"/>
        <a:ext cx="2320825" cy="1392495"/>
      </dsp:txXfrm>
    </dsp:sp>
    <dsp:sp modelId="{A307D924-6CF2-41D4-8612-EE27D2DD2270}">
      <dsp:nvSpPr>
        <dsp:cNvPr id="0" name=""/>
        <dsp:cNvSpPr/>
      </dsp:nvSpPr>
      <dsp:spPr>
        <a:xfrm>
          <a:off x="235900" y="1626822"/>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r managers support update and rollback</a:t>
          </a:r>
        </a:p>
      </dsp:txBody>
      <dsp:txXfrm>
        <a:off x="235900" y="1626822"/>
        <a:ext cx="2320825" cy="1392495"/>
      </dsp:txXfrm>
    </dsp:sp>
    <dsp:sp modelId="{2D44F5FB-0D87-4F92-A2CF-08F985E319B1}">
      <dsp:nvSpPr>
        <dsp:cNvPr id="0" name=""/>
        <dsp:cNvSpPr/>
      </dsp:nvSpPr>
      <dsp:spPr>
        <a:xfrm>
          <a:off x="235900" y="3251400"/>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o more service packs</a:t>
          </a:r>
        </a:p>
      </dsp:txBody>
      <dsp:txXfrm>
        <a:off x="235900" y="3251400"/>
        <a:ext cx="2320825" cy="13924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0E3DC-DE7B-4306-B6DE-99EFD7E06822}">
      <dsp:nvSpPr>
        <dsp:cNvPr id="0" name=""/>
        <dsp:cNvSpPr/>
      </dsp:nvSpPr>
      <dsp:spPr>
        <a:xfrm>
          <a:off x="2147" y="0"/>
          <a:ext cx="5470571" cy="4683511"/>
        </a:xfrm>
        <a:prstGeom prst="roundRect">
          <a:avLst>
            <a:gd name="adj" fmla="val 5000"/>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Image</a:t>
          </a:r>
          <a:endParaRPr lang="en-US" sz="5800" kern="1200" dirty="0"/>
        </a:p>
      </dsp:txBody>
      <dsp:txXfrm rot="16200000">
        <a:off x="-1371034" y="1373182"/>
        <a:ext cx="3840479" cy="1094114"/>
      </dsp:txXfrm>
    </dsp:sp>
    <dsp:sp modelId="{CB54E232-A062-433F-8704-9A51A4E20B78}">
      <dsp:nvSpPr>
        <dsp:cNvPr id="0" name=""/>
        <dsp:cNvSpPr/>
      </dsp:nvSpPr>
      <dsp:spPr>
        <a:xfrm>
          <a:off x="1096262"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b="1" kern="1200" baseline="0" dirty="0"/>
            <a:t>Layered snapshot </a:t>
          </a:r>
          <a:r>
            <a:rPr lang="en-US" sz="1800" kern="1200" baseline="0" dirty="0"/>
            <a:t>of a set of files structured in a filesystem</a:t>
          </a:r>
          <a:endParaRPr lang="en-US" sz="1800" kern="1200" dirty="0"/>
        </a:p>
        <a:p>
          <a:pPr marL="0" lvl="0" indent="0" algn="l" defTabSz="800100">
            <a:lnSpc>
              <a:spcPct val="90000"/>
            </a:lnSpc>
            <a:spcBef>
              <a:spcPct val="0"/>
            </a:spcBef>
            <a:spcAft>
              <a:spcPct val="35000"/>
            </a:spcAft>
            <a:buNone/>
          </a:pPr>
          <a:r>
            <a:rPr lang="en-US" sz="1800" kern="1200" baseline="0" dirty="0"/>
            <a:t>Built with a </a:t>
          </a:r>
          <a:r>
            <a:rPr lang="en-US" sz="1800" b="1" kern="1200" baseline="0" dirty="0"/>
            <a:t>Dockerfile</a:t>
          </a:r>
          <a:r>
            <a:rPr lang="en-US" sz="1800" kern="1200" baseline="0" dirty="0"/>
            <a:t> using docker build or APIs</a:t>
          </a:r>
          <a:endParaRPr lang="en-US" sz="1800" kern="1200" dirty="0"/>
        </a:p>
        <a:p>
          <a:pPr marL="0" lvl="0" indent="0" algn="l" defTabSz="800100">
            <a:lnSpc>
              <a:spcPct val="90000"/>
            </a:lnSpc>
            <a:spcBef>
              <a:spcPct val="0"/>
            </a:spcBef>
            <a:spcAft>
              <a:spcPct val="35000"/>
            </a:spcAft>
            <a:buNone/>
          </a:pPr>
          <a:r>
            <a:rPr lang="en-US" sz="1800" kern="1200" baseline="0" dirty="0"/>
            <a:t>Most built with a </a:t>
          </a:r>
          <a:r>
            <a:rPr lang="en-US" sz="1800" b="1" kern="1200" baseline="0" dirty="0"/>
            <a:t>base image </a:t>
          </a:r>
          <a:r>
            <a:rPr lang="en-US" sz="1800" kern="1200" baseline="0" dirty="0"/>
            <a:t>of an OS</a:t>
          </a:r>
          <a:endParaRPr lang="en-US" sz="1800" kern="1200" dirty="0"/>
        </a:p>
        <a:p>
          <a:pPr marL="0" lvl="0" indent="0" algn="l" defTabSz="800100">
            <a:lnSpc>
              <a:spcPct val="90000"/>
            </a:lnSpc>
            <a:spcBef>
              <a:spcPct val="0"/>
            </a:spcBef>
            <a:spcAft>
              <a:spcPct val="35000"/>
            </a:spcAft>
            <a:buNone/>
          </a:pPr>
          <a:r>
            <a:rPr lang="en-US" sz="1800" kern="1200" baseline="0" dirty="0"/>
            <a:t>The base image OS must be the </a:t>
          </a:r>
          <a:r>
            <a:rPr lang="en-US" sz="1800" b="1" kern="1200" baseline="0" dirty="0"/>
            <a:t>same kernel as host</a:t>
          </a:r>
          <a:endParaRPr lang="en-US" sz="1800" kern="1200" dirty="0"/>
        </a:p>
      </dsp:txBody>
      <dsp:txXfrm>
        <a:off x="1096262" y="0"/>
        <a:ext cx="4075575" cy="4683511"/>
      </dsp:txXfrm>
    </dsp:sp>
    <dsp:sp modelId="{00F54136-19DD-4DE9-949D-37C7111CF126}">
      <dsp:nvSpPr>
        <dsp:cNvPr id="0" name=""/>
        <dsp:cNvSpPr/>
      </dsp:nvSpPr>
      <dsp:spPr>
        <a:xfrm>
          <a:off x="5664189" y="0"/>
          <a:ext cx="5470571" cy="4683511"/>
        </a:xfrm>
        <a:prstGeom prst="roundRect">
          <a:avLst>
            <a:gd name="adj" fmla="val 5000"/>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Container</a:t>
          </a:r>
          <a:endParaRPr lang="en-US" sz="5800" kern="1200" dirty="0"/>
        </a:p>
      </dsp:txBody>
      <dsp:txXfrm rot="16200000">
        <a:off x="4291006" y="1373182"/>
        <a:ext cx="3840479" cy="1094114"/>
      </dsp:txXfrm>
    </dsp:sp>
    <dsp:sp modelId="{1D8D2521-0363-4DBB-BE31-514C0BE79BBD}">
      <dsp:nvSpPr>
        <dsp:cNvPr id="0" name=""/>
        <dsp:cNvSpPr/>
      </dsp:nvSpPr>
      <dsp:spPr>
        <a:xfrm rot="5400000">
          <a:off x="5347320" y="3605628"/>
          <a:ext cx="688443" cy="820585"/>
        </a:xfrm>
        <a:prstGeom prst="flowChartExtra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F74BD-8F95-4592-97C5-9142AFBD2189}">
      <dsp:nvSpPr>
        <dsp:cNvPr id="0" name=""/>
        <dsp:cNvSpPr/>
      </dsp:nvSpPr>
      <dsp:spPr>
        <a:xfrm>
          <a:off x="6758303"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kern="1200" baseline="0" dirty="0"/>
            <a:t>Runtime instance of an image</a:t>
          </a:r>
          <a:endParaRPr lang="en-US" sz="1800" kern="1200" dirty="0"/>
        </a:p>
        <a:p>
          <a:pPr marL="0" lvl="0" indent="0" algn="l" defTabSz="800100">
            <a:lnSpc>
              <a:spcPct val="90000"/>
            </a:lnSpc>
            <a:spcBef>
              <a:spcPct val="0"/>
            </a:spcBef>
            <a:spcAft>
              <a:spcPct val="35000"/>
            </a:spcAft>
            <a:buNone/>
          </a:pPr>
          <a:r>
            <a:rPr lang="en-US" sz="1800" kern="1200" baseline="0" dirty="0"/>
            <a:t>Run as many you like based on the same image</a:t>
          </a:r>
          <a:endParaRPr lang="en-US" sz="1800" kern="1200" dirty="0"/>
        </a:p>
        <a:p>
          <a:pPr marL="0" lvl="0" indent="0" algn="l" defTabSz="800100">
            <a:lnSpc>
              <a:spcPct val="90000"/>
            </a:lnSpc>
            <a:spcBef>
              <a:spcPct val="0"/>
            </a:spcBef>
            <a:spcAft>
              <a:spcPct val="35000"/>
            </a:spcAft>
            <a:buNone/>
          </a:pPr>
          <a:r>
            <a:rPr lang="en-US" sz="1800" b="1" kern="1200" baseline="0" dirty="0"/>
            <a:t>Isolated</a:t>
          </a:r>
          <a:r>
            <a:rPr lang="en-US" sz="1800" kern="1200" baseline="0" dirty="0"/>
            <a:t> but can communicate with the “outside”</a:t>
          </a:r>
          <a:endParaRPr lang="en-US" sz="1800" kern="1200" dirty="0"/>
        </a:p>
        <a:p>
          <a:pPr marL="0" lvl="0" indent="0" algn="l" defTabSz="800100">
            <a:lnSpc>
              <a:spcPct val="90000"/>
            </a:lnSpc>
            <a:spcBef>
              <a:spcPct val="0"/>
            </a:spcBef>
            <a:spcAft>
              <a:spcPct val="35000"/>
            </a:spcAft>
            <a:buNone/>
          </a:pPr>
          <a:r>
            <a:rPr lang="en-US" sz="1800" kern="1200" baseline="0" dirty="0"/>
            <a:t>Has </a:t>
          </a:r>
          <a:r>
            <a:rPr lang="en-US" sz="1800" b="1" kern="1200" baseline="0" dirty="0"/>
            <a:t>access</a:t>
          </a:r>
          <a:r>
            <a:rPr lang="en-US" sz="1800" kern="1200" baseline="0" dirty="0"/>
            <a:t> by default to all CPU and memory resources</a:t>
          </a:r>
          <a:endParaRPr lang="en-US" sz="1800" kern="1200" dirty="0"/>
        </a:p>
        <a:p>
          <a:pPr marL="0" lvl="0" indent="0" algn="l" defTabSz="800100">
            <a:lnSpc>
              <a:spcPct val="90000"/>
            </a:lnSpc>
            <a:spcBef>
              <a:spcPct val="0"/>
            </a:spcBef>
            <a:spcAft>
              <a:spcPct val="35000"/>
            </a:spcAft>
            <a:buNone/>
          </a:pPr>
          <a:r>
            <a:rPr lang="en-US" sz="1800" kern="1200" baseline="0" dirty="0"/>
            <a:t>Each container has </a:t>
          </a:r>
          <a:r>
            <a:rPr lang="en-US" sz="1800" b="1" kern="1200" baseline="0" dirty="0"/>
            <a:t>writeable layer </a:t>
          </a:r>
          <a:r>
            <a:rPr lang="en-US" sz="1800" kern="1200" baseline="0" dirty="0"/>
            <a:t>but </a:t>
          </a:r>
          <a:r>
            <a:rPr lang="en-US" sz="1800" b="1" kern="1200" baseline="0" dirty="0"/>
            <a:t>share read-only image layer</a:t>
          </a:r>
          <a:endParaRPr lang="en-US" sz="1800" kern="1200" dirty="0"/>
        </a:p>
        <a:p>
          <a:pPr marL="0" lvl="0" indent="0" algn="l" defTabSz="800100">
            <a:lnSpc>
              <a:spcPct val="90000"/>
            </a:lnSpc>
            <a:spcBef>
              <a:spcPct val="0"/>
            </a:spcBef>
            <a:spcAft>
              <a:spcPct val="35000"/>
            </a:spcAft>
            <a:buNone/>
          </a:pPr>
          <a:r>
            <a:rPr lang="en-US" sz="1800" kern="1200" baseline="0" dirty="0"/>
            <a:t>Start and stop do not affect writeable layer</a:t>
          </a:r>
          <a:endParaRPr lang="en-US" sz="1800" kern="1200" dirty="0"/>
        </a:p>
        <a:p>
          <a:pPr marL="0" lvl="0" indent="0" algn="l" defTabSz="800100">
            <a:lnSpc>
              <a:spcPct val="90000"/>
            </a:lnSpc>
            <a:spcBef>
              <a:spcPct val="0"/>
            </a:spcBef>
            <a:spcAft>
              <a:spcPct val="35000"/>
            </a:spcAft>
            <a:buNone/>
          </a:pPr>
          <a:r>
            <a:rPr lang="en-US" sz="1800" b="1" kern="1200" baseline="0" dirty="0"/>
            <a:t>Remove deletes writeable layer</a:t>
          </a:r>
          <a:endParaRPr lang="en-US" sz="1800" kern="1200" dirty="0"/>
        </a:p>
        <a:p>
          <a:pPr marL="0" lvl="0" indent="0" algn="l" defTabSz="800100">
            <a:lnSpc>
              <a:spcPct val="90000"/>
            </a:lnSpc>
            <a:spcBef>
              <a:spcPct val="0"/>
            </a:spcBef>
            <a:spcAft>
              <a:spcPct val="35000"/>
            </a:spcAft>
            <a:buNone/>
          </a:pPr>
          <a:r>
            <a:rPr lang="en-US" sz="1800" b="1" kern="1200" baseline="0" dirty="0"/>
            <a:t>Volumes provide persistence on host</a:t>
          </a:r>
          <a:endParaRPr lang="en-US" sz="1800" kern="1200" dirty="0"/>
        </a:p>
      </dsp:txBody>
      <dsp:txXfrm>
        <a:off x="6758303" y="0"/>
        <a:ext cx="4075575" cy="46835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2F8480-9C09-4B04-9C4C-C045B2924EFA}">
      <dsp:nvSpPr>
        <dsp:cNvPr id="0" name=""/>
        <dsp:cNvSpPr/>
      </dsp:nvSpPr>
      <dsp:spPr>
        <a:xfrm>
          <a:off x="552"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VM = emulate hardware and load entire OS</a:t>
          </a:r>
        </a:p>
      </dsp:txBody>
      <dsp:txXfrm>
        <a:off x="552" y="18743"/>
        <a:ext cx="2155375" cy="1293225"/>
      </dsp:txXfrm>
    </dsp:sp>
    <dsp:sp modelId="{7E110545-13BE-443E-86D6-35AC005902B1}">
      <dsp:nvSpPr>
        <dsp:cNvPr id="0" name=""/>
        <dsp:cNvSpPr/>
      </dsp:nvSpPr>
      <dsp:spPr>
        <a:xfrm>
          <a:off x="2371465"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tainers = isolation but cooperate with host kernel</a:t>
          </a:r>
        </a:p>
      </dsp:txBody>
      <dsp:txXfrm>
        <a:off x="2371465" y="18743"/>
        <a:ext cx="2155375" cy="12932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49ED9-0CDF-463E-8624-14A510D3FFC6}">
      <dsp:nvSpPr>
        <dsp:cNvPr id="0" name=""/>
        <dsp:cNvSpPr/>
      </dsp:nvSpPr>
      <dsp:spPr>
        <a:xfrm>
          <a:off x="294691" y="3412"/>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Engine pre-installed</a:t>
          </a:r>
        </a:p>
      </dsp:txBody>
      <dsp:txXfrm>
        <a:off x="294691" y="3412"/>
        <a:ext cx="2298312" cy="1378987"/>
      </dsp:txXfrm>
    </dsp:sp>
    <dsp:sp modelId="{942BBD2B-F852-425E-85F5-A5351702B81D}">
      <dsp:nvSpPr>
        <dsp:cNvPr id="0" name=""/>
        <dsp:cNvSpPr/>
      </dsp:nvSpPr>
      <dsp:spPr>
        <a:xfrm>
          <a:off x="294691" y="1612231"/>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tools pre-installed</a:t>
          </a:r>
        </a:p>
      </dsp:txBody>
      <dsp:txXfrm>
        <a:off x="294691" y="1612231"/>
        <a:ext cx="2298312" cy="1378987"/>
      </dsp:txXfrm>
    </dsp:sp>
    <dsp:sp modelId="{573CCB76-FF01-4911-8502-CF4D944B35D3}">
      <dsp:nvSpPr>
        <dsp:cNvPr id="0" name=""/>
        <dsp:cNvSpPr/>
      </dsp:nvSpPr>
      <dsp:spPr>
        <a:xfrm>
          <a:off x="294691" y="3221050"/>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xmlns:r="http://schemas.openxmlformats.org/officeDocument/2006/relationships" r:id="rId1"/>
            </a:rPr>
            <a:t>here</a:t>
          </a:r>
          <a:r>
            <a:rPr lang="en-US" sz="2500" kern="1200" dirty="0">
              <a:ea typeface="Segoe UI" pitchFamily="34" charset="0"/>
              <a:cs typeface="Segoe UI" pitchFamily="34" charset="0"/>
            </a:rPr>
            <a:t> how to add other packages</a:t>
          </a:r>
          <a:endParaRPr lang="en-US" sz="2500" kern="1200" dirty="0"/>
        </a:p>
      </dsp:txBody>
      <dsp:txXfrm>
        <a:off x="294691" y="3221050"/>
        <a:ext cx="2298312" cy="1378987"/>
      </dsp:txXfrm>
    </dsp:sp>
    <dsp:sp modelId="{0486C7D6-14B3-4356-9E6B-4777A12A48E8}">
      <dsp:nvSpPr>
        <dsp:cNvPr id="0" name=""/>
        <dsp:cNvSpPr/>
      </dsp:nvSpPr>
      <dsp:spPr>
        <a:xfrm>
          <a:off x="294691" y="4829869"/>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Database and application compatibility</a:t>
          </a:r>
        </a:p>
      </dsp:txBody>
      <dsp:txXfrm>
        <a:off x="294691" y="4829869"/>
        <a:ext cx="2298312" cy="137898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FF878-1A60-4E47-9A24-794CDD479790}">
      <dsp:nvSpPr>
        <dsp:cNvPr id="0" name=""/>
        <dsp:cNvSpPr/>
      </dsp:nvSpPr>
      <dsp:spPr>
        <a:xfrm>
          <a:off x="0"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minikube</a:t>
          </a:r>
          <a:endParaRPr lang="en-US" sz="3000" kern="1200" dirty="0"/>
        </a:p>
        <a:p>
          <a:pPr marL="228600" lvl="1" indent="-228600" algn="l" defTabSz="1022350">
            <a:lnSpc>
              <a:spcPct val="90000"/>
            </a:lnSpc>
            <a:spcBef>
              <a:spcPct val="0"/>
            </a:spcBef>
            <a:spcAft>
              <a:spcPct val="15000"/>
            </a:spcAft>
            <a:buChar char="•"/>
          </a:pPr>
          <a:r>
            <a:rPr lang="en-US" sz="2300" kern="1200" dirty="0"/>
            <a:t>Single node on your laptop</a:t>
          </a:r>
        </a:p>
      </dsp:txBody>
      <dsp:txXfrm>
        <a:off x="0" y="143089"/>
        <a:ext cx="3424346" cy="2054608"/>
      </dsp:txXfrm>
    </dsp:sp>
    <dsp:sp modelId="{AB435B41-97BA-440A-A705-44B22CDB9B08}">
      <dsp:nvSpPr>
        <dsp:cNvPr id="0" name=""/>
        <dsp:cNvSpPr/>
      </dsp:nvSpPr>
      <dsp:spPr>
        <a:xfrm>
          <a:off x="3766781"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Kubeadm</a:t>
          </a:r>
          <a:endParaRPr lang="en-US" sz="3000" kern="1200" dirty="0"/>
        </a:p>
        <a:p>
          <a:pPr marL="228600" lvl="1" indent="-228600" algn="l" defTabSz="1022350">
            <a:lnSpc>
              <a:spcPct val="90000"/>
            </a:lnSpc>
            <a:spcBef>
              <a:spcPct val="0"/>
            </a:spcBef>
            <a:spcAft>
              <a:spcPct val="15000"/>
            </a:spcAft>
            <a:buChar char="•"/>
          </a:pPr>
          <a:r>
            <a:rPr lang="en-US" sz="2300" kern="1200" dirty="0"/>
            <a:t>Install your own cluster</a:t>
          </a:r>
        </a:p>
      </dsp:txBody>
      <dsp:txXfrm>
        <a:off x="3766781" y="143089"/>
        <a:ext cx="3424346" cy="2054608"/>
      </dsp:txXfrm>
    </dsp:sp>
    <dsp:sp modelId="{6FED4224-6491-4827-B3FF-D06680D6EA87}">
      <dsp:nvSpPr>
        <dsp:cNvPr id="0" name=""/>
        <dsp:cNvSpPr/>
      </dsp:nvSpPr>
      <dsp:spPr>
        <a:xfrm>
          <a:off x="7533563"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RedHat OpenShift</a:t>
          </a:r>
          <a:endParaRPr lang="en-US" sz="3000" kern="1200" dirty="0"/>
        </a:p>
        <a:p>
          <a:pPr marL="228600" lvl="1" indent="-228600" algn="l" defTabSz="1022350">
            <a:lnSpc>
              <a:spcPct val="90000"/>
            </a:lnSpc>
            <a:spcBef>
              <a:spcPct val="0"/>
            </a:spcBef>
            <a:spcAft>
              <a:spcPct val="15000"/>
            </a:spcAft>
            <a:buChar char="•"/>
          </a:pPr>
          <a:r>
            <a:rPr lang="en-US" sz="2300" kern="1200" dirty="0"/>
            <a:t>K8s platform private or public cloud</a:t>
          </a:r>
        </a:p>
      </dsp:txBody>
      <dsp:txXfrm>
        <a:off x="7533563" y="143089"/>
        <a:ext cx="3424346" cy="2054608"/>
      </dsp:txXfrm>
    </dsp:sp>
    <dsp:sp modelId="{248090D7-1E72-4460-B238-DAE11EAFAB92}">
      <dsp:nvSpPr>
        <dsp:cNvPr id="0" name=""/>
        <dsp:cNvSpPr/>
      </dsp:nvSpPr>
      <dsp:spPr>
        <a:xfrm>
          <a:off x="0"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Azure Kubernetes Service (AKS)</a:t>
          </a:r>
        </a:p>
        <a:p>
          <a:pPr marL="228600" lvl="1" indent="-228600" algn="l" defTabSz="1022350">
            <a:lnSpc>
              <a:spcPct val="90000"/>
            </a:lnSpc>
            <a:spcBef>
              <a:spcPct val="0"/>
            </a:spcBef>
            <a:spcAft>
              <a:spcPct val="15000"/>
            </a:spcAft>
            <a:buChar char="•"/>
          </a:pPr>
          <a:r>
            <a:rPr lang="en-US" sz="2300" kern="1200" baseline="0" dirty="0"/>
            <a:t>Azure hosted k8s</a:t>
          </a:r>
        </a:p>
      </dsp:txBody>
      <dsp:txXfrm>
        <a:off x="0" y="2540132"/>
        <a:ext cx="3424346" cy="2054608"/>
      </dsp:txXfrm>
    </dsp:sp>
    <dsp:sp modelId="{DA7E4824-0F14-46CE-8B64-4544C89C3240}">
      <dsp:nvSpPr>
        <dsp:cNvPr id="0" name=""/>
        <dsp:cNvSpPr/>
      </dsp:nvSpPr>
      <dsp:spPr>
        <a:xfrm>
          <a:off x="3766781"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OpenShift on Azure (OSA)</a:t>
          </a:r>
          <a:endParaRPr lang="en-US" sz="3000" kern="1200" dirty="0"/>
        </a:p>
        <a:p>
          <a:pPr marL="228600" lvl="1" indent="-228600" algn="l" defTabSz="1022350">
            <a:lnSpc>
              <a:spcPct val="90000"/>
            </a:lnSpc>
            <a:spcBef>
              <a:spcPct val="0"/>
            </a:spcBef>
            <a:spcAft>
              <a:spcPct val="15000"/>
            </a:spcAft>
            <a:buChar char="•"/>
          </a:pPr>
          <a:r>
            <a:rPr lang="en-US" sz="2300" kern="1200" dirty="0"/>
            <a:t>Managed OpenShift on Azure</a:t>
          </a:r>
        </a:p>
      </dsp:txBody>
      <dsp:txXfrm>
        <a:off x="3766781" y="2540132"/>
        <a:ext cx="3424346" cy="2054608"/>
      </dsp:txXfrm>
    </dsp:sp>
    <dsp:sp modelId="{6F34995B-366C-4C54-998F-F53E0C766676}">
      <dsp:nvSpPr>
        <dsp:cNvPr id="0" name=""/>
        <dsp:cNvSpPr/>
      </dsp:nvSpPr>
      <dsp:spPr>
        <a:xfrm>
          <a:off x="7533563"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Other</a:t>
          </a:r>
        </a:p>
        <a:p>
          <a:pPr marL="228600" lvl="1" indent="-228600" algn="l" defTabSz="1022350">
            <a:lnSpc>
              <a:spcPct val="90000"/>
            </a:lnSpc>
            <a:spcBef>
              <a:spcPct val="0"/>
            </a:spcBef>
            <a:spcAft>
              <a:spcPct val="15000"/>
            </a:spcAft>
            <a:buChar char="•"/>
          </a:pPr>
          <a:r>
            <a:rPr lang="en-US" sz="2300" kern="1200" dirty="0"/>
            <a:t>Azure Stack</a:t>
          </a:r>
        </a:p>
        <a:p>
          <a:pPr marL="228600" lvl="1" indent="-228600" algn="l" defTabSz="1022350">
            <a:lnSpc>
              <a:spcPct val="90000"/>
            </a:lnSpc>
            <a:spcBef>
              <a:spcPct val="0"/>
            </a:spcBef>
            <a:spcAft>
              <a:spcPct val="15000"/>
            </a:spcAft>
            <a:buChar char="•"/>
          </a:pPr>
          <a:r>
            <a:rPr lang="en-US" sz="2300" kern="1200" dirty="0"/>
            <a:t>Windows Server</a:t>
          </a:r>
        </a:p>
      </dsp:txBody>
      <dsp:txXfrm>
        <a:off x="7533563" y="2540132"/>
        <a:ext cx="3424346" cy="205460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9C0021-9E0F-4819-8601-2AFFD75C478B}">
      <dsp:nvSpPr>
        <dsp:cNvPr id="0" name=""/>
        <dsp:cNvSpPr/>
      </dsp:nvSpPr>
      <dsp:spPr>
        <a:xfrm>
          <a:off x="0" y="0"/>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015CF-E7F1-40DA-802D-0874AF2F9F82}">
      <dsp:nvSpPr>
        <dsp:cNvPr id="0" name=""/>
        <dsp:cNvSpPr/>
      </dsp:nvSpPr>
      <dsp:spPr>
        <a:xfrm>
          <a:off x="0" y="0"/>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EXTERNAL table to map common names familiar to your SQL Server</a:t>
          </a:r>
          <a:endParaRPr lang="en-US" sz="2600" kern="1200" dirty="0"/>
        </a:p>
      </dsp:txBody>
      <dsp:txXfrm>
        <a:off x="0" y="0"/>
        <a:ext cx="11018520" cy="1012584"/>
      </dsp:txXfrm>
    </dsp:sp>
    <dsp:sp modelId="{76D4A2F8-890D-4060-88BE-6CA64F8E03CA}">
      <dsp:nvSpPr>
        <dsp:cNvPr id="0" name=""/>
        <dsp:cNvSpPr/>
      </dsp:nvSpPr>
      <dsp:spPr>
        <a:xfrm>
          <a:off x="0" y="101258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76E28E-0ECE-4CBC-853B-06A49E1BDAEC}">
      <dsp:nvSpPr>
        <dsp:cNvPr id="0" name=""/>
        <dsp:cNvSpPr/>
      </dsp:nvSpPr>
      <dsp:spPr>
        <a:xfrm>
          <a:off x="0" y="101258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Exclude fields or columns from data source that are not needed (Planned)</a:t>
          </a:r>
          <a:endParaRPr lang="en-US" sz="2600" kern="1200" dirty="0"/>
        </a:p>
      </dsp:txBody>
      <dsp:txXfrm>
        <a:off x="0" y="1012584"/>
        <a:ext cx="11018520" cy="1012584"/>
      </dsp:txXfrm>
    </dsp:sp>
    <dsp:sp modelId="{6124704D-3D09-43B9-ABCC-F83534700E66}">
      <dsp:nvSpPr>
        <dsp:cNvPr id="0" name=""/>
        <dsp:cNvSpPr/>
      </dsp:nvSpPr>
      <dsp:spPr>
        <a:xfrm>
          <a:off x="0" y="2025169"/>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04E49C-D2BC-4FB7-9753-8F39DECAA5F2}">
      <dsp:nvSpPr>
        <dsp:cNvPr id="0" name=""/>
        <dsp:cNvSpPr/>
      </dsp:nvSpPr>
      <dsp:spPr>
        <a:xfrm>
          <a:off x="0" y="2025169"/>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SQL Server views to abstract joins and data source access</a:t>
          </a:r>
          <a:endParaRPr lang="en-US" sz="2600" kern="1200" dirty="0"/>
        </a:p>
      </dsp:txBody>
      <dsp:txXfrm>
        <a:off x="0" y="2025169"/>
        <a:ext cx="11018520" cy="1012584"/>
      </dsp:txXfrm>
    </dsp:sp>
    <dsp:sp modelId="{47B09D47-81C1-4389-AC79-D92B545CD87D}">
      <dsp:nvSpPr>
        <dsp:cNvPr id="0" name=""/>
        <dsp:cNvSpPr/>
      </dsp:nvSpPr>
      <dsp:spPr>
        <a:xfrm>
          <a:off x="0" y="303775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907A0E-F67A-4370-B2FD-060E9FC8C8A5}">
      <dsp:nvSpPr>
        <dsp:cNvPr id="0" name=""/>
        <dsp:cNvSpPr/>
      </dsp:nvSpPr>
      <dsp:spPr>
        <a:xfrm>
          <a:off x="0" y="303775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UNION to join similar data from data sources and local SQL Server</a:t>
          </a:r>
          <a:endParaRPr lang="en-US" sz="2600" kern="1200" dirty="0"/>
        </a:p>
      </dsp:txBody>
      <dsp:txXfrm>
        <a:off x="0" y="3037754"/>
        <a:ext cx="11018520" cy="1012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196454"/>
          <a:ext cx="6062977"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The Solution(s)</a:t>
          </a:r>
        </a:p>
      </dsp:txBody>
      <dsp:txXfrm>
        <a:off x="41465" y="237919"/>
        <a:ext cx="5980047" cy="766490"/>
      </dsp:txXfrm>
    </dsp:sp>
    <dsp:sp modelId="{F4F491F2-8310-4EDC-83BE-3E4CB6BFF77F}">
      <dsp:nvSpPr>
        <dsp:cNvPr id="0" name=""/>
        <dsp:cNvSpPr/>
      </dsp:nvSpPr>
      <dsp:spPr>
        <a:xfrm>
          <a:off x="0" y="1045874"/>
          <a:ext cx="6062977" cy="321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500"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Build intelligent, adaptable operators</a:t>
          </a:r>
        </a:p>
        <a:p>
          <a:pPr marL="228600" lvl="1" indent="-228600" algn="l" defTabSz="1155700">
            <a:lnSpc>
              <a:spcPct val="90000"/>
            </a:lnSpc>
            <a:spcBef>
              <a:spcPct val="0"/>
            </a:spcBef>
            <a:spcAft>
              <a:spcPct val="20000"/>
            </a:spcAft>
            <a:buChar char="•"/>
          </a:pPr>
          <a:r>
            <a:rPr lang="en-US" sz="2600" kern="1200" dirty="0"/>
            <a:t>Modify query plans in cache based on previous execution</a:t>
          </a:r>
        </a:p>
        <a:p>
          <a:pPr marL="228600" lvl="1" indent="-228600" algn="l" defTabSz="1155700">
            <a:lnSpc>
              <a:spcPct val="90000"/>
            </a:lnSpc>
            <a:spcBef>
              <a:spcPct val="0"/>
            </a:spcBef>
            <a:spcAft>
              <a:spcPct val="20000"/>
            </a:spcAft>
            <a:buChar char="•"/>
          </a:pPr>
          <a:r>
            <a:rPr lang="en-US" sz="2600" kern="1200" dirty="0"/>
            <a:t>Expand batch mode</a:t>
          </a:r>
        </a:p>
        <a:p>
          <a:pPr marL="228600" lvl="1" indent="-228600" algn="l" defTabSz="1155700">
            <a:lnSpc>
              <a:spcPct val="90000"/>
            </a:lnSpc>
            <a:spcBef>
              <a:spcPct val="0"/>
            </a:spcBef>
            <a:spcAft>
              <a:spcPct val="20000"/>
            </a:spcAft>
            <a:buChar char="•"/>
          </a:pPr>
          <a:r>
            <a:rPr lang="en-US" sz="2600" kern="1200" dirty="0"/>
            <a:t>Execution data drives downstream compilation</a:t>
          </a:r>
        </a:p>
        <a:p>
          <a:pPr marL="228600" lvl="1" indent="-228600" algn="l" defTabSz="1155700">
            <a:lnSpc>
              <a:spcPct val="90000"/>
            </a:lnSpc>
            <a:spcBef>
              <a:spcPct val="0"/>
            </a:spcBef>
            <a:spcAft>
              <a:spcPct val="20000"/>
            </a:spcAft>
            <a:buChar char="•"/>
          </a:pPr>
          <a:r>
            <a:rPr lang="en-US" sz="2600" kern="1200" dirty="0"/>
            <a:t>Smarter query processing</a:t>
          </a:r>
        </a:p>
      </dsp:txBody>
      <dsp:txXfrm>
        <a:off x="0" y="1045874"/>
        <a:ext cx="6062977" cy="32105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14557-D145-44CE-AA9D-CF510C83A62E}">
      <dsp:nvSpPr>
        <dsp:cNvPr id="0" name=""/>
        <dsp:cNvSpPr/>
      </dsp:nvSpPr>
      <dsp:spPr>
        <a:xfrm>
          <a:off x="823004" y="2978"/>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de generation in Notebooks</a:t>
          </a:r>
        </a:p>
      </dsp:txBody>
      <dsp:txXfrm>
        <a:off x="823004" y="2978"/>
        <a:ext cx="1858176" cy="1114905"/>
      </dsp:txXfrm>
    </dsp:sp>
    <dsp:sp modelId="{49EC0BD5-D2A4-4328-9E0C-2D2BE22B5F17}">
      <dsp:nvSpPr>
        <dsp:cNvPr id="0" name=""/>
        <dsp:cNvSpPr/>
      </dsp:nvSpPr>
      <dsp:spPr>
        <a:xfrm>
          <a:off x="823004" y="1303701"/>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 wizards</a:t>
          </a:r>
        </a:p>
      </dsp:txBody>
      <dsp:txXfrm>
        <a:off x="823004" y="1303701"/>
        <a:ext cx="1858176" cy="1114905"/>
      </dsp:txXfrm>
    </dsp:sp>
    <dsp:sp modelId="{CB2D3F6D-CFB3-42FD-AA44-03959C982C2A}">
      <dsp:nvSpPr>
        <dsp:cNvPr id="0" name=""/>
        <dsp:cNvSpPr/>
      </dsp:nvSpPr>
      <dsp:spPr>
        <a:xfrm>
          <a:off x="823004" y="2604424"/>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ternal Table detection for HDFS</a:t>
          </a:r>
        </a:p>
      </dsp:txBody>
      <dsp:txXfrm>
        <a:off x="823004" y="2604424"/>
        <a:ext cx="1858176" cy="111490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E34D9-7EEA-4599-BB0A-67C67AFD7EE0}">
      <dsp:nvSpPr>
        <dsp:cNvPr id="0" name=""/>
        <dsp:cNvSpPr/>
      </dsp:nvSpPr>
      <dsp:spPr>
        <a:xfrm>
          <a:off x="1334" y="1596822"/>
          <a:ext cx="5203416" cy="218981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ny given platform (Cloud, on-prem)!</a:t>
          </a:r>
        </a:p>
      </dsp:txBody>
      <dsp:txXfrm>
        <a:off x="65471" y="1660959"/>
        <a:ext cx="5075142" cy="2061538"/>
      </dsp:txXfrm>
    </dsp:sp>
    <dsp:sp modelId="{229EBB6B-392D-43F2-BB82-99F540E131C7}">
      <dsp:nvSpPr>
        <dsp:cNvPr id="0" name=""/>
        <dsp:cNvSpPr/>
      </dsp:nvSpPr>
      <dsp:spPr>
        <a:xfrm>
          <a:off x="5725092" y="1596822"/>
          <a:ext cx="5203416" cy="22502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 named SQL Server version!</a:t>
          </a:r>
        </a:p>
      </dsp:txBody>
      <dsp:txXfrm>
        <a:off x="5790999" y="1662729"/>
        <a:ext cx="5071602" cy="211841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31562-68F0-4B19-9C9B-11EDABF5C6C2}">
      <dsp:nvSpPr>
        <dsp:cNvPr id="0" name=""/>
        <dsp:cNvSpPr/>
      </dsp:nvSpPr>
      <dsp:spPr>
        <a:xfrm>
          <a:off x="0" y="0"/>
          <a:ext cx="11127648" cy="17268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a:lnSpc>
              <a:spcPct val="90000"/>
            </a:lnSpc>
            <a:spcBef>
              <a:spcPct val="0"/>
            </a:spcBef>
            <a:spcAft>
              <a:spcPct val="35000"/>
            </a:spcAft>
            <a:buNone/>
          </a:pPr>
          <a:r>
            <a:rPr lang="en-US" sz="4200" kern="1200" dirty="0"/>
            <a:t>Microsoft Database Compatibility Level </a:t>
          </a:r>
          <a:r>
            <a:rPr lang="en-US" sz="4200" u="sng" kern="1200" dirty="0"/>
            <a:t>Protection</a:t>
          </a:r>
          <a:endParaRPr lang="en-US" sz="4200" kern="1200" dirty="0"/>
        </a:p>
      </dsp:txBody>
      <dsp:txXfrm>
        <a:off x="50577" y="50577"/>
        <a:ext cx="11026494" cy="1625670"/>
      </dsp:txXfrm>
    </dsp:sp>
    <dsp:sp modelId="{BB60262A-7260-41EC-A300-83A70430AB88}">
      <dsp:nvSpPr>
        <dsp:cNvPr id="0" name=""/>
        <dsp:cNvSpPr/>
      </dsp:nvSpPr>
      <dsp:spPr>
        <a:xfrm>
          <a:off x="4001"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Full Functional protection once assessment tools runs clean with no errors.</a:t>
          </a:r>
        </a:p>
      </dsp:txBody>
      <dsp:txXfrm>
        <a:off x="93470" y="2186975"/>
        <a:ext cx="3333577" cy="2875766"/>
      </dsp:txXfrm>
    </dsp:sp>
    <dsp:sp modelId="{7818A2DF-6CC5-48A1-A1AD-474D3C9CEE83}">
      <dsp:nvSpPr>
        <dsp:cNvPr id="0" name=""/>
        <dsp:cNvSpPr/>
      </dsp:nvSpPr>
      <dsp:spPr>
        <a:xfrm>
          <a:off x="3811568"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Query Plan shape protection on comparable hardware.</a:t>
          </a:r>
        </a:p>
      </dsp:txBody>
      <dsp:txXfrm>
        <a:off x="3901037" y="2186975"/>
        <a:ext cx="3333577" cy="2875766"/>
      </dsp:txXfrm>
    </dsp:sp>
    <dsp:sp modelId="{3B92D154-099C-4BE2-9BB9-C48EC9DD153F}">
      <dsp:nvSpPr>
        <dsp:cNvPr id="0" name=""/>
        <dsp:cNvSpPr/>
      </dsp:nvSpPr>
      <dsp:spPr>
        <a:xfrm>
          <a:off x="7619134"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Maintaining backward compatibility is very important to SQL Server team.</a:t>
          </a:r>
        </a:p>
      </dsp:txBody>
      <dsp:txXfrm>
        <a:off x="7708603" y="2186975"/>
        <a:ext cx="3333577" cy="28757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860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SQL Server 2016 SP1/2017</a:t>
          </a:r>
        </a:p>
      </dsp:txBody>
      <dsp:txXfrm>
        <a:off x="43978" y="630047"/>
        <a:ext cx="5663192" cy="812943"/>
      </dsp:txXfrm>
    </dsp:sp>
    <dsp:sp modelId="{F4F491F2-8310-4EDC-83BE-3E4CB6BFF77F}">
      <dsp:nvSpPr>
        <dsp:cNvPr id="0" name=""/>
        <dsp:cNvSpPr/>
      </dsp:nvSpPr>
      <dsp:spPr>
        <a:xfrm>
          <a:off x="0" y="1486969"/>
          <a:ext cx="5751148" cy="1014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Trace flag 7412</a:t>
          </a:r>
        </a:p>
        <a:p>
          <a:pPr marL="228600" lvl="1" indent="-228600" algn="l" defTabSz="1200150">
            <a:lnSpc>
              <a:spcPct val="90000"/>
            </a:lnSpc>
            <a:spcBef>
              <a:spcPct val="0"/>
            </a:spcBef>
            <a:spcAft>
              <a:spcPct val="20000"/>
            </a:spcAft>
            <a:buChar char="•"/>
          </a:pPr>
          <a:r>
            <a:rPr lang="en-US" sz="2700" kern="1200" dirty="0"/>
            <a:t>XEvent query_thread_profile</a:t>
          </a:r>
        </a:p>
      </dsp:txBody>
      <dsp:txXfrm>
        <a:off x="0" y="1486969"/>
        <a:ext cx="5751148" cy="1014300"/>
      </dsp:txXfrm>
    </dsp:sp>
    <dsp:sp modelId="{DBA002F5-D519-4947-B33A-10D9DE2462FC}">
      <dsp:nvSpPr>
        <dsp:cNvPr id="0" name=""/>
        <dsp:cNvSpPr/>
      </dsp:nvSpPr>
      <dsp:spPr>
        <a:xfrm>
          <a:off x="0" y="25012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SQL Server 2019</a:t>
          </a:r>
        </a:p>
      </dsp:txBody>
      <dsp:txXfrm>
        <a:off x="43978" y="2545247"/>
        <a:ext cx="5663192" cy="812943"/>
      </dsp:txXfrm>
    </dsp:sp>
    <dsp:sp modelId="{C9D982FD-C3C7-4ABC-BA98-1B99ACA1F6D7}">
      <dsp:nvSpPr>
        <dsp:cNvPr id="0" name=""/>
        <dsp:cNvSpPr/>
      </dsp:nvSpPr>
      <dsp:spPr>
        <a:xfrm>
          <a:off x="0" y="3402169"/>
          <a:ext cx="5751148"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On by default. No knobs required</a:t>
          </a:r>
        </a:p>
      </dsp:txBody>
      <dsp:txXfrm>
        <a:off x="0" y="3402169"/>
        <a:ext cx="5751148" cy="579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418399" cy="7207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35183" y="91715"/>
        <a:ext cx="5348033" cy="650354"/>
      </dsp:txXfrm>
    </dsp:sp>
    <dsp:sp modelId="{F4F491F2-8310-4EDC-83BE-3E4CB6BFF77F}">
      <dsp:nvSpPr>
        <dsp:cNvPr id="0" name=""/>
        <dsp:cNvSpPr/>
      </dsp:nvSpPr>
      <dsp:spPr>
        <a:xfrm>
          <a:off x="0" y="777252"/>
          <a:ext cx="541839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03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Create multiple files to partition allocation pages</a:t>
          </a:r>
        </a:p>
        <a:p>
          <a:pPr marL="228600" lvl="1" indent="-228600" algn="l" defTabSz="977900">
            <a:lnSpc>
              <a:spcPct val="90000"/>
            </a:lnSpc>
            <a:spcBef>
              <a:spcPct val="0"/>
            </a:spcBef>
            <a:spcAft>
              <a:spcPct val="20000"/>
            </a:spcAft>
            <a:buChar char="•"/>
          </a:pPr>
          <a:r>
            <a:rPr lang="en-US" sz="2200" kern="1200" dirty="0"/>
            <a:t>SQL Server 2017+ creates multiple tempdb files during setup</a:t>
          </a:r>
        </a:p>
        <a:p>
          <a:pPr marL="228600" lvl="1" indent="-228600" algn="l" defTabSz="977900">
            <a:lnSpc>
              <a:spcPct val="90000"/>
            </a:lnSpc>
            <a:spcBef>
              <a:spcPct val="0"/>
            </a:spcBef>
            <a:spcAft>
              <a:spcPct val="20000"/>
            </a:spcAft>
            <a:buChar char="•"/>
          </a:pPr>
          <a:r>
            <a:rPr lang="en-US" sz="2200" kern="1200" dirty="0"/>
            <a:t>Start with 8 and add by 4 until concurrency alleviated</a:t>
          </a:r>
        </a:p>
        <a:p>
          <a:pPr marL="228600" lvl="1" indent="-228600" algn="l" defTabSz="977900">
            <a:lnSpc>
              <a:spcPct val="90000"/>
            </a:lnSpc>
            <a:spcBef>
              <a:spcPct val="0"/>
            </a:spcBef>
            <a:spcAft>
              <a:spcPct val="20000"/>
            </a:spcAft>
            <a:buChar char="•"/>
          </a:pPr>
          <a:r>
            <a:rPr lang="en-US" sz="2200" kern="1200" dirty="0"/>
            <a:t>But…what about system tables?</a:t>
          </a:r>
        </a:p>
      </dsp:txBody>
      <dsp:txXfrm>
        <a:off x="0" y="777252"/>
        <a:ext cx="5418399" cy="266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849006" cy="72072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he SQL 2019 Solution</a:t>
          </a:r>
        </a:p>
      </dsp:txBody>
      <dsp:txXfrm>
        <a:off x="35183" y="91715"/>
        <a:ext cx="5778640" cy="650354"/>
      </dsp:txXfrm>
    </dsp:sp>
    <dsp:sp modelId="{F4F491F2-8310-4EDC-83BE-3E4CB6BFF77F}">
      <dsp:nvSpPr>
        <dsp:cNvPr id="0" name=""/>
        <dsp:cNvSpPr/>
      </dsp:nvSpPr>
      <dsp:spPr>
        <a:xfrm>
          <a:off x="0" y="777252"/>
          <a:ext cx="5849006"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70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Key tempdb system tables become SCHEMA_ONLY memory optimized tables</a:t>
          </a:r>
        </a:p>
        <a:p>
          <a:pPr marL="228600" lvl="1" indent="-228600" algn="l" defTabSz="977900">
            <a:lnSpc>
              <a:spcPct val="90000"/>
            </a:lnSpc>
            <a:spcBef>
              <a:spcPct val="0"/>
            </a:spcBef>
            <a:spcAft>
              <a:spcPct val="20000"/>
            </a:spcAft>
            <a:buChar char="•"/>
          </a:pPr>
          <a:r>
            <a:rPr lang="en-US" sz="2200" kern="1200" dirty="0"/>
            <a:t>Latch and lock free</a:t>
          </a:r>
        </a:p>
        <a:p>
          <a:pPr marL="228600" lvl="1" indent="-228600" algn="l" defTabSz="977900">
            <a:lnSpc>
              <a:spcPct val="90000"/>
            </a:lnSpc>
            <a:spcBef>
              <a:spcPct val="0"/>
            </a:spcBef>
            <a:spcAft>
              <a:spcPct val="20000"/>
            </a:spcAft>
            <a:buChar char="•"/>
          </a:pPr>
          <a:r>
            <a:rPr lang="en-US" sz="2200" kern="1200" dirty="0"/>
            <a:t>Turn on with ALTER SERVER CONFIGURATION</a:t>
          </a:r>
        </a:p>
        <a:p>
          <a:pPr marL="228600" lvl="1" indent="-228600" algn="l" defTabSz="977900">
            <a:lnSpc>
              <a:spcPct val="90000"/>
            </a:lnSpc>
            <a:spcBef>
              <a:spcPct val="0"/>
            </a:spcBef>
            <a:spcAft>
              <a:spcPct val="20000"/>
            </a:spcAft>
            <a:buChar char="•"/>
          </a:pPr>
          <a:r>
            <a:rPr lang="en-US" sz="2200" kern="1200" dirty="0"/>
            <a:t>This is NOT user data just metadata so memory requirements small</a:t>
          </a:r>
        </a:p>
      </dsp:txBody>
      <dsp:txXfrm>
        <a:off x="0" y="777252"/>
        <a:ext cx="5849006" cy="26661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9D58-9067-4581-B8C9-C587C3B9FE1F}">
      <dsp:nvSpPr>
        <dsp:cNvPr id="0" name=""/>
        <dsp:cNvSpPr/>
      </dsp:nvSpPr>
      <dsp:spPr>
        <a:xfrm>
          <a:off x="6039"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index create and rebuild</a:t>
          </a:r>
        </a:p>
      </dsp:txBody>
      <dsp:txXfrm>
        <a:off x="6039" y="0"/>
        <a:ext cx="2119447" cy="1121484"/>
      </dsp:txXfrm>
    </dsp:sp>
    <dsp:sp modelId="{573518BA-E4CB-4E5B-BB19-4A2E74BAA0FB}">
      <dsp:nvSpPr>
        <dsp:cNvPr id="0" name=""/>
        <dsp:cNvSpPr/>
      </dsp:nvSpPr>
      <dsp:spPr>
        <a:xfrm>
          <a:off x="217984"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his has been around for a while</a:t>
          </a:r>
        </a:p>
      </dsp:txBody>
      <dsp:txXfrm>
        <a:off x="267645" y="1171145"/>
        <a:ext cx="1596235" cy="2330561"/>
      </dsp:txXfrm>
    </dsp:sp>
    <dsp:sp modelId="{1E38B38C-7757-4AFC-A4A5-B7AD295E65B6}">
      <dsp:nvSpPr>
        <dsp:cNvPr id="0" name=""/>
        <dsp:cNvSpPr/>
      </dsp:nvSpPr>
      <dsp:spPr>
        <a:xfrm>
          <a:off x="2284445"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rebuild</a:t>
          </a:r>
        </a:p>
      </dsp:txBody>
      <dsp:txXfrm>
        <a:off x="2284445" y="0"/>
        <a:ext cx="2119447" cy="1121484"/>
      </dsp:txXfrm>
    </dsp:sp>
    <dsp:sp modelId="{0B1EB628-A91F-4A03-B0BB-BDAFAC944E32}">
      <dsp:nvSpPr>
        <dsp:cNvPr id="0" name=""/>
        <dsp:cNvSpPr/>
      </dsp:nvSpPr>
      <dsp:spPr>
        <a:xfrm>
          <a:off x="2496390" y="1121804"/>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2517900" y="1143314"/>
        <a:ext cx="1652537" cy="691402"/>
      </dsp:txXfrm>
    </dsp:sp>
    <dsp:sp modelId="{B0E7295E-6666-4ACB-80EA-DE855883143F}">
      <dsp:nvSpPr>
        <dsp:cNvPr id="0" name=""/>
        <dsp:cNvSpPr/>
      </dsp:nvSpPr>
      <dsp:spPr>
        <a:xfrm>
          <a:off x="2496390" y="1969215"/>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ause and Resume</a:t>
          </a:r>
        </a:p>
      </dsp:txBody>
      <dsp:txXfrm>
        <a:off x="2517900" y="1990725"/>
        <a:ext cx="1652537" cy="691402"/>
      </dsp:txXfrm>
    </dsp:sp>
    <dsp:sp modelId="{064E88C3-E887-4D2A-A7D8-DD9B3800DE62}">
      <dsp:nvSpPr>
        <dsp:cNvPr id="0" name=""/>
        <dsp:cNvSpPr/>
      </dsp:nvSpPr>
      <dsp:spPr>
        <a:xfrm>
          <a:off x="2496390" y="2816626"/>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Incremental rebuild</a:t>
          </a:r>
        </a:p>
      </dsp:txBody>
      <dsp:txXfrm>
        <a:off x="2517900" y="2838136"/>
        <a:ext cx="1652537" cy="691402"/>
      </dsp:txXfrm>
    </dsp:sp>
    <dsp:sp modelId="{D174599E-222E-457A-BFD6-2620322894C0}">
      <dsp:nvSpPr>
        <dsp:cNvPr id="0" name=""/>
        <dsp:cNvSpPr/>
      </dsp:nvSpPr>
      <dsp:spPr>
        <a:xfrm>
          <a:off x="4562850"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index create</a:t>
          </a:r>
        </a:p>
      </dsp:txBody>
      <dsp:txXfrm>
        <a:off x="4562850" y="0"/>
        <a:ext cx="2119447" cy="1121484"/>
      </dsp:txXfrm>
    </dsp:sp>
    <dsp:sp modelId="{40F3804C-1CF2-4856-8949-48F6627C44B5}">
      <dsp:nvSpPr>
        <dsp:cNvPr id="0" name=""/>
        <dsp:cNvSpPr/>
      </dsp:nvSpPr>
      <dsp:spPr>
        <a:xfrm>
          <a:off x="4774795"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4824456" y="1171145"/>
        <a:ext cx="1596235" cy="2330561"/>
      </dsp:txXfrm>
    </dsp:sp>
    <dsp:sp modelId="{7D45AECE-F8B5-4053-86DF-5E204DA1AABA}">
      <dsp:nvSpPr>
        <dsp:cNvPr id="0" name=""/>
        <dsp:cNvSpPr/>
      </dsp:nvSpPr>
      <dsp:spPr>
        <a:xfrm>
          <a:off x="6841256"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Non-clustered Columnstore create and rebuild</a:t>
          </a:r>
        </a:p>
      </dsp:txBody>
      <dsp:txXfrm>
        <a:off x="6841256" y="0"/>
        <a:ext cx="2119447" cy="1121484"/>
      </dsp:txXfrm>
    </dsp:sp>
    <dsp:sp modelId="{11E2E5ED-2C16-425D-9DAF-1F80DFBA6D7C}">
      <dsp:nvSpPr>
        <dsp:cNvPr id="0" name=""/>
        <dsp:cNvSpPr/>
      </dsp:nvSpPr>
      <dsp:spPr>
        <a:xfrm>
          <a:off x="7053201"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7102862" y="1171145"/>
        <a:ext cx="1596235" cy="2330561"/>
      </dsp:txXfrm>
    </dsp:sp>
    <dsp:sp modelId="{12CE0E28-AFA6-4EC6-9E45-E0FE3F2BE3AE}">
      <dsp:nvSpPr>
        <dsp:cNvPr id="0" name=""/>
        <dsp:cNvSpPr/>
      </dsp:nvSpPr>
      <dsp:spPr>
        <a:xfrm>
          <a:off x="9119662"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Clustered Columnstore create and rebuild</a:t>
          </a:r>
        </a:p>
      </dsp:txBody>
      <dsp:txXfrm>
        <a:off x="9119662" y="0"/>
        <a:ext cx="2119447" cy="1121484"/>
      </dsp:txXfrm>
    </dsp:sp>
    <dsp:sp modelId="{2B4E2960-875A-4C12-9498-2D9822073D9F}">
      <dsp:nvSpPr>
        <dsp:cNvPr id="0" name=""/>
        <dsp:cNvSpPr/>
      </dsp:nvSpPr>
      <dsp:spPr>
        <a:xfrm>
          <a:off x="9331606"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9381267" y="1171145"/>
        <a:ext cx="1596235" cy="23305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C0297-7972-44A3-91D9-677BBE6965B8}">
      <dsp:nvSpPr>
        <dsp:cNvPr id="0" name=""/>
        <dsp:cNvSpPr/>
      </dsp:nvSpPr>
      <dsp:spPr>
        <a:xfrm>
          <a:off x="0" y="139202"/>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arallel redo can help</a:t>
          </a:r>
        </a:p>
      </dsp:txBody>
      <dsp:txXfrm>
        <a:off x="0" y="139202"/>
        <a:ext cx="2190376" cy="1314225"/>
      </dsp:txXfrm>
    </dsp:sp>
    <dsp:sp modelId="{3F567382-DF82-401B-BD2B-3094BE6E1D3E}">
      <dsp:nvSpPr>
        <dsp:cNvPr id="0" name=""/>
        <dsp:cNvSpPr/>
      </dsp:nvSpPr>
      <dsp:spPr>
        <a:xfrm>
          <a:off x="0" y="1672465"/>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do dependent on oldest active transaction</a:t>
          </a:r>
        </a:p>
      </dsp:txBody>
      <dsp:txXfrm>
        <a:off x="0" y="1672465"/>
        <a:ext cx="2190376" cy="1314225"/>
      </dsp:txXfrm>
    </dsp:sp>
    <dsp:sp modelId="{4144D6A6-656B-4191-84EC-795DAAC0A419}">
      <dsp:nvSpPr>
        <dsp:cNvPr id="0" name=""/>
        <dsp:cNvSpPr/>
      </dsp:nvSpPr>
      <dsp:spPr>
        <a:xfrm>
          <a:off x="0" y="3205728"/>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Long” recovery usually due to long undo</a:t>
          </a:r>
        </a:p>
      </dsp:txBody>
      <dsp:txXfrm>
        <a:off x="0" y="3205728"/>
        <a:ext cx="2190376" cy="13142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184BF-9D04-49B0-89F1-E7B252FF6E2B}">
      <dsp:nvSpPr>
        <dsp:cNvPr id="0" name=""/>
        <dsp:cNvSpPr/>
      </dsp:nvSpPr>
      <dsp:spPr>
        <a:xfrm>
          <a:off x="254744" y="763"/>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ersisted Version Store</a:t>
          </a:r>
        </a:p>
      </dsp:txBody>
      <dsp:txXfrm>
        <a:off x="254744" y="763"/>
        <a:ext cx="1851217" cy="1110730"/>
      </dsp:txXfrm>
    </dsp:sp>
    <dsp:sp modelId="{9ED8D298-C79D-4AF2-9347-1CD084771BD1}">
      <dsp:nvSpPr>
        <dsp:cNvPr id="0" name=""/>
        <dsp:cNvSpPr/>
      </dsp:nvSpPr>
      <dsp:spPr>
        <a:xfrm>
          <a:off x="254744" y="1296615"/>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ogical Revert</a:t>
          </a:r>
        </a:p>
      </dsp:txBody>
      <dsp:txXfrm>
        <a:off x="254744" y="1296615"/>
        <a:ext cx="1851217" cy="1110730"/>
      </dsp:txXfrm>
    </dsp:sp>
    <dsp:sp modelId="{B3AB1A72-1047-4A58-81A4-447D62BE6B7C}">
      <dsp:nvSpPr>
        <dsp:cNvPr id="0" name=""/>
        <dsp:cNvSpPr/>
      </dsp:nvSpPr>
      <dsp:spPr>
        <a:xfrm>
          <a:off x="254744" y="2592468"/>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Log</a:t>
          </a:r>
        </a:p>
      </dsp:txBody>
      <dsp:txXfrm>
        <a:off x="254744" y="2592468"/>
        <a:ext cx="1851217" cy="1110730"/>
      </dsp:txXfrm>
    </dsp:sp>
    <dsp:sp modelId="{5B04727B-952E-4F49-BA24-4E9249308685}">
      <dsp:nvSpPr>
        <dsp:cNvPr id="0" name=""/>
        <dsp:cNvSpPr/>
      </dsp:nvSpPr>
      <dsp:spPr>
        <a:xfrm>
          <a:off x="254744" y="3888320"/>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leaner</a:t>
          </a:r>
        </a:p>
      </dsp:txBody>
      <dsp:txXfrm>
        <a:off x="254744" y="3888320"/>
        <a:ext cx="1851217" cy="11107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0FFF-23F7-42C3-8D81-883B955D1F83}">
      <dsp:nvSpPr>
        <dsp:cNvPr id="0" name=""/>
        <dsp:cNvSpPr/>
      </dsp:nvSpPr>
      <dsp:spPr>
        <a:xfrm>
          <a:off x="594414"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 Python, or Java on the same computer but not in SQL process</a:t>
          </a:r>
        </a:p>
      </dsp:txBody>
      <dsp:txXfrm>
        <a:off x="594414" y="2603"/>
        <a:ext cx="1987053" cy="1192232"/>
      </dsp:txXfrm>
    </dsp:sp>
    <dsp:sp modelId="{910A122A-2929-44C4-853D-706CDE98E43F}">
      <dsp:nvSpPr>
        <dsp:cNvPr id="0" name=""/>
        <dsp:cNvSpPr/>
      </dsp:nvSpPr>
      <dsp:spPr>
        <a:xfrm>
          <a:off x="2780173"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tend the T-SQL language</a:t>
          </a:r>
        </a:p>
      </dsp:txBody>
      <dsp:txXfrm>
        <a:off x="2780173" y="2603"/>
        <a:ext cx="1987053" cy="1192232"/>
      </dsp:txXfrm>
    </dsp:sp>
    <dsp:sp modelId="{6B9D86E9-EA09-48A2-9E14-A3A8914269F9}">
      <dsp:nvSpPr>
        <dsp:cNvPr id="0" name=""/>
        <dsp:cNvSpPr/>
      </dsp:nvSpPr>
      <dsp:spPr>
        <a:xfrm>
          <a:off x="594414"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chine Learning</a:t>
          </a:r>
        </a:p>
      </dsp:txBody>
      <dsp:txXfrm>
        <a:off x="594414" y="1393540"/>
        <a:ext cx="1987053" cy="1192232"/>
      </dsp:txXfrm>
    </dsp:sp>
    <dsp:sp modelId="{AFE9D508-A6C4-4E19-B94A-3FC7366EEEA8}">
      <dsp:nvSpPr>
        <dsp:cNvPr id="0" name=""/>
        <dsp:cNvSpPr/>
      </dsp:nvSpPr>
      <dsp:spPr>
        <a:xfrm>
          <a:off x="2780173"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at across Windows and Linux</a:t>
          </a:r>
        </a:p>
      </dsp:txBody>
      <dsp:txXfrm>
        <a:off x="2780173" y="1393540"/>
        <a:ext cx="1987053" cy="1192232"/>
      </dsp:txXfrm>
    </dsp:sp>
    <dsp:sp modelId="{509E2887-E6A7-40B6-9D56-4583D773DD4B}">
      <dsp:nvSpPr>
        <dsp:cNvPr id="0" name=""/>
        <dsp:cNvSpPr/>
      </dsp:nvSpPr>
      <dsp:spPr>
        <a:xfrm>
          <a:off x="594414"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cure and isolated</a:t>
          </a:r>
        </a:p>
      </dsp:txBody>
      <dsp:txXfrm>
        <a:off x="594414" y="2784478"/>
        <a:ext cx="1987053" cy="1192232"/>
      </dsp:txXfrm>
    </dsp:sp>
    <dsp:sp modelId="{33B7DBE7-AE26-4AAD-85AE-0A1CF4D05DE2}">
      <dsp:nvSpPr>
        <dsp:cNvPr id="0" name=""/>
        <dsp:cNvSpPr/>
      </dsp:nvSpPr>
      <dsp:spPr>
        <a:xfrm>
          <a:off x="2780173"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esource governor enabled</a:t>
          </a:r>
        </a:p>
      </dsp:txBody>
      <dsp:txXfrm>
        <a:off x="2780173" y="2784478"/>
        <a:ext cx="1987053" cy="119223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9/2019 8:4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9/2019 8:4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66149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60713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063317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24871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5710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67007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99922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9928991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5649593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4-MissionCriticalAvailabil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991360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82" kern="1200" dirty="0">
                <a:solidFill>
                  <a:schemeClr val="tx1"/>
                </a:solidFill>
                <a:effectLst/>
                <a:latin typeface="Segoe UI Light" pitchFamily="34" charset="0"/>
                <a:ea typeface="+mn-ea"/>
                <a:cs typeface="+mn-cs"/>
              </a:rPr>
              <a:t>Entire day is 9am to 5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So 9-10:30am 1.5 hours</a:t>
            </a:r>
          </a:p>
          <a:p>
            <a:r>
              <a:rPr lang="en-GB" sz="882" kern="1200" dirty="0">
                <a:solidFill>
                  <a:schemeClr val="tx1"/>
                </a:solidFill>
                <a:effectLst/>
                <a:latin typeface="Segoe UI Light" pitchFamily="34" charset="0"/>
                <a:ea typeface="+mn-ea"/>
                <a:cs typeface="+mn-cs"/>
              </a:rPr>
              <a:t>11am – 12:30pm 1.5 hours</a:t>
            </a:r>
          </a:p>
          <a:p>
            <a:r>
              <a:rPr lang="en-GB" sz="882" kern="1200" dirty="0">
                <a:solidFill>
                  <a:schemeClr val="tx1"/>
                </a:solidFill>
                <a:effectLst/>
                <a:latin typeface="Segoe UI Light" pitchFamily="34" charset="0"/>
                <a:ea typeface="+mn-ea"/>
                <a:cs typeface="+mn-cs"/>
              </a:rPr>
              <a:t>1:30pm – 3pm 1.5 hours</a:t>
            </a:r>
          </a:p>
          <a:p>
            <a:r>
              <a:rPr lang="en-GB" sz="882" kern="1200" dirty="0">
                <a:solidFill>
                  <a:schemeClr val="tx1"/>
                </a:solidFill>
                <a:effectLst/>
                <a:latin typeface="Segoe UI Light" pitchFamily="34" charset="0"/>
                <a:ea typeface="+mn-ea"/>
                <a:cs typeface="+mn-cs"/>
              </a:rPr>
              <a:t>3:30pm – 5pm 1.5 hour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s with snacks are from 10.30am until 11am, lunch is from 12.30 to 1.30pm and afternoon break with snacks is 3pm to 3.30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Intro 10 mins</a:t>
            </a:r>
          </a:p>
          <a:p>
            <a:r>
              <a:rPr lang="en-GB" sz="882" kern="1200" dirty="0">
                <a:solidFill>
                  <a:schemeClr val="tx1"/>
                </a:solidFill>
                <a:effectLst/>
                <a:latin typeface="Segoe UI Light" pitchFamily="34" charset="0"/>
                <a:ea typeface="+mn-ea"/>
                <a:cs typeface="+mn-cs"/>
              </a:rPr>
              <a:t>Module1 15 mins</a:t>
            </a:r>
          </a:p>
          <a:p>
            <a:r>
              <a:rPr lang="en-GB" sz="882" kern="1200" dirty="0">
                <a:solidFill>
                  <a:schemeClr val="tx1"/>
                </a:solidFill>
                <a:effectLst/>
                <a:latin typeface="Segoe UI Light" pitchFamily="34" charset="0"/>
                <a:ea typeface="+mn-ea"/>
                <a:cs typeface="+mn-cs"/>
              </a:rPr>
              <a:t>Module2 45 mins</a:t>
            </a:r>
          </a:p>
          <a:p>
            <a:r>
              <a:rPr lang="en-GB" sz="882" kern="1200" dirty="0">
                <a:solidFill>
                  <a:schemeClr val="tx1"/>
                </a:solidFill>
                <a:effectLst/>
                <a:latin typeface="Segoe UI Light" pitchFamily="34" charset="0"/>
                <a:ea typeface="+mn-ea"/>
                <a:cs typeface="+mn-cs"/>
              </a:rPr>
              <a:t>Module3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4 45 mins</a:t>
            </a:r>
          </a:p>
          <a:p>
            <a:r>
              <a:rPr lang="en-GB" sz="882" kern="1200" dirty="0">
                <a:solidFill>
                  <a:schemeClr val="tx1"/>
                </a:solidFill>
                <a:effectLst/>
                <a:latin typeface="Segoe UI Light" pitchFamily="34" charset="0"/>
                <a:ea typeface="+mn-ea"/>
                <a:cs typeface="+mn-cs"/>
              </a:rPr>
              <a:t>Module5 25 mins</a:t>
            </a:r>
          </a:p>
          <a:p>
            <a:r>
              <a:rPr lang="en-GB" sz="882" kern="1200" dirty="0">
                <a:solidFill>
                  <a:schemeClr val="tx1"/>
                </a:solidFill>
                <a:effectLst/>
                <a:latin typeface="Segoe UI Light" pitchFamily="34" charset="0"/>
                <a:ea typeface="+mn-ea"/>
                <a:cs typeface="+mn-cs"/>
              </a:rPr>
              <a:t>Module6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Lunch</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6 40 mins</a:t>
            </a:r>
          </a:p>
          <a:p>
            <a:r>
              <a:rPr lang="en-GB" sz="882" kern="1200" dirty="0">
                <a:solidFill>
                  <a:schemeClr val="tx1"/>
                </a:solidFill>
                <a:effectLst/>
                <a:latin typeface="Segoe UI Light" pitchFamily="34" charset="0"/>
                <a:ea typeface="+mn-ea"/>
                <a:cs typeface="+mn-cs"/>
              </a:rPr>
              <a:t>Module7 5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8 45 mins</a:t>
            </a:r>
          </a:p>
          <a:p>
            <a:r>
              <a:rPr lang="en-GB" sz="882" kern="1200" dirty="0">
                <a:solidFill>
                  <a:schemeClr val="tx1"/>
                </a:solidFill>
                <a:effectLst/>
                <a:latin typeface="Segoe UI Light" pitchFamily="34" charset="0"/>
                <a:ea typeface="+mn-ea"/>
                <a:cs typeface="+mn-cs"/>
              </a:rPr>
              <a:t>Module9 5 mins</a:t>
            </a:r>
          </a:p>
          <a:p>
            <a:r>
              <a:rPr lang="en-GB" sz="882" kern="1200" dirty="0">
                <a:solidFill>
                  <a:schemeClr val="tx1"/>
                </a:solidFill>
                <a:effectLst/>
                <a:latin typeface="Segoe UI Light" pitchFamily="34" charset="0"/>
                <a:ea typeface="+mn-ea"/>
                <a:cs typeface="+mn-cs"/>
              </a:rPr>
              <a:t>Module10 30 mins</a:t>
            </a:r>
          </a:p>
          <a:p>
            <a:r>
              <a:rPr lang="en-GB" sz="882" kern="1200" dirty="0">
                <a:solidFill>
                  <a:schemeClr val="tx1"/>
                </a:solidFill>
                <a:effectLst/>
                <a:latin typeface="Segoe UI Light" pitchFamily="34" charset="0"/>
                <a:ea typeface="+mn-ea"/>
                <a:cs typeface="+mn-cs"/>
              </a:rPr>
              <a:t>Final Q&amp;A 10 mins</a:t>
            </a:r>
          </a:p>
          <a:p>
            <a:endParaRPr lang="en-GB"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49745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possibly revise to cover all the possible dev platforms we now suppor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4268019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3566636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919016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5-ModernDevelopmentPlatform.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3500602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Bob presents this</a:t>
            </a:r>
          </a:p>
          <a:p>
            <a:endParaRPr lang="en-US" dirty="0"/>
          </a:p>
          <a:p>
            <a:r>
              <a:rPr lang="en-US" dirty="0"/>
              <a:t>Choose your platform based on the platform not SQL Server running on that platform.</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121675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0794874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Bob</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888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Abstraction Layer (“PAL”) is what enables</a:t>
            </a:r>
            <a:r>
              <a:rPr lang="en-US" baseline="0" dirty="0"/>
              <a:t> SQL Server to run on Linux and Docker. The PAL is used to consolidate OS/platform specific code to enable SQL Server code to become OS agnostic.</a:t>
            </a:r>
          </a:p>
          <a:p>
            <a:r>
              <a:rPr lang="en-US" baseline="0" dirty="0"/>
              <a:t>The SQL Server team set strict requirements to ensure that functionality, performance, and scale were not compromised when deployed to Linux.</a:t>
            </a:r>
          </a:p>
          <a:p>
            <a:r>
              <a:rPr lang="en-US" baseline="0" dirty="0"/>
              <a:t>Part of what makes this possible is the integration of certain parts of MSR’s project Drawbridge. </a:t>
            </a:r>
            <a:r>
              <a:rPr lang="en-US" dirty="0"/>
              <a:t>Drawbridge provided an abstraction between the underlying operating system and the application for the purposes of secure containers.</a:t>
            </a:r>
            <a:r>
              <a:rPr lang="en-US" baseline="0" dirty="0"/>
              <a:t> Drawbridge was combined with SQL Server OS, which provided memory management, thread scheduling, and IO services, to create SQLPAL.</a:t>
            </a:r>
          </a:p>
          <a:p>
            <a:endParaRPr lang="en-US" baseline="0" dirty="0"/>
          </a:p>
          <a:p>
            <a:r>
              <a:rPr lang="en-US" baseline="0" dirty="0"/>
              <a:t>In short, the creation of the PAL allows the same, time-proven core code base for SQL Server to run on new environments such as Docker and Linux – as opposed to porting the Windows code base into multiple operating environments. SQL Server 2017 is not a re-write or a port – it is the same performant, scalable product Microsoft customers have relied upon for years.</a:t>
            </a:r>
          </a:p>
          <a:p>
            <a:endParaRPr lang="en-GB" baseline="0" dirty="0"/>
          </a:p>
          <a:p>
            <a:r>
              <a:rPr lang="en-GB" i="1" baseline="0" dirty="0"/>
              <a:t>Speaker note: f</a:t>
            </a:r>
            <a:r>
              <a:rPr lang="en-US" i="1" baseline="0" dirty="0"/>
              <a:t>or more detail, see https://blogs.technet.microsoft.com/dataplatforminsider/2016/12/16/sql-server-on-linux-how-introdu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1603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 8: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3698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What will be the upgrade path to SQL 2019 from SQL 2017 on Linu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 8: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062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67079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B1FF4-361A-4DF7-B591-6551A3CE70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16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ically we only support Pacemaker for Linux but we have other partners building HADR solutions for Linux. In addition, we have created an open source project for our resource agent so other vendors can build their own solutions based on i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 8: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6232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763130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6-SQLLinux.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9624379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7639152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24730597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5339808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8984300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542537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7-SQLContainer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567103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118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6878952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
              </a:spcAft>
            </a:pPr>
            <a:endParaRPr lang="en-US" dirty="0">
              <a:cs typeface="Segoe UI Ligh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483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Vin</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2019 8: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8991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5025153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2019 8: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14826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Redo this as a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40765238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22975990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9326099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8-DataVirtualization.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902404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285908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360485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starts 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crease analytics and apps performance with scale out data mart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017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published demo for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23362553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11755022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Demo:</a:t>
            </a:r>
          </a:p>
          <a:p>
            <a:endParaRPr lang="en-US" dirty="0"/>
          </a:p>
          <a:p>
            <a:r>
              <a:rPr lang="en-US" dirty="0"/>
              <a:t>Page latch info with temp table stres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35663179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will talk about tools, steps, and processes to migrate to modern SQL Server releases from legacy SQL Server and 3</a:t>
            </a:r>
            <a:r>
              <a:rPr lang="en-US" baseline="30000" dirty="0"/>
              <a:t>rd</a:t>
            </a:r>
            <a:r>
              <a:rPr lang="en-US" dirty="0"/>
              <a:t> party database platforms.</a:t>
            </a:r>
          </a:p>
          <a:p>
            <a:endParaRPr lang="en-US" dirty="0"/>
          </a:p>
          <a:p>
            <a:r>
              <a:rPr lang="en-US" dirty="0"/>
              <a:t>This includes a review of tools to migrate, database compatibility to help mitigate the pain of migration, and a discussion of a new tool called Query Tuning Assistant to help with post migration.</a:t>
            </a:r>
          </a:p>
          <a:p>
            <a:endParaRPr lang="en-US" dirty="0"/>
          </a:p>
          <a:p>
            <a:r>
              <a:rPr lang="en-US" dirty="0"/>
              <a:t>We will also talk about your next steps and Microsoft’s next steps with SQL Server.</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3362399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217000920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5CC640-8B01-4F9A-8CAB-FEFC6A2E5E71}" type="slidenum">
              <a:rPr lang="en-US" smtClean="0"/>
              <a:t>79</a:t>
            </a:fld>
            <a:endParaRPr lang="en-US" dirty="0"/>
          </a:p>
        </p:txBody>
      </p:sp>
    </p:spTree>
    <p:extLst>
      <p:ext uri="{BB962C8B-B14F-4D97-AF65-F5344CB8AC3E}">
        <p14:creationId xmlns:p14="http://schemas.microsoft.com/office/powerpoint/2010/main" val="3905484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2400" dirty="0"/>
              <a:t>Post-migration/upgrade</a:t>
            </a:r>
          </a:p>
          <a:p>
            <a:pPr lvl="2"/>
            <a:r>
              <a:rPr lang="en-US" sz="2000" dirty="0"/>
              <a:t>Crucial to uncover query performance issues with the workload, as it runs on the newer version of SQL Server Database Engine.</a:t>
            </a:r>
          </a:p>
          <a:p>
            <a:pPr lvl="2"/>
            <a:r>
              <a:rPr lang="en-US" sz="2000" dirty="0"/>
              <a:t>User needs to follow documented DB upgrade procedure (https://docs.microsoft.com/en-us/sql/relational-databases/performance/query-store-usage-scenarios#CEUpgrade).</a:t>
            </a:r>
          </a:p>
          <a:p>
            <a:pPr lvl="2"/>
            <a:r>
              <a:rPr lang="en-US" sz="2000" dirty="0"/>
              <a:t>User database is still in before-upgrade database compatibility level, and QTA will assist in collecting baseline workload data (if none available), bump database compatibility level, collect 2</a:t>
            </a:r>
            <a:r>
              <a:rPr lang="en-US" sz="2000" baseline="30000" dirty="0"/>
              <a:t>nd</a:t>
            </a:r>
            <a:r>
              <a:rPr lang="en-US" sz="2000" dirty="0"/>
              <a:t> pass of workload data, and work on any regressions found based on “Regressed Queries” QS repor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1375404" eaLnBrk="0" hangingPunct="0"/>
            <a:r>
              <a:rPr lang="en-US" sz="6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76562170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10-MigratingAndNextStep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447406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slide is specifically an overview of the major key features to SQL Server 2017. You can actually group these six items into four areas</a:t>
            </a:r>
          </a:p>
          <a:p>
            <a:endParaRPr lang="en-US" dirty="0"/>
          </a:p>
          <a:p>
            <a:r>
              <a:rPr lang="en-US" dirty="0"/>
              <a:t>Platform of Choice (Linux and Docker)</a:t>
            </a:r>
          </a:p>
          <a:p>
            <a:r>
              <a:rPr lang="en-US" dirty="0"/>
              <a:t>Performance (AQP and Auto Tuning)</a:t>
            </a:r>
          </a:p>
          <a:p>
            <a:r>
              <a:rPr lang="en-US" dirty="0"/>
              <a:t>HADR</a:t>
            </a:r>
          </a:p>
          <a:p>
            <a:r>
              <a:rPr lang="en-US" dirty="0"/>
              <a:t>Modern Data Capabilities (Graph and ML)</a:t>
            </a:r>
          </a:p>
          <a:p>
            <a:endParaRPr lang="en-US" dirty="0"/>
          </a:p>
          <a:p>
            <a:r>
              <a:rPr lang="en-US" dirty="0"/>
              <a:t>The rest of the deck is to drill into these areas and finish with Migration and vN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d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371072273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2249454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7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prem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82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2019 8: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737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utomatic Tuning requires Query Store and works like this</a:t>
            </a:r>
          </a:p>
          <a:p>
            <a:endParaRPr lang="en-US" sz="900" dirty="0"/>
          </a:p>
          <a:p>
            <a:pPr marL="228600" indent="-228600">
              <a:buAutoNum type="arabicParenR"/>
            </a:pPr>
            <a:r>
              <a:rPr lang="en-US" sz="900" dirty="0"/>
              <a:t>By default we will detect query performance regressions when we see a plan change and avg CPU of the query has dramatically regressed from history in the Query Store. We give you recommendations and a method to resolve it</a:t>
            </a:r>
          </a:p>
          <a:p>
            <a:pPr marL="228600" indent="-228600">
              <a:buAutoNum type="arabicParenR"/>
            </a:pPr>
            <a:r>
              <a:rPr lang="en-US" sz="900" dirty="0"/>
              <a:t>If you enable automatic tuning, we will detect and automatically fix the problem by reverting back to plan when performance was good. I called this “Last Known Good”.</a:t>
            </a:r>
          </a:p>
          <a:p>
            <a:endParaRPr lang="en-US" sz="900" dirty="0"/>
          </a:p>
          <a:p>
            <a:r>
              <a:rPr lang="en-US" sz="900" dirty="0"/>
              <a:t>https://blogs.msdn.microsoft.com/sqlserverstorageengine/2017/05/17/automatic-plan-correction-in-sql-server-2017/</a:t>
            </a:r>
          </a:p>
          <a:p>
            <a:r>
              <a:rPr lang="en-US" sz="900" dirty="0"/>
              <a:t>https://docs.microsoft.com/en-us/sql/relational-databases/automatic-tuning/automatic-tuning</a:t>
            </a:r>
          </a:p>
          <a:p>
            <a:endParaRPr lang="en-US" sz="90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716576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lgn="l">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5935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849463"/>
          </a:xfrm>
          <a:noFill/>
        </p:spPr>
        <p:txBody>
          <a:bodyPr tIns="91440" bIns="91440" anchor="t" anchorCtr="0">
            <a:spAutoFit/>
          </a:bodyPr>
          <a:lstStyle>
            <a:lvl1pPr>
              <a:defRPr sz="4800" spc="800" baseline="0">
                <a:solidFill>
                  <a:schemeClr val="tx2"/>
                </a:solidFill>
              </a:defRPr>
            </a:lvl1pPr>
          </a:lstStyle>
          <a:p>
            <a:r>
              <a:rPr lang="en-US"/>
              <a:t>SECTION TITLE</a:t>
            </a:r>
          </a:p>
        </p:txBody>
      </p:sp>
    </p:spTree>
    <p:extLst>
      <p:ext uri="{BB962C8B-B14F-4D97-AF65-F5344CB8AC3E}">
        <p14:creationId xmlns:p14="http://schemas.microsoft.com/office/powerpoint/2010/main" val="6695833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Cent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615553"/>
          </a:xfrm>
          <a:noFill/>
        </p:spPr>
        <p:txBody>
          <a:bodyPr tIns="91440" bIns="91440" anchor="t" anchorCtr="0">
            <a:spAutoFit/>
          </a:bodyPr>
          <a:lstStyle>
            <a:lvl1pPr>
              <a:lnSpc>
                <a:spcPct val="100000"/>
              </a:lnSpc>
              <a:defRPr sz="2800"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5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5639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27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24669991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2605902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0773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bg>
      <p:bgRef idx="1001">
        <a:schemeClr val="bg2"/>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14026529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sz="3600"/>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583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236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1147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94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3063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18067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with breadcrum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5217" y="457200"/>
            <a:ext cx="11018520" cy="492443"/>
          </a:xfrm>
        </p:spPr>
        <p:txBody>
          <a:bodyPr/>
          <a:lstStyle/>
          <a:p>
            <a:r>
              <a:rPr lang="en-US" dirty="0"/>
              <a:t>Click to edit Master title style</a:t>
            </a:r>
          </a:p>
        </p:txBody>
      </p:sp>
      <p:sp>
        <p:nvSpPr>
          <p:cNvPr id="4" name="Text Placeholder 5">
            <a:extLst>
              <a:ext uri="{FF2B5EF4-FFF2-40B4-BE49-F238E27FC236}">
                <a16:creationId xmlns:a16="http://schemas.microsoft.com/office/drawing/2014/main" id="{79E18D4A-A473-934A-8113-02AC50E0470C}"/>
              </a:ext>
            </a:extLst>
          </p:cNvPr>
          <p:cNvSpPr>
            <a:spLocks noGrp="1"/>
          </p:cNvSpPr>
          <p:nvPr>
            <p:ph type="body" sz="quarter" idx="11" hasCustomPrompt="1"/>
          </p:nvPr>
        </p:nvSpPr>
        <p:spPr>
          <a:xfrm>
            <a:off x="202019" y="6499891"/>
            <a:ext cx="2807497" cy="184666"/>
          </a:xfrm>
        </p:spPr>
        <p:txBody>
          <a:bodyPr/>
          <a:lstStyle>
            <a:lvl1pPr marL="0" indent="0">
              <a:buNone/>
              <a:defRPr lang="en-US" sz="1200" kern="0" dirty="0" smtClean="0">
                <a:solidFill>
                  <a:srgbClr val="0078D4"/>
                </a:solidFill>
                <a:latin typeface="+mj-lt"/>
                <a:ea typeface="+mn-ea"/>
                <a:cs typeface="Segoe UI" panose="020B0502040204020203" pitchFamily="34" charset="0"/>
              </a:defRPr>
            </a:lvl1pPr>
            <a:lvl2pPr marL="228600" indent="0">
              <a:buNone/>
              <a:defRPr/>
            </a:lvl2pPr>
          </a:lstStyle>
          <a:p>
            <a:pPr lvl="0"/>
            <a:r>
              <a:rPr lang="en-US" dirty="0"/>
              <a:t>Breadcrumb</a:t>
            </a:r>
          </a:p>
        </p:txBody>
      </p:sp>
    </p:spTree>
    <p:extLst>
      <p:ext uri="{BB962C8B-B14F-4D97-AF65-F5344CB8AC3E}">
        <p14:creationId xmlns:p14="http://schemas.microsoft.com/office/powerpoint/2010/main" val="534713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47825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bg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pic>
        <p:nvPicPr>
          <p:cNvPr id="6" name="Picture 5">
            <a:extLst>
              <a:ext uri="{FF2B5EF4-FFF2-40B4-BE49-F238E27FC236}">
                <a16:creationId xmlns:a16="http://schemas.microsoft.com/office/drawing/2014/main" id="{24C771C7-53F4-5F42-A429-D0A2E02CD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32" r="50000" b="48463"/>
          <a:stretch/>
        </p:blipFill>
        <p:spPr>
          <a:xfrm>
            <a:off x="7032111" y="2236741"/>
            <a:ext cx="5159889" cy="4621259"/>
          </a:xfrm>
          <a:prstGeom prst="rect">
            <a:avLst/>
          </a:prstGeom>
        </p:spPr>
      </p:pic>
    </p:spTree>
    <p:extLst>
      <p:ext uri="{BB962C8B-B14F-4D97-AF65-F5344CB8AC3E}">
        <p14:creationId xmlns:p14="http://schemas.microsoft.com/office/powerpoint/2010/main" val="2374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65841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7361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nnouncement">
    <p:bg>
      <p:bgPr>
        <a:solidFill>
          <a:schemeClr val="accent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A75DF94-2E22-4C34-A075-B82AB37EB941}"/>
              </a:ext>
            </a:extLst>
          </p:cNvPr>
          <p:cNvGrpSpPr/>
          <p:nvPr userDrawn="1"/>
        </p:nvGrpSpPr>
        <p:grpSpPr>
          <a:xfrm>
            <a:off x="5540679" y="1364158"/>
            <a:ext cx="1110643" cy="1110643"/>
            <a:chOff x="5442557" y="1206016"/>
            <a:chExt cx="1306886" cy="1306886"/>
          </a:xfrm>
        </p:grpSpPr>
        <p:sp>
          <p:nvSpPr>
            <p:cNvPr id="4" name="Oval 3">
              <a:extLst>
                <a:ext uri="{FF2B5EF4-FFF2-40B4-BE49-F238E27FC236}">
                  <a16:creationId xmlns:a16="http://schemas.microsoft.com/office/drawing/2014/main" id="{E9C42B1D-638E-4FC3-A9A3-0FE8E786D142}"/>
                </a:ext>
              </a:extLst>
            </p:cNvPr>
            <p:cNvSpPr/>
            <p:nvPr/>
          </p:nvSpPr>
          <p:spPr bwMode="auto">
            <a:xfrm>
              <a:off x="5442557" y="1206016"/>
              <a:ext cx="1306886" cy="1306886"/>
            </a:xfrm>
            <a:prstGeom prst="ellipse">
              <a:avLst/>
            </a:prstGeom>
            <a:solidFill>
              <a:sysClr val="window" lastClr="FFFFFF"/>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78D4"/>
                </a:solidFill>
                <a:effectLst/>
                <a:uLnTx/>
                <a:uFillTx/>
                <a:latin typeface="Segoe UI Semilight"/>
              </a:endParaRPr>
            </a:p>
          </p:txBody>
        </p:sp>
        <p:grpSp>
          <p:nvGrpSpPr>
            <p:cNvPr id="5" name="Group 4">
              <a:extLst>
                <a:ext uri="{FF2B5EF4-FFF2-40B4-BE49-F238E27FC236}">
                  <a16:creationId xmlns:a16="http://schemas.microsoft.com/office/drawing/2014/main" id="{3DADBADB-6A89-4CD8-B033-5F79D4FA0D48}"/>
                </a:ext>
              </a:extLst>
            </p:cNvPr>
            <p:cNvGrpSpPr/>
            <p:nvPr/>
          </p:nvGrpSpPr>
          <p:grpSpPr>
            <a:xfrm rot="20700000">
              <a:off x="5672191" y="1651795"/>
              <a:ext cx="847629" cy="415326"/>
              <a:chOff x="6573970" y="2344304"/>
              <a:chExt cx="744993" cy="365036"/>
            </a:xfrm>
          </p:grpSpPr>
          <p:grpSp>
            <p:nvGrpSpPr>
              <p:cNvPr id="6" name="Group 5">
                <a:extLst>
                  <a:ext uri="{FF2B5EF4-FFF2-40B4-BE49-F238E27FC236}">
                    <a16:creationId xmlns:a16="http://schemas.microsoft.com/office/drawing/2014/main" id="{6A20BEAB-C4CB-4CA5-8D5D-A98684957E4C}"/>
                  </a:ext>
                </a:extLst>
              </p:cNvPr>
              <p:cNvGrpSpPr/>
              <p:nvPr/>
            </p:nvGrpSpPr>
            <p:grpSpPr>
              <a:xfrm>
                <a:off x="6573970" y="2344304"/>
                <a:ext cx="493580" cy="365036"/>
                <a:chOff x="6573970" y="2365710"/>
                <a:chExt cx="493580" cy="365036"/>
              </a:xfrm>
            </p:grpSpPr>
            <p:sp>
              <p:nvSpPr>
                <p:cNvPr id="10" name="Rectangle 9">
                  <a:extLst>
                    <a:ext uri="{FF2B5EF4-FFF2-40B4-BE49-F238E27FC236}">
                      <a16:creationId xmlns:a16="http://schemas.microsoft.com/office/drawing/2014/main" id="{676CDCD1-7373-4752-9EF8-D9B11C3E98E6}"/>
                    </a:ext>
                  </a:extLst>
                </p:cNvPr>
                <p:cNvSpPr/>
                <p:nvPr/>
              </p:nvSpPr>
              <p:spPr>
                <a:xfrm>
                  <a:off x="6573970" y="2447692"/>
                  <a:ext cx="45719" cy="192970"/>
                </a:xfrm>
                <a:prstGeom prst="rect">
                  <a:avLst/>
                </a:pr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Freeform 21">
                  <a:extLst>
                    <a:ext uri="{FF2B5EF4-FFF2-40B4-BE49-F238E27FC236}">
                      <a16:creationId xmlns:a16="http://schemas.microsoft.com/office/drawing/2014/main" id="{4F1DEC48-B505-41AC-B3F2-E30AED59C261}"/>
                    </a:ext>
                  </a:extLst>
                </p:cNvPr>
                <p:cNvSpPr/>
                <p:nvPr/>
              </p:nvSpPr>
              <p:spPr>
                <a:xfrm>
                  <a:off x="6619689" y="2365710"/>
                  <a:ext cx="447861" cy="356934"/>
                </a:xfrm>
                <a:custGeom>
                  <a:avLst/>
                  <a:gdLst>
                    <a:gd name="connsiteX0" fmla="*/ 282761 w 282761"/>
                    <a:gd name="connsiteY0" fmla="*/ 0 h 349914"/>
                    <a:gd name="connsiteX1" fmla="*/ 282761 w 282761"/>
                    <a:gd name="connsiteY1" fmla="*/ 349914 h 349914"/>
                    <a:gd name="connsiteX2" fmla="*/ 0 w 282761"/>
                    <a:gd name="connsiteY2" fmla="*/ 239975 h 349914"/>
                    <a:gd name="connsiteX3" fmla="*/ 0 w 282761"/>
                    <a:gd name="connsiteY3" fmla="*/ 109940 h 349914"/>
                    <a:gd name="connsiteX4" fmla="*/ 282761 w 282761"/>
                    <a:gd name="connsiteY4" fmla="*/ 0 h 349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61" h="349914">
                      <a:moveTo>
                        <a:pt x="282761" y="0"/>
                      </a:moveTo>
                      <a:lnTo>
                        <a:pt x="282761" y="349914"/>
                      </a:lnTo>
                      <a:lnTo>
                        <a:pt x="0" y="239975"/>
                      </a:lnTo>
                      <a:lnTo>
                        <a:pt x="0" y="109940"/>
                      </a:lnTo>
                      <a:lnTo>
                        <a:pt x="282761" y="0"/>
                      </a:lnTo>
                      <a:close/>
                    </a:path>
                  </a:pathLst>
                </a:cu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5">
                  <a:extLst>
                    <a:ext uri="{FF2B5EF4-FFF2-40B4-BE49-F238E27FC236}">
                      <a16:creationId xmlns:a16="http://schemas.microsoft.com/office/drawing/2014/main" id="{14EE299F-CA53-4122-B280-021071F0A4A0}"/>
                    </a:ext>
                  </a:extLst>
                </p:cNvPr>
                <p:cNvSpPr/>
                <p:nvPr/>
              </p:nvSpPr>
              <p:spPr>
                <a:xfrm rot="934555">
                  <a:off x="6731258" y="2656721"/>
                  <a:ext cx="148049" cy="74025"/>
                </a:xfrm>
                <a:custGeom>
                  <a:avLst/>
                  <a:gdLst>
                    <a:gd name="connsiteX0" fmla="*/ 0 w 225425"/>
                    <a:gd name="connsiteY0" fmla="*/ 112713 h 225425"/>
                    <a:gd name="connsiteX1" fmla="*/ 112713 w 225425"/>
                    <a:gd name="connsiteY1" fmla="*/ 0 h 225425"/>
                    <a:gd name="connsiteX2" fmla="*/ 225426 w 225425"/>
                    <a:gd name="connsiteY2" fmla="*/ 112713 h 225425"/>
                    <a:gd name="connsiteX3" fmla="*/ 112713 w 225425"/>
                    <a:gd name="connsiteY3" fmla="*/ 225426 h 225425"/>
                    <a:gd name="connsiteX4" fmla="*/ 0 w 225425"/>
                    <a:gd name="connsiteY4" fmla="*/ 112713 h 225425"/>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4" fmla="*/ 204153 w 225426"/>
                    <a:gd name="connsiteY4" fmla="*/ 91440 h 225426"/>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0" fmla="*/ 225426 w 225426"/>
                    <a:gd name="connsiteY0" fmla="*/ 0 h 112713"/>
                    <a:gd name="connsiteX1" fmla="*/ 112713 w 225426"/>
                    <a:gd name="connsiteY1" fmla="*/ 112713 h 112713"/>
                    <a:gd name="connsiteX2" fmla="*/ 0 w 225426"/>
                    <a:gd name="connsiteY2" fmla="*/ 0 h 112713"/>
                  </a:gdLst>
                  <a:ahLst/>
                  <a:cxnLst>
                    <a:cxn ang="0">
                      <a:pos x="connsiteX0" y="connsiteY0"/>
                    </a:cxn>
                    <a:cxn ang="0">
                      <a:pos x="connsiteX1" y="connsiteY1"/>
                    </a:cxn>
                    <a:cxn ang="0">
                      <a:pos x="connsiteX2" y="connsiteY2"/>
                    </a:cxn>
                  </a:cxnLst>
                  <a:rect l="l" t="t" r="r" b="b"/>
                  <a:pathLst>
                    <a:path w="225426" h="112713">
                      <a:moveTo>
                        <a:pt x="225426" y="0"/>
                      </a:moveTo>
                      <a:cubicBezTo>
                        <a:pt x="225426" y="62250"/>
                        <a:pt x="174963" y="112713"/>
                        <a:pt x="112713" y="112713"/>
                      </a:cubicBezTo>
                      <a:cubicBezTo>
                        <a:pt x="50463" y="112713"/>
                        <a:pt x="0" y="62250"/>
                        <a:pt x="0" y="0"/>
                      </a:cubicBezTo>
                    </a:path>
                  </a:pathLst>
                </a:custGeom>
                <a:noFill/>
                <a:ln w="5715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E7E3808-FBAF-4F9A-9630-00D793DD1F94}"/>
                  </a:ext>
                </a:extLst>
              </p:cNvPr>
              <p:cNvGrpSpPr/>
              <p:nvPr/>
            </p:nvGrpSpPr>
            <p:grpSpPr>
              <a:xfrm rot="2700000">
                <a:off x="7031203" y="2386420"/>
                <a:ext cx="288813" cy="286706"/>
                <a:chOff x="6066285" y="1939474"/>
                <a:chExt cx="217487" cy="215900"/>
              </a:xfrm>
            </p:grpSpPr>
            <p:sp>
              <p:nvSpPr>
                <p:cNvPr id="8" name="Freeform 297">
                  <a:extLst>
                    <a:ext uri="{FF2B5EF4-FFF2-40B4-BE49-F238E27FC236}">
                      <a16:creationId xmlns:a16="http://schemas.microsoft.com/office/drawing/2014/main" id="{D6D03CD9-B8B0-4543-A0B0-FC5D97C21580}"/>
                    </a:ext>
                  </a:extLst>
                </p:cNvPr>
                <p:cNvSpPr>
                  <a:spLocks/>
                </p:cNvSpPr>
                <p:nvPr/>
              </p:nvSpPr>
              <p:spPr bwMode="auto">
                <a:xfrm>
                  <a:off x="6066285" y="1939474"/>
                  <a:ext cx="217487" cy="215900"/>
                </a:xfrm>
                <a:custGeom>
                  <a:avLst/>
                  <a:gdLst>
                    <a:gd name="T0" fmla="*/ 55 w 55"/>
                    <a:gd name="T1" fmla="*/ 55 h 55"/>
                    <a:gd name="T2" fmla="*/ 0 w 55"/>
                    <a:gd name="T3" fmla="*/ 0 h 55"/>
                  </a:gdLst>
                  <a:ahLst/>
                  <a:cxnLst>
                    <a:cxn ang="0">
                      <a:pos x="T0" y="T1"/>
                    </a:cxn>
                    <a:cxn ang="0">
                      <a:pos x="T2" y="T3"/>
                    </a:cxn>
                  </a:cxnLst>
                  <a:rect l="0" t="0" r="r" b="b"/>
                  <a:pathLst>
                    <a:path w="55" h="55">
                      <a:moveTo>
                        <a:pt x="55" y="55"/>
                      </a:moveTo>
                      <a:cubicBezTo>
                        <a:pt x="55" y="25"/>
                        <a:pt x="30" y="0"/>
                        <a:pt x="0" y="0"/>
                      </a:cubicBezTo>
                    </a:path>
                  </a:pathLst>
                </a:custGeom>
                <a:solidFill>
                  <a:srgbClr val="FFFFFF"/>
                </a:solidFill>
                <a:ln w="571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9" name="Freeform 298">
                  <a:extLst>
                    <a:ext uri="{FF2B5EF4-FFF2-40B4-BE49-F238E27FC236}">
                      <a16:creationId xmlns:a16="http://schemas.microsoft.com/office/drawing/2014/main" id="{9766874B-7421-4830-975C-AE74157CCD3B}"/>
                    </a:ext>
                  </a:extLst>
                </p:cNvPr>
                <p:cNvSpPr>
                  <a:spLocks/>
                </p:cNvSpPr>
                <p:nvPr/>
              </p:nvSpPr>
              <p:spPr bwMode="auto">
                <a:xfrm>
                  <a:off x="6084881" y="2003428"/>
                  <a:ext cx="133350" cy="133350"/>
                </a:xfrm>
                <a:custGeom>
                  <a:avLst/>
                  <a:gdLst>
                    <a:gd name="T0" fmla="*/ 34 w 34"/>
                    <a:gd name="T1" fmla="*/ 34 h 34"/>
                    <a:gd name="T2" fmla="*/ 0 w 34"/>
                    <a:gd name="T3" fmla="*/ 0 h 34"/>
                  </a:gdLst>
                  <a:ahLst/>
                  <a:cxnLst>
                    <a:cxn ang="0">
                      <a:pos x="T0" y="T1"/>
                    </a:cxn>
                    <a:cxn ang="0">
                      <a:pos x="T2" y="T3"/>
                    </a:cxn>
                  </a:cxnLst>
                  <a:rect l="0" t="0" r="r" b="b"/>
                  <a:pathLst>
                    <a:path w="34" h="34">
                      <a:moveTo>
                        <a:pt x="34" y="34"/>
                      </a:moveTo>
                      <a:cubicBezTo>
                        <a:pt x="34" y="15"/>
                        <a:pt x="19" y="0"/>
                        <a:pt x="0" y="0"/>
                      </a:cubicBezTo>
                    </a:path>
                  </a:pathLst>
                </a:custGeom>
                <a:noFill/>
                <a:ln w="571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grpSp>
      </p:grpSp>
      <p:sp>
        <p:nvSpPr>
          <p:cNvPr id="13" name="TextBox 12">
            <a:extLst>
              <a:ext uri="{FF2B5EF4-FFF2-40B4-BE49-F238E27FC236}">
                <a16:creationId xmlns:a16="http://schemas.microsoft.com/office/drawing/2014/main" id="{3A02E2CB-411C-47D9-B3C0-EED3ECB03500}"/>
              </a:ext>
            </a:extLst>
          </p:cNvPr>
          <p:cNvSpPr txBox="1"/>
          <p:nvPr userDrawn="1"/>
        </p:nvSpPr>
        <p:spPr>
          <a:xfrm>
            <a:off x="4619895" y="2910443"/>
            <a:ext cx="2952210" cy="584775"/>
          </a:xfrm>
          <a:prstGeom prst="rect">
            <a:avLst/>
          </a:prstGeom>
          <a:noFill/>
        </p:spPr>
        <p:txBody>
          <a:bodyPr wrap="square" lIns="91440" tIns="45720" rIns="91440" bIns="45720" rtlCol="0">
            <a:spAutoFit/>
          </a:bodyPr>
          <a:lstStyle/>
          <a:p>
            <a:pPr algn="ctr" defTabSz="896386" fontAlgn="base">
              <a:spcBef>
                <a:spcPct val="0"/>
              </a:spcBef>
              <a:spcAft>
                <a:spcPts val="1200"/>
              </a:spcAft>
              <a:defRPr/>
            </a:pPr>
            <a:r>
              <a:rPr lang="en-US" sz="3200" kern="0" dirty="0">
                <a:ln w="3175">
                  <a:noFill/>
                </a:ln>
                <a:gradFill>
                  <a:gsLst>
                    <a:gs pos="0">
                      <a:srgbClr val="FFFFFF"/>
                    </a:gs>
                    <a:gs pos="100000">
                      <a:srgbClr val="FFFFFF"/>
                    </a:gs>
                  </a:gsLst>
                  <a:lin ang="5400000" scaled="0"/>
                </a:gradFill>
                <a:cs typeface="Segoe UI" panose="020B0502040204020203" pitchFamily="34" charset="0"/>
              </a:rPr>
              <a:t> </a:t>
            </a:r>
            <a:r>
              <a:rPr lang="en-US" sz="3200" kern="0" dirty="0">
                <a:ln w="3175">
                  <a:noFill/>
                </a:ln>
                <a:gradFill>
                  <a:gsLst>
                    <a:gs pos="0">
                      <a:srgbClr val="FFFFFF"/>
                    </a:gs>
                    <a:gs pos="100000">
                      <a:srgbClr val="FFFFFF"/>
                    </a:gs>
                  </a:gsLst>
                  <a:lin ang="5400000" scaled="0"/>
                </a:gradFill>
                <a:cs typeface="Segoe UI Semibold" panose="020B0702040204020203" pitchFamily="34" charset="0"/>
              </a:rPr>
              <a:t>Announcing</a:t>
            </a:r>
          </a:p>
        </p:txBody>
      </p:sp>
      <p:sp>
        <p:nvSpPr>
          <p:cNvPr id="14" name="Title 13">
            <a:extLst>
              <a:ext uri="{FF2B5EF4-FFF2-40B4-BE49-F238E27FC236}">
                <a16:creationId xmlns:a16="http://schemas.microsoft.com/office/drawing/2014/main" id="{E43DC0B8-B96B-490B-AC9B-1292DB0651E5}"/>
              </a:ext>
            </a:extLst>
          </p:cNvPr>
          <p:cNvSpPr>
            <a:spLocks noGrp="1"/>
          </p:cNvSpPr>
          <p:nvPr>
            <p:ph type="title"/>
          </p:nvPr>
        </p:nvSpPr>
        <p:spPr>
          <a:xfrm>
            <a:off x="586740" y="3617137"/>
            <a:ext cx="11018520" cy="553998"/>
          </a:xfrm>
        </p:spPr>
        <p:txBody>
          <a:bodyPr/>
          <a:lstStyle>
            <a:lvl1pPr algn="ctr">
              <a:defRPr sz="3600">
                <a:solidFill>
                  <a:schemeClr val="bg1"/>
                </a:solidFill>
              </a:defRPr>
            </a:lvl1pPr>
          </a:lstStyle>
          <a:p>
            <a:r>
              <a:rPr lang="en-US" dirty="0"/>
              <a:t>Click to edit Master title style</a:t>
            </a:r>
          </a:p>
        </p:txBody>
      </p:sp>
      <p:sp>
        <p:nvSpPr>
          <p:cNvPr id="16" name="Text Placeholder 15">
            <a:extLst>
              <a:ext uri="{FF2B5EF4-FFF2-40B4-BE49-F238E27FC236}">
                <a16:creationId xmlns:a16="http://schemas.microsoft.com/office/drawing/2014/main" id="{E0FE0BD3-D221-4B45-9BAF-F141101B2571}"/>
              </a:ext>
            </a:extLst>
          </p:cNvPr>
          <p:cNvSpPr>
            <a:spLocks noGrp="1"/>
          </p:cNvSpPr>
          <p:nvPr>
            <p:ph type="body" sz="quarter" idx="10"/>
          </p:nvPr>
        </p:nvSpPr>
        <p:spPr>
          <a:xfrm>
            <a:off x="4426200" y="4258844"/>
            <a:ext cx="3339600" cy="276999"/>
          </a:xfrm>
        </p:spPr>
        <p:txBody>
          <a:bodyPr>
            <a:spAutoFit/>
          </a:bodyPr>
          <a:lstStyle>
            <a:lvl1pPr marL="0" indent="0" algn="ctr">
              <a:buNone/>
              <a:defRPr sz="1800">
                <a:solidFill>
                  <a:schemeClr val="bg1"/>
                </a:solidFill>
              </a:defRPr>
            </a:lvl1pPr>
            <a:lvl2pPr marL="228600" indent="0" algn="ctr">
              <a:buNone/>
              <a:defRPr>
                <a:solidFill>
                  <a:schemeClr val="bg1"/>
                </a:solidFill>
              </a:defRPr>
            </a:lvl2pPr>
            <a:lvl3pPr marL="457200" indent="0" algn="ctr">
              <a:buNone/>
              <a:defRPr>
                <a:solidFill>
                  <a:schemeClr val="bg1"/>
                </a:solidFill>
              </a:defRPr>
            </a:lvl3pPr>
            <a:lvl4pPr marL="661988" indent="0" algn="ctr">
              <a:buNone/>
              <a:defRPr>
                <a:solidFill>
                  <a:schemeClr val="bg1"/>
                </a:solidFill>
              </a:defRPr>
            </a:lvl4pPr>
            <a:lvl5pPr marL="855663" indent="0" algn="ctr">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5495242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7B43C2-C40B-401A-92F0-391A3194C2DD}"/>
              </a:ext>
            </a:extLst>
          </p:cNvPr>
          <p:cNvSpPr/>
          <p:nvPr userDrawn="1"/>
        </p:nvSpPr>
        <p:spPr bwMode="auto">
          <a:xfrm>
            <a:off x="0" y="0"/>
            <a:ext cx="6096000" cy="68580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9DB76D19-656B-42E2-8D39-931AA8991436}"/>
              </a:ext>
            </a:extLst>
          </p:cNvPr>
          <p:cNvSpPr>
            <a:spLocks noGrp="1"/>
          </p:cNvSpPr>
          <p:nvPr>
            <p:ph type="title"/>
          </p:nvPr>
        </p:nvSpPr>
        <p:spPr>
          <a:xfrm>
            <a:off x="588263" y="2875002"/>
            <a:ext cx="4967806" cy="1107996"/>
          </a:xfrm>
        </p:spPr>
        <p:txBody>
          <a:bodyPr anchor="b"/>
          <a:lstStyle>
            <a:lvl1pPr>
              <a:defRPr sz="36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D7CEB9-19A7-40E6-B009-4587AFBBD5E8}"/>
              </a:ext>
            </a:extLst>
          </p:cNvPr>
          <p:cNvSpPr>
            <a:spLocks noGrp="1"/>
          </p:cNvSpPr>
          <p:nvPr>
            <p:ph type="body" sz="quarter" idx="10"/>
          </p:nvPr>
        </p:nvSpPr>
        <p:spPr>
          <a:xfrm>
            <a:off x="588963" y="3982998"/>
            <a:ext cx="4967106" cy="276999"/>
          </a:xfrm>
        </p:spPr>
        <p:txBody>
          <a:bodyPr/>
          <a:lstStyle>
            <a:lvl1pPr marL="0" indent="0">
              <a:buNone/>
              <a:defRPr sz="1800">
                <a:solidFill>
                  <a:schemeClr val="bg1"/>
                </a:solidFill>
              </a:defRPr>
            </a:lvl1pPr>
            <a:lvl2pPr marL="2286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2729078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731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192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5568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229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88458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10590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389119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17671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dirty="0"/>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86664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2963605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465457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8185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70319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373914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194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1008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8859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80313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22435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3616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7757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30162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679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937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19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1524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9104572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98554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6A074B-9067-4E0C-B635-DF2C72A048EE}"/>
              </a:ext>
            </a:extLst>
          </p:cNvPr>
          <p:cNvSpPr txBox="1">
            <a:spLocks/>
          </p:cNvSpPr>
          <p:nvPr userDrawn="1"/>
        </p:nvSpPr>
        <p:spPr>
          <a:xfrm>
            <a:off x="-2" y="1"/>
            <a:ext cx="5114927"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000000"/>
                </a:solidFill>
                <a:latin typeface="Segoe UI Semilight" charset="0"/>
                <a:ea typeface="Segoe UI Semilight" charset="0"/>
                <a:cs typeface="Segoe UI Semilight" charset="0"/>
              </a:rPr>
              <a:t>Customer story</a:t>
            </a:r>
          </a:p>
        </p:txBody>
      </p:sp>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436083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Tree>
    <p:extLst>
      <p:ext uri="{BB962C8B-B14F-4D97-AF65-F5344CB8AC3E}">
        <p14:creationId xmlns:p14="http://schemas.microsoft.com/office/powerpoint/2010/main" val="169469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1966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15957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03903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973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32199813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8661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41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0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60591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0958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72906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4724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04155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3043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69866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2067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879570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93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98539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57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4012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0950319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Tree>
    <p:extLst>
      <p:ext uri="{BB962C8B-B14F-4D97-AF65-F5344CB8AC3E}">
        <p14:creationId xmlns:p14="http://schemas.microsoft.com/office/powerpoint/2010/main" val="110409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4182424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0494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38280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13204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21416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2627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372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09027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9041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433912"/>
            <a:ext cx="11655840" cy="573479"/>
          </a:xfrm>
        </p:spPr>
        <p:txBody>
          <a:bodyPr/>
          <a:lstStyle/>
          <a:p>
            <a:r>
              <a:rPr lang="en-US"/>
              <a:t>Click to edit Master title style</a:t>
            </a:r>
          </a:p>
        </p:txBody>
      </p:sp>
      <p:sp>
        <p:nvSpPr>
          <p:cNvPr id="14" name="Text Placeholder 12">
            <a:extLst>
              <a:ext uri="{FF2B5EF4-FFF2-40B4-BE49-F238E27FC236}">
                <a16:creationId xmlns:a16="http://schemas.microsoft.com/office/drawing/2014/main" id="{9AED70E7-6D0E-B249-AABC-7525B3F4EE57}"/>
              </a:ext>
            </a:extLst>
          </p:cNvPr>
          <p:cNvSpPr>
            <a:spLocks noGrp="1"/>
          </p:cNvSpPr>
          <p:nvPr>
            <p:ph type="body" sz="quarter" idx="13"/>
          </p:nvPr>
        </p:nvSpPr>
        <p:spPr>
          <a:xfrm>
            <a:off x="269876" y="863951"/>
            <a:ext cx="11655425" cy="433965"/>
          </a:xfrm>
        </p:spPr>
        <p:txBody>
          <a:bodyPr lIns="146304"/>
          <a:lstStyle>
            <a:lvl1pPr marL="0" indent="0">
              <a:buNone/>
              <a:defRPr sz="1800" b="1" i="0">
                <a:solidFill>
                  <a:schemeClr val="tx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394971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dirty="0"/>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467538"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467536" y="289512"/>
            <a:ext cx="5581874" cy="899665"/>
          </a:xfrm>
        </p:spPr>
        <p:txBody>
          <a:bodyPr/>
          <a:lstStyle>
            <a:lvl1pPr algn="l">
              <a:defRPr sz="2800" spc="8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2382662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lgn="l">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7644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2" y="3877278"/>
            <a:ext cx="9860674" cy="627864"/>
          </a:xfrm>
          <a:noFill/>
        </p:spPr>
        <p:txBody>
          <a:bodyPr lIns="182880" tIns="146304" rIns="182880" bIns="146304">
            <a:spAutoFit/>
          </a:bodyPr>
          <a:lstStyle>
            <a:lvl1pPr marL="0" indent="0">
              <a:spcBef>
                <a:spcPts val="0"/>
              </a:spcBef>
              <a:buNone/>
              <a:defRPr lang="en-US" sz="2400" b="0" kern="1200" cap="none" spc="300" baseline="0" dirty="0">
                <a:ln w="3175">
                  <a:noFill/>
                </a:ln>
                <a:solidFill>
                  <a:srgbClr val="0078D7"/>
                </a:solidFill>
                <a:effectLst/>
                <a:latin typeface="Segoe UI Semilight" charset="0"/>
                <a:ea typeface="Segoe UI Semilight" charset="0"/>
                <a:cs typeface="Segoe UI Semilight" charset="0"/>
              </a:defRPr>
            </a:lvl1pPr>
          </a:lstStyle>
          <a:p>
            <a:pPr lvl="0"/>
            <a:r>
              <a:rPr lang="en-US"/>
              <a:t>Speaker Name</a:t>
            </a:r>
          </a:p>
        </p:txBody>
      </p:sp>
      <p:sp>
        <p:nvSpPr>
          <p:cNvPr id="3" name="Title 2">
            <a:extLst>
              <a:ext uri="{FF2B5EF4-FFF2-40B4-BE49-F238E27FC236}">
                <a16:creationId xmlns:a16="http://schemas.microsoft.com/office/drawing/2014/main" id="{205C18F7-1306-4898-A808-64CF52939F6B}"/>
              </a:ext>
            </a:extLst>
          </p:cNvPr>
          <p:cNvSpPr>
            <a:spLocks noGrp="1"/>
          </p:cNvSpPr>
          <p:nvPr>
            <p:ph type="title"/>
          </p:nvPr>
        </p:nvSpPr>
        <p:spPr>
          <a:xfrm>
            <a:off x="269240" y="3028516"/>
            <a:ext cx="11655840" cy="751163"/>
          </a:xfrm>
        </p:spPr>
        <p:txBody>
          <a:bodyPr/>
          <a:lstStyle>
            <a:lvl1pPr algn="l">
              <a:defRPr lang="en-US" sz="3600" b="0" kern="1200" cap="all" spc="5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213969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image" Target="../media/image1.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heme" Target="../theme/theme3.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8.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66" r:id="rId19"/>
    <p:sldLayoutId id="2147484767" r:id="rId20"/>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332742"/>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45764285"/>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4" r:id="rId25"/>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0659585"/>
      </p:ext>
    </p:extLst>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33912"/>
            <a:ext cx="11655840" cy="7511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0224936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Lst>
  <p:transition>
    <p:fade/>
  </p:transition>
  <p:txStyles>
    <p:titleStyle>
      <a:lvl1pPr algn="l" defTabSz="914192" rtl="0" eaLnBrk="1" latinLnBrk="0" hangingPunct="1">
        <a:lnSpc>
          <a:spcPct val="90000"/>
        </a:lnSpc>
        <a:spcBef>
          <a:spcPct val="0"/>
        </a:spcBef>
        <a:buNone/>
        <a:defRPr lang="en-US" sz="2800" b="1" i="0" kern="1200" cap="none" spc="0" baseline="0" dirty="0">
          <a:ln w="3175">
            <a:noFill/>
          </a:ln>
          <a:solidFill>
            <a:schemeClr val="accent1"/>
          </a:solidFill>
          <a:effectLst/>
          <a:latin typeface="Segoe UI Semibold" panose="020B0502040204020203" pitchFamily="34" charset="0"/>
          <a:ea typeface="+mn-ea"/>
          <a:cs typeface="Segoe UI Semibold"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accent1"/>
          </a:soli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aka.ms/sqlworkshop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s://aka.ms/bobsqldemos" TargetMode="External"/><Relationship Id="rId4" Type="http://schemas.openxmlformats.org/officeDocument/2006/relationships/hyperlink" Target="https://aka.ms/bobwardm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0.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34.png"/><Relationship Id="rId7" Type="http://schemas.openxmlformats.org/officeDocument/2006/relationships/diagramColors" Target="../diagrams/colors8.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sql/relational-databases/graphs/sql-graph-sample" TargetMode="External"/><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26.png"/><Relationship Id="rId7" Type="http://schemas.openxmlformats.org/officeDocument/2006/relationships/diagramQuickStyle" Target="../diagrams/quickStyle9.xml"/><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20.emf"/><Relationship Id="rId9" Type="http://schemas.microsoft.com/office/2007/relationships/diagramDrawing" Target="../diagrams/drawing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40.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36.jpeg"/><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17" Type="http://schemas.openxmlformats.org/officeDocument/2006/relationships/image" Target="../media/image40.jpeg"/><Relationship Id="rId2" Type="http://schemas.openxmlformats.org/officeDocument/2006/relationships/notesSlide" Target="../notesSlides/notesSlide25.xml"/><Relationship Id="rId16" Type="http://schemas.openxmlformats.org/officeDocument/2006/relationships/image" Target="../media/image39.jpeg"/><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image" Target="../media/image38.jpeg"/><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image" Target="../media/image37.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8.xml"/><Relationship Id="rId7" Type="http://schemas.openxmlformats.org/officeDocument/2006/relationships/diagramColors" Target="../diagrams/colors1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diagramQuickStyle" Target="../diagrams/quickStyle12.xml"/><Relationship Id="rId11" Type="http://schemas.openxmlformats.org/officeDocument/2006/relationships/image" Target="../media/image43.png"/><Relationship Id="rId5" Type="http://schemas.openxmlformats.org/officeDocument/2006/relationships/diagramLayout" Target="../diagrams/layout12.xml"/><Relationship Id="rId10" Type="http://schemas.openxmlformats.org/officeDocument/2006/relationships/image" Target="../media/image42.png"/><Relationship Id="rId4" Type="http://schemas.openxmlformats.org/officeDocument/2006/relationships/diagramData" Target="../diagrams/data12.xml"/><Relationship Id="rId9" Type="http://schemas.openxmlformats.org/officeDocument/2006/relationships/image" Target="../media/image41.png"/></Relationships>
</file>

<file path=ppt/slides/_rels/slide44.xml.rels><?xml version="1.0" encoding="UTF-8" standalone="yes"?>
<Relationships xmlns="http://schemas.openxmlformats.org/package/2006/relationships"><Relationship Id="rId8" Type="http://schemas.microsoft.com/office/2007/relationships/diagramDrawing" Target="../diagrams/drawing13.xml"/><Relationship Id="rId13" Type="http://schemas.microsoft.com/office/2007/relationships/diagramDrawing" Target="../diagrams/drawing14.xml"/><Relationship Id="rId3" Type="http://schemas.openxmlformats.org/officeDocument/2006/relationships/notesSlide" Target="../notesSlides/notesSlide29.xml"/><Relationship Id="rId7" Type="http://schemas.openxmlformats.org/officeDocument/2006/relationships/diagramColors" Target="../diagrams/colors13.xml"/><Relationship Id="rId12" Type="http://schemas.openxmlformats.org/officeDocument/2006/relationships/diagramColors" Target="../diagrams/colors1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diagramQuickStyle" Target="../diagrams/quickStyle13.xml"/><Relationship Id="rId11" Type="http://schemas.openxmlformats.org/officeDocument/2006/relationships/diagramQuickStyle" Target="../diagrams/quickStyle14.xml"/><Relationship Id="rId5" Type="http://schemas.openxmlformats.org/officeDocument/2006/relationships/diagramLayout" Target="../diagrams/layout13.xml"/><Relationship Id="rId10" Type="http://schemas.openxmlformats.org/officeDocument/2006/relationships/diagramLayout" Target="../diagrams/layout14.xml"/><Relationship Id="rId4" Type="http://schemas.openxmlformats.org/officeDocument/2006/relationships/diagramData" Target="../diagrams/data13.xml"/><Relationship Id="rId9" Type="http://schemas.openxmlformats.org/officeDocument/2006/relationships/diagramData" Target="../diagrams/data14.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96.xml"/><Relationship Id="rId4" Type="http://schemas.openxmlformats.org/officeDocument/2006/relationships/image" Target="../media/image45.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47.xml.rels><?xml version="1.0" encoding="UTF-8" standalone="yes"?>
<Relationships xmlns="http://schemas.openxmlformats.org/package/2006/relationships"><Relationship Id="rId3" Type="http://schemas.openxmlformats.org/officeDocument/2006/relationships/hyperlink" Target="https://github.com/Microsoft/sql-server-samples/tree/master/samples/containers"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emf"/><Relationship Id="rId1" Type="http://schemas.openxmlformats.org/officeDocument/2006/relationships/slideLayout" Target="../slideLayouts/slideLayout3.xml"/><Relationship Id="rId4" Type="http://schemas.openxmlformats.org/officeDocument/2006/relationships/hyperlink" Target="https://www.yosoytumadre.com/category/ystm/" TargetMode="Externa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52.xml.rels><?xml version="1.0" encoding="UTF-8" standalone="yes"?>
<Relationships xmlns="http://schemas.openxmlformats.org/package/2006/relationships"><Relationship Id="rId8" Type="http://schemas.openxmlformats.org/officeDocument/2006/relationships/diagramQuickStyle" Target="../diagrams/quickStyle17.xml"/><Relationship Id="rId3" Type="http://schemas.openxmlformats.org/officeDocument/2006/relationships/hyperlink" Target="https://hub.docker.com/" TargetMode="External"/><Relationship Id="rId7" Type="http://schemas.openxmlformats.org/officeDocument/2006/relationships/diagramLayout" Target="../diagrams/layout17.xml"/><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diagramData" Target="../diagrams/data17.xml"/><Relationship Id="rId5" Type="http://schemas.openxmlformats.org/officeDocument/2006/relationships/hyperlink" Target="mcr.microsoft.com/" TargetMode="External"/><Relationship Id="rId10" Type="http://schemas.microsoft.com/office/2007/relationships/diagramDrawing" Target="../diagrams/drawing17.xml"/><Relationship Id="rId4" Type="http://schemas.openxmlformats.org/officeDocument/2006/relationships/hyperlink" Target="https://access.redhat.com/containers" TargetMode="External"/><Relationship Id="rId9" Type="http://schemas.openxmlformats.org/officeDocument/2006/relationships/diagramColors" Target="../diagrams/colors17.xml"/></Relationships>
</file>

<file path=ppt/slides/_rels/slide53.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hyperlink" Target="https://github.com/Microsoft/mssql-docker/tree/master/linux/preview/examples/mssql-agent-fts-ha-tools"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hyperlink" Target="https://docs.docker.com/compose/"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hyperlink" Target="http://openclipart.org/detail/180867/server-by-rdevries-180867" TargetMode="External"/><Relationship Id="rId4" Type="http://schemas.openxmlformats.org/officeDocument/2006/relationships/image" Target="../media/image48.png"/></Relationships>
</file>

<file path=ppt/slides/_rels/slide5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youtu.be/daVUONZqn88?list=PLLasX02E8BPCrIhFrc_ZiINhbRkYMKdPT" TargetMode="External"/><Relationship Id="rId1" Type="http://schemas.openxmlformats.org/officeDocument/2006/relationships/slideLayout" Target="../slideLayouts/slideLayout3.xml"/><Relationship Id="rId5" Type="http://schemas.openxmlformats.org/officeDocument/2006/relationships/hyperlink" Target="https://aka.ms/k8slearning" TargetMode="External"/><Relationship Id="rId4" Type="http://schemas.openxmlformats.org/officeDocument/2006/relationships/hyperlink" Target="https://github.com/vlele/k8onazure" TargetMode="Externa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hyperlink" Target="https://kubernetes.io/docs/setup/pick-right-solution/" TargetMode="External"/><Relationship Id="rId2" Type="http://schemas.openxmlformats.org/officeDocument/2006/relationships/diagramData" Target="../diagrams/data18.xml"/><Relationship Id="rId1" Type="http://schemas.openxmlformats.org/officeDocument/2006/relationships/slideLayout" Target="../slideLayouts/slideLayout3.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8" Type="http://schemas.openxmlformats.org/officeDocument/2006/relationships/image" Target="../media/image50.png"/><Relationship Id="rId13" Type="http://schemas.microsoft.com/office/2007/relationships/hdphoto" Target="../media/hdphoto5.wdp"/><Relationship Id="rId3" Type="http://schemas.openxmlformats.org/officeDocument/2006/relationships/image" Target="../media/image23.png"/><Relationship Id="rId7" Type="http://schemas.microsoft.com/office/2007/relationships/hdphoto" Target="../media/hdphoto2.wdp"/><Relationship Id="rId12" Type="http://schemas.openxmlformats.org/officeDocument/2006/relationships/image" Target="../media/image52.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7.png"/><Relationship Id="rId15" Type="http://schemas.openxmlformats.org/officeDocument/2006/relationships/image" Target="../media/image53.png"/><Relationship Id="rId10" Type="http://schemas.openxmlformats.org/officeDocument/2006/relationships/image" Target="../media/image51.png"/><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6.png"/></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8" Type="http://schemas.openxmlformats.org/officeDocument/2006/relationships/image" Target="../media/image57.jpg"/><Relationship Id="rId13" Type="http://schemas.openxmlformats.org/officeDocument/2006/relationships/hyperlink" Target="https://blog.tfrichet.fr/sap-innojam-paris-2014-porte-ouverte-a-linnovation/" TargetMode="External"/><Relationship Id="rId3" Type="http://schemas.openxmlformats.org/officeDocument/2006/relationships/image" Target="../media/image54.png"/><Relationship Id="rId7" Type="http://schemas.openxmlformats.org/officeDocument/2006/relationships/image" Target="../media/image16.png"/><Relationship Id="rId12"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56.svg"/><Relationship Id="rId11" Type="http://schemas.openxmlformats.org/officeDocument/2006/relationships/hyperlink" Target="http://wi-wiki.de/doku.php?id=bigdata:hadoop" TargetMode="External"/><Relationship Id="rId5" Type="http://schemas.openxmlformats.org/officeDocument/2006/relationships/image" Target="../media/image55.png"/><Relationship Id="rId10" Type="http://schemas.openxmlformats.org/officeDocument/2006/relationships/image" Target="../media/image58.png"/><Relationship Id="rId4" Type="http://schemas.openxmlformats.org/officeDocument/2006/relationships/hyperlink" Target="https://johnpapa.net/angular-cosmosdb-4/" TargetMode="External"/><Relationship Id="rId9" Type="http://schemas.openxmlformats.org/officeDocument/2006/relationships/hyperlink" Target="http://ipkitten.blogspot.com/2012/07/usedsoft-and-principle-of-exhaustion.html" TargetMode="External"/><Relationship Id="rId14" Type="http://schemas.openxmlformats.org/officeDocument/2006/relationships/image" Target="../media/image1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72.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65.png"/><Relationship Id="rId7" Type="http://schemas.openxmlformats.org/officeDocument/2006/relationships/diagramQuickStyle" Target="../diagrams/quickStyle20.xml"/><Relationship Id="rId2" Type="http://schemas.openxmlformats.org/officeDocument/2006/relationships/hyperlink" Target="https://microsoft.github.io/prose/" TargetMode="External"/><Relationship Id="rId1" Type="http://schemas.openxmlformats.org/officeDocument/2006/relationships/slideLayout" Target="../slideLayouts/slideLayout3.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67.png"/><Relationship Id="rId4" Type="http://schemas.openxmlformats.org/officeDocument/2006/relationships/image" Target="../media/image66.png"/><Relationship Id="rId9" Type="http://schemas.microsoft.com/office/2007/relationships/diagramDrawing" Target="../diagrams/drawing2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78.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hyperlink" Target="http://aka.ms/dbcompat" TargetMode="External"/><Relationship Id="rId1" Type="http://schemas.openxmlformats.org/officeDocument/2006/relationships/slideLayout" Target="../slideLayouts/slideLayout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chart" Target="../charts/chart1.xml"/><Relationship Id="rId7" Type="http://schemas.openxmlformats.org/officeDocument/2006/relationships/hyperlink" Target="http://www.tpc.org/3321"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www.tpc.org/3326" TargetMode="External"/><Relationship Id="rId5" Type="http://schemas.openxmlformats.org/officeDocument/2006/relationships/hyperlink" Target="http://www.tpc.org/3331" TargetMode="External"/><Relationship Id="rId10" Type="http://schemas.openxmlformats.org/officeDocument/2006/relationships/image" Target="../media/image22.png"/><Relationship Id="rId4" Type="http://schemas.openxmlformats.org/officeDocument/2006/relationships/hyperlink" Target="http://www.tpc.org/4081" TargetMode="External"/><Relationship Id="rId9" Type="http://schemas.openxmlformats.org/officeDocument/2006/relationships/image" Target="../media/image21.png"/></Relationships>
</file>

<file path=ppt/slides/_rels/slide8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8" Type="http://schemas.openxmlformats.org/officeDocument/2006/relationships/hyperlink" Target="http://aka.ms/sqllinuxlabs" TargetMode="External"/><Relationship Id="rId3" Type="http://schemas.openxmlformats.org/officeDocument/2006/relationships/image" Target="../media/image75.jpg"/><Relationship Id="rId7" Type="http://schemas.openxmlformats.org/officeDocument/2006/relationships/hyperlink" Target="https://aka.ms/sqlworkshops" TargetMode="Externa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hyperlink" Target="http://aka.ms/sqllinuxbook" TargetMode="External"/><Relationship Id="rId11" Type="http://schemas.openxmlformats.org/officeDocument/2006/relationships/hyperlink" Target="https://aka.ms/eapsignup" TargetMode="External"/><Relationship Id="rId5" Type="http://schemas.openxmlformats.org/officeDocument/2006/relationships/hyperlink" Target="http://aka.ms/bobsqldemos" TargetMode="External"/><Relationship Id="rId10" Type="http://schemas.openxmlformats.org/officeDocument/2006/relationships/hyperlink" Target="https://docs.microsoft.com/en-us/sql/sql-server/what-s-new-in-sql-server-ver15?view=sqlallproducts-allversions" TargetMode="External"/><Relationship Id="rId4" Type="http://schemas.openxmlformats.org/officeDocument/2006/relationships/hyperlink" Target="http://aka.ms/bobwardms" TargetMode="External"/><Relationship Id="rId9" Type="http://schemas.openxmlformats.org/officeDocument/2006/relationships/hyperlink" Target="http://aka.ms/ss19" TargetMode="External"/></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4.png"/><Relationship Id="rId12" Type="http://schemas.openxmlformats.org/officeDocument/2006/relationships/image" Target="../media/image27.png"/><Relationship Id="rId2" Type="http://schemas.openxmlformats.org/officeDocument/2006/relationships/image" Target="../media/image20.emf"/><Relationship Id="rId1" Type="http://schemas.openxmlformats.org/officeDocument/2006/relationships/slideLayout" Target="../slideLayouts/slideLayout4.xml"/><Relationship Id="rId6" Type="http://schemas.microsoft.com/office/2007/relationships/hdphoto" Target="../media/hdphoto1.wdp"/><Relationship Id="rId11" Type="http://schemas.openxmlformats.org/officeDocument/2006/relationships/image" Target="../media/image26.png"/><Relationship Id="rId5" Type="http://schemas.openxmlformats.org/officeDocument/2006/relationships/image" Target="../media/image23.png"/><Relationship Id="rId10" Type="http://schemas.openxmlformats.org/officeDocument/2006/relationships/image" Target="../media/image25.png"/><Relationship Id="rId4" Type="http://schemas.openxmlformats.org/officeDocument/2006/relationships/image" Target="../media/image22.pn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Modernize your database with SQL Server 2019</a:t>
            </a:r>
          </a:p>
        </p:txBody>
      </p:sp>
      <p:sp>
        <p:nvSpPr>
          <p:cNvPr id="2" name="TextBox 1">
            <a:extLst>
              <a:ext uri="{FF2B5EF4-FFF2-40B4-BE49-F238E27FC236}">
                <a16:creationId xmlns:a16="http://schemas.microsoft.com/office/drawing/2014/main" id="{AF57CFD1-12DE-4287-8E0D-77F399553290}"/>
              </a:ext>
            </a:extLst>
          </p:cNvPr>
          <p:cNvSpPr txBox="1"/>
          <p:nvPr/>
        </p:nvSpPr>
        <p:spPr>
          <a:xfrm>
            <a:off x="588262" y="4826524"/>
            <a:ext cx="3248518"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3"/>
              </a:rPr>
              <a:t>https://aka.ms/sqlworkshop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4"/>
              </a:rPr>
              <a:t>https://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s://aka.ms/bobsqldemos</a:t>
            </a:r>
            <a:endParaRPr lang="en-US"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E64FF85-A4F0-446F-8EFE-A2BE02881491}"/>
              </a:ext>
            </a:extLst>
          </p:cNvPr>
          <p:cNvSpPr txBox="1"/>
          <p:nvPr/>
        </p:nvSpPr>
        <p:spPr>
          <a:xfrm>
            <a:off x="588262" y="3855432"/>
            <a:ext cx="355002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Bob Ward, Microsoft</a:t>
            </a:r>
          </a:p>
          <a:p>
            <a:pPr algn="l"/>
            <a:r>
              <a:rPr lang="en-US" sz="2000" dirty="0">
                <a:gradFill>
                  <a:gsLst>
                    <a:gs pos="2917">
                      <a:schemeClr val="tx1"/>
                    </a:gs>
                    <a:gs pos="30000">
                      <a:schemeClr val="tx1"/>
                    </a:gs>
                  </a:gsLst>
                  <a:lin ang="5400000" scaled="0"/>
                </a:gradFill>
              </a:rPr>
              <a:t>bobward@microsoft.com</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692D3C3-50C6-4567-9868-DDCAED99D45E}"/>
              </a:ext>
            </a:extLst>
          </p:cNvPr>
          <p:cNvSpPr/>
          <p:nvPr/>
        </p:nvSpPr>
        <p:spPr bwMode="auto">
          <a:xfrm>
            <a:off x="5656943" y="1680028"/>
            <a:ext cx="5949840" cy="3726543"/>
          </a:xfrm>
          <a:prstGeom prst="roundRect">
            <a:avLst>
              <a:gd name="adj" fmla="val 2877"/>
            </a:avLst>
          </a:prstGeom>
          <a:solidFill>
            <a:schemeClr val="tx1"/>
          </a:solidFill>
          <a:ln>
            <a:noFill/>
            <a:headEnd type="none" w="med" len="med"/>
            <a:tailEnd type="none" w="med" len="me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180201"/>
            <a:ext cx="11018520" cy="553998"/>
          </a:xfrm>
        </p:spPr>
        <p:txBody>
          <a:bodyPr/>
          <a:lstStyle/>
          <a:p>
            <a:r>
              <a:rPr lang="en-US" dirty="0"/>
              <a:t>The Azure Data Studio tools experience </a:t>
            </a:r>
          </a:p>
        </p:txBody>
      </p:sp>
      <p:sp>
        <p:nvSpPr>
          <p:cNvPr id="4" name="TextBox 3">
            <a:extLst>
              <a:ext uri="{FF2B5EF4-FFF2-40B4-BE49-F238E27FC236}">
                <a16:creationId xmlns:a16="http://schemas.microsoft.com/office/drawing/2014/main" id="{044C4694-53A5-420E-9710-12BA2370BB34}"/>
              </a:ext>
            </a:extLst>
          </p:cNvPr>
          <p:cNvSpPr txBox="1"/>
          <p:nvPr/>
        </p:nvSpPr>
        <p:spPr>
          <a:xfrm>
            <a:off x="369834" y="1214797"/>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1A1A1A"/>
                </a:solidFill>
                <a:effectLst/>
                <a:uLnTx/>
                <a:uFillTx/>
                <a:latin typeface="Segoe UI"/>
                <a:ea typeface="+mn-ea"/>
                <a:cs typeface="+mn-cs"/>
              </a:rPr>
              <a:t>Azure Data Studio </a:t>
            </a:r>
            <a:r>
              <a:rPr kumimoji="0" lang="en-US" sz="1600" b="0" i="0" u="none" strike="noStrike" kern="1200" cap="none" spc="0" normalizeH="0" baseline="0" noProof="0" dirty="0">
                <a:ln>
                  <a:noFill/>
                </a:ln>
                <a:solidFill>
                  <a:srgbClr val="1A1A1A"/>
                </a:solidFill>
                <a:effectLst/>
                <a:uLnTx/>
                <a:uFillTx/>
                <a:latin typeface="Segoe UI"/>
                <a:ea typeface="+mn-ea"/>
                <a:cs typeface="+mn-cs"/>
              </a:rPr>
              <a:t>is a lightweight, open source, cross-platform graphical management tool and code editor</a:t>
            </a:r>
          </a:p>
        </p:txBody>
      </p:sp>
      <p:pic>
        <p:nvPicPr>
          <p:cNvPr id="7" name="Picture 6">
            <a:extLst>
              <a:ext uri="{FF2B5EF4-FFF2-40B4-BE49-F238E27FC236}">
                <a16:creationId xmlns:a16="http://schemas.microsoft.com/office/drawing/2014/main" id="{7F832545-BE0F-4FFB-A531-53C2670F6F36}"/>
              </a:ext>
            </a:extLst>
          </p:cNvPr>
          <p:cNvPicPr>
            <a:picLocks noChangeAspect="1"/>
          </p:cNvPicPr>
          <p:nvPr/>
        </p:nvPicPr>
        <p:blipFill>
          <a:blip r:embed="rId3"/>
          <a:stretch>
            <a:fillRect/>
          </a:stretch>
        </p:blipFill>
        <p:spPr>
          <a:xfrm>
            <a:off x="5796514" y="1828799"/>
            <a:ext cx="5670698" cy="3429000"/>
          </a:xfrm>
          <a:prstGeom prst="rect">
            <a:avLst/>
          </a:prstGeom>
        </p:spPr>
      </p:pic>
      <p:sp>
        <p:nvSpPr>
          <p:cNvPr id="6" name="Explosion: 8 Points 5">
            <a:extLst>
              <a:ext uri="{FF2B5EF4-FFF2-40B4-BE49-F238E27FC236}">
                <a16:creationId xmlns:a16="http://schemas.microsoft.com/office/drawing/2014/main" id="{A23D6328-E77C-45FB-A4D9-078BEA2F5558}"/>
              </a:ext>
            </a:extLst>
          </p:cNvPr>
          <p:cNvSpPr/>
          <p:nvPr/>
        </p:nvSpPr>
        <p:spPr bwMode="auto">
          <a:xfrm>
            <a:off x="246773"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tatic Data Masking</a:t>
            </a:r>
          </a:p>
        </p:txBody>
      </p:sp>
      <p:sp>
        <p:nvSpPr>
          <p:cNvPr id="8" name="Explosion: 8 Points 7">
            <a:extLst>
              <a:ext uri="{FF2B5EF4-FFF2-40B4-BE49-F238E27FC236}">
                <a16:creationId xmlns:a16="http://schemas.microsoft.com/office/drawing/2014/main" id="{C626E821-554F-41E9-859E-8E058436B065}"/>
              </a:ext>
            </a:extLst>
          </p:cNvPr>
          <p:cNvSpPr/>
          <p:nvPr/>
        </p:nvSpPr>
        <p:spPr bwMode="auto">
          <a:xfrm>
            <a:off x="2699517"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Query Tuning Assistant</a:t>
            </a:r>
          </a:p>
        </p:txBody>
      </p:sp>
      <p:sp>
        <p:nvSpPr>
          <p:cNvPr id="9" name="TextBox 8">
            <a:extLst>
              <a:ext uri="{FF2B5EF4-FFF2-40B4-BE49-F238E27FC236}">
                <a16:creationId xmlns:a16="http://schemas.microsoft.com/office/drawing/2014/main" id="{3E16623D-57C3-4E04-B7E9-DF9C5F7679CE}"/>
              </a:ext>
            </a:extLst>
          </p:cNvPr>
          <p:cNvSpPr txBox="1"/>
          <p:nvPr/>
        </p:nvSpPr>
        <p:spPr>
          <a:xfrm>
            <a:off x="369834" y="4483066"/>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se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anagement Studio 18.0 </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eview </a:t>
            </a:r>
            <a:r>
              <a:rPr kumimoji="0" lang="en-US" sz="1600" b="0" i="0" u="none" strike="noStrike" kern="1200" cap="none" spc="0" normalizeH="0" baseline="0" noProof="0" dirty="0">
                <a:ln>
                  <a:noFill/>
                </a:ln>
                <a:solidFill>
                  <a:srgbClr val="1A1A1A"/>
                </a:solidFill>
                <a:effectLst/>
                <a:uLnTx/>
                <a:uFillTx/>
                <a:latin typeface="Segoe UI"/>
                <a:ea typeface="+mn-ea"/>
                <a:cs typeface="+mn-cs"/>
              </a:rPr>
              <a:t>to access, configure, manage, and administer all SQL Server components</a:t>
            </a:r>
          </a:p>
        </p:txBody>
      </p:sp>
      <p:sp>
        <p:nvSpPr>
          <p:cNvPr id="10" name="TextBox 9">
            <a:extLst>
              <a:ext uri="{FF2B5EF4-FFF2-40B4-BE49-F238E27FC236}">
                <a16:creationId xmlns:a16="http://schemas.microsoft.com/office/drawing/2014/main" id="{D6AFEFB3-FF87-4947-B8F3-658EA40A4616}"/>
              </a:ext>
            </a:extLst>
          </p:cNvPr>
          <p:cNvSpPr txBox="1"/>
          <p:nvPr/>
        </p:nvSpPr>
        <p:spPr>
          <a:xfrm>
            <a:off x="369834" y="2079490"/>
            <a:ext cx="4659366" cy="2369880"/>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Enable a modern </a:t>
            </a:r>
            <a:r>
              <a:rPr kumimoji="0" lang="en-US" sz="1600" b="1" i="1" u="none" strike="noStrike" kern="1200" cap="none" spc="0" normalizeH="0" baseline="0" noProof="0" dirty="0">
                <a:ln>
                  <a:noFill/>
                </a:ln>
                <a:solidFill>
                  <a:srgbClr val="1A1A1A"/>
                </a:solidFill>
                <a:effectLst/>
                <a:uLnTx/>
                <a:uFillTx/>
                <a:latin typeface="Segoe UI"/>
                <a:ea typeface="+mn-ea"/>
                <a:cs typeface="+mn-cs"/>
              </a:rPr>
              <a:t>DevOps</a:t>
            </a:r>
            <a:r>
              <a:rPr kumimoji="0" lang="en-US" sz="1600" b="0" i="0" u="none" strike="noStrike" kern="1200" cap="none" spc="0" normalizeH="0" baseline="0" noProof="0" dirty="0">
                <a:ln>
                  <a:noFill/>
                </a:ln>
                <a:solidFill>
                  <a:srgbClr val="1A1A1A"/>
                </a:solidFill>
                <a:effectLst/>
                <a:uLnTx/>
                <a:uFillTx/>
                <a:latin typeface="Segoe UI"/>
                <a:ea typeface="+mn-ea"/>
                <a:cs typeface="+mn-cs"/>
              </a:rPr>
              <a:t> experience for database developers and DBAs on their platform of choice​</a:t>
            </a:r>
          </a:p>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Simplify development, configuration, management, monitoring and troubleshooting for Data in private and public clouds.</a:t>
            </a:r>
          </a:p>
          <a:p>
            <a:pPr marL="0" marR="0" lvl="0" indent="0" algn="l" defTabSz="914367" rtl="0" eaLnBrk="1" fontAlgn="base" latinLnBrk="0" hangingPunct="1">
              <a:lnSpc>
                <a:spcPct val="100000"/>
              </a:lnSpc>
              <a:spcBef>
                <a:spcPts val="0"/>
              </a:spcBef>
              <a:spcAft>
                <a:spcPts val="1200"/>
              </a:spcAft>
              <a:buClrTx/>
              <a:buSzTx/>
              <a:buFontTx/>
              <a:buNone/>
              <a:tabLst/>
              <a:defRPr/>
            </a:pPr>
            <a:r>
              <a:rPr lang="en-US" sz="1600" dirty="0">
                <a:solidFill>
                  <a:srgbClr val="1A1A1A"/>
                </a:solidFill>
                <a:latin typeface="Segoe UI"/>
              </a:rPr>
              <a:t>Experience </a:t>
            </a:r>
            <a:r>
              <a:rPr lang="en-US" sz="1600" b="1" i="1" dirty="0">
                <a:solidFill>
                  <a:srgbClr val="1A1A1A"/>
                </a:solidFill>
                <a:latin typeface="Segoe UI"/>
              </a:rPr>
              <a:t>Notebooks</a:t>
            </a:r>
            <a:r>
              <a:rPr lang="en-US" sz="1600" dirty="0">
                <a:solidFill>
                  <a:srgbClr val="1A1A1A"/>
                </a:solidFill>
                <a:latin typeface="Segoe UI"/>
              </a:rPr>
              <a:t> as a new method for running queries, scripts, and jobs.</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1600639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0.48803 -0.04537 " pathEditMode="relative" rAng="0" ptsTypes="AA">
                                      <p:cBhvr>
                                        <p:cTn id="6" dur="2000" fill="hold"/>
                                        <p:tgtEl>
                                          <p:spTgt spid="4"/>
                                        </p:tgtEl>
                                        <p:attrNameLst>
                                          <p:attrName>ppt_x</p:attrName>
                                          <p:attrName>ppt_y</p:attrName>
                                        </p:attrNameLst>
                                      </p:cBhvr>
                                      <p:rCtr x="24401" y="-2269"/>
                                    </p:animMotion>
                                  </p:childTnLst>
                                </p:cTn>
                              </p:par>
                              <p:par>
                                <p:cTn id="7" presetID="42" presetClass="path" presetSubtype="0" accel="50000" decel="50000" fill="hold" grpId="0" nodeType="withEffect">
                                  <p:stCondLst>
                                    <p:cond delay="0"/>
                                  </p:stCondLst>
                                  <p:childTnLst>
                                    <p:animMotion origin="layout" path="M -4.16667E-6 -3.7037E-7 L 0.48803 0.14491 " pathEditMode="relative" rAng="0" ptsTypes="AA">
                                      <p:cBhvr>
                                        <p:cTn id="8" dur="2000" fill="hold"/>
                                        <p:tgtEl>
                                          <p:spTgt spid="9"/>
                                        </p:tgtEl>
                                        <p:attrNameLst>
                                          <p:attrName>ppt_x</p:attrName>
                                          <p:attrName>ppt_y</p:attrName>
                                        </p:attrNameLst>
                                      </p:cBhvr>
                                      <p:rCtr x="24401" y="7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2: Intelligent Performance</a:t>
            </a:r>
          </a:p>
        </p:txBody>
      </p:sp>
    </p:spTree>
    <p:extLst>
      <p:ext uri="{BB962C8B-B14F-4D97-AF65-F5344CB8AC3E}">
        <p14:creationId xmlns:p14="http://schemas.microsoft.com/office/powerpoint/2010/main" val="11262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241" y="289511"/>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defTabSz="914225">
              <a:lnSpc>
                <a:spcPct val="100000"/>
              </a:lnSpc>
              <a:spcBef>
                <a:spcPts val="0"/>
              </a:spcBef>
              <a:defRPr/>
            </a:pPr>
            <a:r>
              <a:rPr lang="en-US" cap="none" spc="-50" dirty="0">
                <a:solidFill>
                  <a:schemeClr val="tx1"/>
                </a:solidFill>
                <a:latin typeface="+mj-lt"/>
                <a:cs typeface="Segoe UI" pitchFamily="34" charset="0"/>
              </a:rPr>
              <a:t>Automatically fix problems without tuning </a:t>
            </a:r>
          </a:p>
          <a:p>
            <a:pPr defTabSz="914225">
              <a:lnSpc>
                <a:spcPct val="100000"/>
              </a:lnSpc>
              <a:spcBef>
                <a:spcPts val="0"/>
              </a:spcBef>
              <a:defRPr/>
            </a:pPr>
            <a:r>
              <a:rPr lang="en-US" sz="1400" b="1" kern="0" cap="none" spc="100" dirty="0">
                <a:ln>
                  <a:noFill/>
                </a:ln>
                <a:solidFill>
                  <a:schemeClr val="accent1"/>
                </a:solidFill>
                <a:latin typeface="Segoe UI Semibold" charset="0"/>
                <a:cs typeface="Segoe UI Semibold" charset="0"/>
              </a:rPr>
              <a:t>Better performance with Automatic Plan Correction</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674015" cy="162095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solidFill>
                  <a:schemeClr val="tx1"/>
                </a:solidFill>
              </a:rPr>
              <a:t>Continuous performance plan monitoring and analysis</a:t>
            </a:r>
          </a:p>
          <a:p>
            <a:pPr lvl="0"/>
            <a:r>
              <a:rPr lang="en-US" dirty="0">
                <a:solidFill>
                  <a:schemeClr val="tx1"/>
                </a:solidFill>
              </a:rPr>
              <a:t>Detect problematic plans</a:t>
            </a:r>
          </a:p>
          <a:p>
            <a:pPr lvl="0"/>
            <a:r>
              <a:rPr lang="en-US" dirty="0">
                <a:solidFill>
                  <a:schemeClr val="tx1"/>
                </a:solidFill>
              </a:rPr>
              <a:t>Automatically fix performance problems caused by SQL plan choice regressions</a:t>
            </a:r>
          </a:p>
        </p:txBody>
      </p:sp>
      <p:sp>
        <p:nvSpPr>
          <p:cNvPr id="88" name="Rectangle 8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89" name="Rectangle 88">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0" name="Rectangle 89">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1" name="Rectangle 90">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2" name="Rectangle 91">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3" name="Rectangle 92">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4" name="Rectangle 93">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5" name="Rectangle 94">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6" name="Rectangle 95">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7" name="Rectangle 96">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8" name="Rectangle 97">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9" name="Rectangle 98">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1" name="Rectangle 100">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3" name="Rectangle 102">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4" name="Rectangle 103">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12" name="Straight Arrow Connector 111">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15" name="Rectangle 114">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16" name="Rectangle 115">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7" name="Rectangle 116">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18" name="Rectangle 117">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9" name="Rectangle 118">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defRPr/>
            </a:pPr>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20" name="Freeform 119"/>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1" name="Freeform 120"/>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2" name="Freeform 121"/>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Tree>
    <p:extLst>
      <p:ext uri="{BB962C8B-B14F-4D97-AF65-F5344CB8AC3E}">
        <p14:creationId xmlns:p14="http://schemas.microsoft.com/office/powerpoint/2010/main" val="4924956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Automatic Tuning</a:t>
            </a:r>
          </a:p>
        </p:txBody>
      </p:sp>
    </p:spTree>
    <p:extLst>
      <p:ext uri="{BB962C8B-B14F-4D97-AF65-F5344CB8AC3E}">
        <p14:creationId xmlns:p14="http://schemas.microsoft.com/office/powerpoint/2010/main" val="3580746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18FE6-848F-4911-835B-B785770CDD03}"/>
              </a:ext>
            </a:extLst>
          </p:cNvPr>
          <p:cNvSpPr/>
          <p:nvPr/>
        </p:nvSpPr>
        <p:spPr>
          <a:xfrm>
            <a:off x="4924300" y="272880"/>
            <a:ext cx="7004089" cy="64574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56" name="Rectangle 55" hidden="1">
            <a:extLst>
              <a:ext uri="{FF2B5EF4-FFF2-40B4-BE49-F238E27FC236}">
                <a16:creationId xmlns:a16="http://schemas.microsoft.com/office/drawing/2014/main" id="{19CC742D-016B-475E-96FF-EBBCA5A0633D}"/>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3899051" cy="1510643"/>
          </a:xfrm>
        </p:spPr>
        <p:txBody>
          <a:bodyPr/>
          <a:lstStyle/>
          <a:p>
            <a:r>
              <a:rPr lang="en-US" dirty="0"/>
              <a:t>Intelligent Performance with SQL Server</a:t>
            </a:r>
            <a:br>
              <a:rPr lang="en-US" dirty="0"/>
            </a:br>
            <a:r>
              <a:rPr lang="en-US" sz="2400" dirty="0">
                <a:solidFill>
                  <a:schemeClr val="accent1"/>
                </a:solidFill>
              </a:rPr>
              <a:t>The intelligent database</a:t>
            </a:r>
            <a:r>
              <a:rPr lang="en-US" dirty="0">
                <a:solidFill>
                  <a:schemeClr val="accent1"/>
                </a:solidFill>
              </a:rPr>
              <a:t> </a:t>
            </a:r>
          </a:p>
        </p:txBody>
      </p:sp>
      <p:sp>
        <p:nvSpPr>
          <p:cNvPr id="6" name="Text Placeholder 5"/>
          <p:cNvSpPr>
            <a:spLocks noGrp="1"/>
          </p:cNvSpPr>
          <p:nvPr>
            <p:ph type="body" sz="quarter" idx="10"/>
          </p:nvPr>
        </p:nvSpPr>
        <p:spPr>
          <a:xfrm>
            <a:off x="451806" y="2949879"/>
            <a:ext cx="4246880" cy="3282950"/>
          </a:xfrm>
        </p:spPr>
        <p:txBody>
          <a:bodyPr/>
          <a:lstStyle/>
          <a:p>
            <a:r>
              <a:rPr lang="en-US" sz="2000" dirty="0"/>
              <a:t>Intelligent Query Processing</a:t>
            </a:r>
          </a:p>
          <a:p>
            <a:r>
              <a:rPr lang="en-US" sz="2000" dirty="0"/>
              <a:t>Gain performance insights anytime and anywhere with Lightweight Query Profiling</a:t>
            </a:r>
          </a:p>
          <a:p>
            <a:r>
              <a:rPr lang="en-US" dirty="0"/>
              <a:t>Accelerating I/O performance with Persistent Memory</a:t>
            </a:r>
          </a:p>
          <a:p>
            <a:r>
              <a:rPr lang="en-US" dirty="0"/>
              <a:t>Hybrid Buffer Pool</a:t>
            </a:r>
          </a:p>
          <a:p>
            <a:r>
              <a:rPr lang="en-US" dirty="0"/>
              <a:t>Tempdb: It Just Runs Faster (Planned)</a:t>
            </a:r>
          </a:p>
        </p:txBody>
      </p:sp>
      <p:sp>
        <p:nvSpPr>
          <p:cNvPr id="2" name="TextBox 1">
            <a:extLst>
              <a:ext uri="{FF2B5EF4-FFF2-40B4-BE49-F238E27FC236}">
                <a16:creationId xmlns:a16="http://schemas.microsoft.com/office/drawing/2014/main" id="{03CD28AC-ABB0-459E-B524-B9DD391F732F}"/>
              </a:ext>
            </a:extLst>
          </p:cNvPr>
          <p:cNvSpPr txBox="1"/>
          <p:nvPr/>
        </p:nvSpPr>
        <p:spPr>
          <a:xfrm>
            <a:off x="5760096" y="802122"/>
            <a:ext cx="5507737" cy="276999"/>
          </a:xfrm>
          <a:prstGeom prst="rect">
            <a:avLst/>
          </a:prstGeom>
          <a:noFill/>
        </p:spPr>
        <p:txBody>
          <a:bodyPr wrap="square" lIns="0" tIns="0" rIns="0" bIns="0" rtlCol="0">
            <a:spAutoFit/>
          </a:bodyPr>
          <a:lstStyle/>
          <a:p>
            <a:pPr algn="ctr"/>
            <a:r>
              <a:rPr lang="en-US" sz="1800" b="1" dirty="0">
                <a:ln w="3175">
                  <a:noFill/>
                </a:ln>
                <a:solidFill>
                  <a:schemeClr val="accent1"/>
                </a:solidFill>
                <a:latin typeface="+mj-lt"/>
                <a:cs typeface="Segoe UI" pitchFamily="34" charset="0"/>
              </a:rPr>
              <a:t>The Intelligent Query Processing feature family </a:t>
            </a:r>
          </a:p>
        </p:txBody>
      </p:sp>
      <p:sp useBgFill="1">
        <p:nvSpPr>
          <p:cNvPr id="21" name="Rectangle 20">
            <a:extLst>
              <a:ext uri="{FF2B5EF4-FFF2-40B4-BE49-F238E27FC236}">
                <a16:creationId xmlns:a16="http://schemas.microsoft.com/office/drawing/2014/main" id="{B2924516-36AF-4D67-89E8-D65C74AD5A19}"/>
              </a:ext>
            </a:extLst>
          </p:cNvPr>
          <p:cNvSpPr/>
          <p:nvPr/>
        </p:nvSpPr>
        <p:spPr>
          <a:xfrm>
            <a:off x="7451729" y="1596837"/>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Intelligent QP</a:t>
            </a:r>
          </a:p>
        </p:txBody>
      </p:sp>
      <p:sp useBgFill="1">
        <p:nvSpPr>
          <p:cNvPr id="24" name="Rectangle 23">
            <a:extLst>
              <a:ext uri="{FF2B5EF4-FFF2-40B4-BE49-F238E27FC236}">
                <a16:creationId xmlns:a16="http://schemas.microsoft.com/office/drawing/2014/main" id="{CF405002-1DCF-4B08-BF19-9ED07F9282C2}"/>
              </a:ext>
            </a:extLst>
          </p:cNvPr>
          <p:cNvSpPr/>
          <p:nvPr/>
        </p:nvSpPr>
        <p:spPr>
          <a:xfrm>
            <a:off x="5276393" y="2422176"/>
            <a:ext cx="1099818"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QP</a:t>
            </a:r>
          </a:p>
        </p:txBody>
      </p:sp>
      <p:sp useBgFill="1">
        <p:nvSpPr>
          <p:cNvPr id="27" name="Rectangle 26">
            <a:extLst>
              <a:ext uri="{FF2B5EF4-FFF2-40B4-BE49-F238E27FC236}">
                <a16:creationId xmlns:a16="http://schemas.microsoft.com/office/drawing/2014/main" id="{0DEFA020-3E80-4522-AE30-FD3D03CB296E}"/>
              </a:ext>
            </a:extLst>
          </p:cNvPr>
          <p:cNvSpPr/>
          <p:nvPr/>
        </p:nvSpPr>
        <p:spPr>
          <a:xfrm>
            <a:off x="5276392"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Joins</a:t>
            </a:r>
          </a:p>
        </p:txBody>
      </p:sp>
      <p:sp useBgFill="1">
        <p:nvSpPr>
          <p:cNvPr id="30" name="Rectangle 29">
            <a:extLst>
              <a:ext uri="{FF2B5EF4-FFF2-40B4-BE49-F238E27FC236}">
                <a16:creationId xmlns:a16="http://schemas.microsoft.com/office/drawing/2014/main" id="{A62500B7-E168-482D-965A-A56B08B0D1A6}"/>
              </a:ext>
            </a:extLst>
          </p:cNvPr>
          <p:cNvSpPr/>
          <p:nvPr/>
        </p:nvSpPr>
        <p:spPr>
          <a:xfrm>
            <a:off x="5273854" y="4066459"/>
            <a:ext cx="110489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33" name="Rectangle 32">
            <a:extLst>
              <a:ext uri="{FF2B5EF4-FFF2-40B4-BE49-F238E27FC236}">
                <a16:creationId xmlns:a16="http://schemas.microsoft.com/office/drawing/2014/main" id="{DCE6503C-9448-4D60-9FF6-CA43233BF57C}"/>
              </a:ext>
            </a:extLst>
          </p:cNvPr>
          <p:cNvSpPr/>
          <p:nvPr/>
        </p:nvSpPr>
        <p:spPr>
          <a:xfrm>
            <a:off x="6477401"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Interleaved Execution</a:t>
            </a:r>
          </a:p>
        </p:txBody>
      </p:sp>
      <p:sp useBgFill="1">
        <p:nvSpPr>
          <p:cNvPr id="36" name="Rectangle 35">
            <a:extLst>
              <a:ext uri="{FF2B5EF4-FFF2-40B4-BE49-F238E27FC236}">
                <a16:creationId xmlns:a16="http://schemas.microsoft.com/office/drawing/2014/main" id="{08F77E2F-AC0C-4639-987E-A64E0DE48B74}"/>
              </a:ext>
            </a:extLst>
          </p:cNvPr>
          <p:cNvSpPr/>
          <p:nvPr/>
        </p:nvSpPr>
        <p:spPr>
          <a:xfrm>
            <a:off x="7679488"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Memory Grant Feedback</a:t>
            </a:r>
          </a:p>
        </p:txBody>
      </p:sp>
      <p:sp useBgFill="1">
        <p:nvSpPr>
          <p:cNvPr id="39" name="Rectangle 38">
            <a:extLst>
              <a:ext uri="{FF2B5EF4-FFF2-40B4-BE49-F238E27FC236}">
                <a16:creationId xmlns:a16="http://schemas.microsoft.com/office/drawing/2014/main" id="{660B5F05-B46B-4644-8723-4D7FBECAE158}"/>
              </a:ext>
            </a:extLst>
          </p:cNvPr>
          <p:cNvSpPr/>
          <p:nvPr/>
        </p:nvSpPr>
        <p:spPr>
          <a:xfrm>
            <a:off x="8310982"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Row Mode</a:t>
            </a:r>
          </a:p>
        </p:txBody>
      </p:sp>
      <p:sp useBgFill="1">
        <p:nvSpPr>
          <p:cNvPr id="42" name="Rectangle 41">
            <a:extLst>
              <a:ext uri="{FF2B5EF4-FFF2-40B4-BE49-F238E27FC236}">
                <a16:creationId xmlns:a16="http://schemas.microsoft.com/office/drawing/2014/main" id="{7B07E8EC-AD02-4FBC-B1E7-047330C39846}"/>
              </a:ext>
            </a:extLst>
          </p:cNvPr>
          <p:cNvSpPr/>
          <p:nvPr/>
        </p:nvSpPr>
        <p:spPr>
          <a:xfrm>
            <a:off x="7232024"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45" name="Rectangle 44">
            <a:extLst>
              <a:ext uri="{FF2B5EF4-FFF2-40B4-BE49-F238E27FC236}">
                <a16:creationId xmlns:a16="http://schemas.microsoft.com/office/drawing/2014/main" id="{6308A7D0-E484-48B1-83F6-9272A70ECC3F}"/>
              </a:ext>
            </a:extLst>
          </p:cNvPr>
          <p:cNvSpPr/>
          <p:nvPr/>
        </p:nvSpPr>
        <p:spPr>
          <a:xfrm>
            <a:off x="6489596" y="2422176"/>
            <a:ext cx="1467751"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Table Variable</a:t>
            </a:r>
            <a:br>
              <a:rPr lang="en-US" sz="1000" b="1" kern="1200" dirty="0"/>
            </a:br>
            <a:r>
              <a:rPr lang="en-US" sz="1000" b="1" kern="1200" dirty="0"/>
              <a:t>Deferred Compilation</a:t>
            </a:r>
          </a:p>
        </p:txBody>
      </p:sp>
      <p:sp useBgFill="1">
        <p:nvSpPr>
          <p:cNvPr id="48" name="Rectangle 47">
            <a:extLst>
              <a:ext uri="{FF2B5EF4-FFF2-40B4-BE49-F238E27FC236}">
                <a16:creationId xmlns:a16="http://schemas.microsoft.com/office/drawing/2014/main" id="{2D041344-93F7-4AD8-9BD2-9C5D369628ED}"/>
              </a:ext>
            </a:extLst>
          </p:cNvPr>
          <p:cNvSpPr/>
          <p:nvPr/>
        </p:nvSpPr>
        <p:spPr>
          <a:xfrm>
            <a:off x="9343514"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QP</a:t>
            </a:r>
          </a:p>
        </p:txBody>
      </p:sp>
      <p:sp useBgFill="1">
        <p:nvSpPr>
          <p:cNvPr id="51" name="Rectangle 50">
            <a:extLst>
              <a:ext uri="{FF2B5EF4-FFF2-40B4-BE49-F238E27FC236}">
                <a16:creationId xmlns:a16="http://schemas.microsoft.com/office/drawing/2014/main" id="{B5DAC383-926C-4986-8EEB-3E51E3E4E792}"/>
              </a:ext>
            </a:extLst>
          </p:cNvPr>
          <p:cNvSpPr/>
          <p:nvPr/>
        </p:nvSpPr>
        <p:spPr>
          <a:xfrm>
            <a:off x="9343514" y="3243251"/>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Count Distinct</a:t>
            </a:r>
          </a:p>
        </p:txBody>
      </p:sp>
      <p:sp useBgFill="1">
        <p:nvSpPr>
          <p:cNvPr id="53" name="Rectangle 52">
            <a:extLst>
              <a:ext uri="{FF2B5EF4-FFF2-40B4-BE49-F238E27FC236}">
                <a16:creationId xmlns:a16="http://schemas.microsoft.com/office/drawing/2014/main" id="{547D5832-084B-49A9-9A36-D0E5754921CF}"/>
              </a:ext>
            </a:extLst>
          </p:cNvPr>
          <p:cNvSpPr/>
          <p:nvPr/>
        </p:nvSpPr>
        <p:spPr>
          <a:xfrm>
            <a:off x="8070732"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Batch Mode for Row Store</a:t>
            </a:r>
          </a:p>
        </p:txBody>
      </p:sp>
      <p:cxnSp>
        <p:nvCxnSpPr>
          <p:cNvPr id="58" name="Straight Connector 57">
            <a:extLst>
              <a:ext uri="{FF2B5EF4-FFF2-40B4-BE49-F238E27FC236}">
                <a16:creationId xmlns:a16="http://schemas.microsoft.com/office/drawing/2014/main" id="{98970BEF-679B-4F61-AD70-315ED8E60EB4}"/>
              </a:ext>
            </a:extLst>
          </p:cNvPr>
          <p:cNvCxnSpPr>
            <a:cxnSpLocks/>
            <a:stCxn id="48" idx="2"/>
            <a:endCxn id="51" idx="0"/>
          </p:cNvCxnSpPr>
          <p:nvPr/>
        </p:nvCxnSpPr>
        <p:spPr>
          <a:xfrm>
            <a:off x="9923213" y="2793183"/>
            <a:ext cx="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C502415-1610-40BD-8705-26631DA8EA26}"/>
              </a:ext>
            </a:extLst>
          </p:cNvPr>
          <p:cNvSpPr txBox="1"/>
          <p:nvPr/>
        </p:nvSpPr>
        <p:spPr>
          <a:xfrm>
            <a:off x="5394458" y="6431232"/>
            <a:ext cx="5911716" cy="153888"/>
          </a:xfrm>
          <a:prstGeom prst="rect">
            <a:avLst/>
          </a:prstGeom>
          <a:noFill/>
        </p:spPr>
        <p:txBody>
          <a:bodyPr wrap="square" lIns="0" tIns="0" rIns="0" bIns="0" rtlCol="0">
            <a:spAutoFit/>
          </a:bodyPr>
          <a:lstStyle/>
          <a:p>
            <a:pPr algn="l"/>
            <a:r>
              <a:rPr lang="en-US" sz="1000" dirty="0">
                <a:gradFill>
                  <a:gsLst>
                    <a:gs pos="2917">
                      <a:schemeClr val="tx1"/>
                    </a:gs>
                    <a:gs pos="30000">
                      <a:schemeClr val="tx1"/>
                    </a:gs>
                  </a:gsLst>
                  <a:lin ang="5400000" scaled="0"/>
                </a:gradFill>
              </a:rPr>
              <a:t>Bold indicates new and improved features in SQL Server 2019</a:t>
            </a:r>
          </a:p>
        </p:txBody>
      </p:sp>
      <p:cxnSp>
        <p:nvCxnSpPr>
          <p:cNvPr id="57" name="Connector: Elbow 56">
            <a:extLst>
              <a:ext uri="{FF2B5EF4-FFF2-40B4-BE49-F238E27FC236}">
                <a16:creationId xmlns:a16="http://schemas.microsoft.com/office/drawing/2014/main" id="{5B0C2673-2380-4B3B-9879-69DAA50C118C}"/>
              </a:ext>
            </a:extLst>
          </p:cNvPr>
          <p:cNvCxnSpPr>
            <a:cxnSpLocks/>
            <a:stCxn id="24" idx="2"/>
            <a:endCxn id="33" idx="0"/>
          </p:cNvCxnSpPr>
          <p:nvPr/>
        </p:nvCxnSpPr>
        <p:spPr>
          <a:xfrm rot="16200000" flipH="1">
            <a:off x="6201137" y="2418347"/>
            <a:ext cx="450068" cy="1199739"/>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4560B9B-846E-4D84-9C9A-54136C892A5A}"/>
              </a:ext>
            </a:extLst>
          </p:cNvPr>
          <p:cNvCxnSpPr>
            <a:cxnSpLocks/>
            <a:stCxn id="24" idx="2"/>
            <a:endCxn id="36" idx="0"/>
          </p:cNvCxnSpPr>
          <p:nvPr/>
        </p:nvCxnSpPr>
        <p:spPr>
          <a:xfrm rot="16200000" flipH="1">
            <a:off x="6802181" y="1817304"/>
            <a:ext cx="450068" cy="24018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111EF12-8983-43F1-97A7-79C47A6589FB}"/>
              </a:ext>
            </a:extLst>
          </p:cNvPr>
          <p:cNvCxnSpPr>
            <a:cxnSpLocks/>
            <a:stCxn id="24" idx="2"/>
            <a:endCxn id="27" idx="0"/>
          </p:cNvCxnSpPr>
          <p:nvPr/>
        </p:nvCxnSpPr>
        <p:spPr>
          <a:xfrm flipH="1">
            <a:off x="5825032" y="2793183"/>
            <a:ext cx="127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1D4C4D9-089C-4744-86D3-BD7151920201}"/>
              </a:ext>
            </a:extLst>
          </p:cNvPr>
          <p:cNvCxnSpPr>
            <a:stCxn id="36" idx="2"/>
            <a:endCxn id="42" idx="0"/>
          </p:cNvCxnSpPr>
          <p:nvPr/>
        </p:nvCxnSpPr>
        <p:spPr>
          <a:xfrm rot="5400000">
            <a:off x="7745922" y="3584252"/>
            <a:ext cx="452201" cy="512212"/>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5EE9360-3715-4816-A827-99611212AF6D}"/>
              </a:ext>
            </a:extLst>
          </p:cNvPr>
          <p:cNvCxnSpPr>
            <a:stCxn id="39" idx="0"/>
            <a:endCxn id="36" idx="2"/>
          </p:cNvCxnSpPr>
          <p:nvPr/>
        </p:nvCxnSpPr>
        <p:spPr>
          <a:xfrm rot="16200000" flipV="1">
            <a:off x="8285401" y="3556986"/>
            <a:ext cx="452201" cy="56674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CADFC45-721E-428C-8995-5189CD367FCA}"/>
              </a:ext>
            </a:extLst>
          </p:cNvPr>
          <p:cNvCxnSpPr>
            <a:cxnSpLocks/>
            <a:stCxn id="27" idx="2"/>
            <a:endCxn id="30" idx="0"/>
          </p:cNvCxnSpPr>
          <p:nvPr/>
        </p:nvCxnSpPr>
        <p:spPr>
          <a:xfrm>
            <a:off x="5825032" y="3614258"/>
            <a:ext cx="1269" cy="45220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75FADEBA-E0F6-4B35-87EB-9AE7E17B8271}"/>
              </a:ext>
            </a:extLst>
          </p:cNvPr>
          <p:cNvCxnSpPr>
            <a:cxnSpLocks/>
            <a:stCxn id="24" idx="0"/>
            <a:endCxn id="21" idx="2"/>
          </p:cNvCxnSpPr>
          <p:nvPr/>
        </p:nvCxnSpPr>
        <p:spPr>
          <a:xfrm rot="5400000" flipH="1" flipV="1">
            <a:off x="6701699" y="1092447"/>
            <a:ext cx="454332" cy="22051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53FE1575-912F-4577-8949-9A7483B24174}"/>
              </a:ext>
            </a:extLst>
          </p:cNvPr>
          <p:cNvCxnSpPr>
            <a:stCxn id="45" idx="0"/>
            <a:endCxn id="21" idx="2"/>
          </p:cNvCxnSpPr>
          <p:nvPr/>
        </p:nvCxnSpPr>
        <p:spPr>
          <a:xfrm rot="5400000" flipH="1" flipV="1">
            <a:off x="7400284" y="1791032"/>
            <a:ext cx="454332" cy="80795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A0E597E-3386-4346-AAE8-DD704C74B2D3}"/>
              </a:ext>
            </a:extLst>
          </p:cNvPr>
          <p:cNvCxnSpPr>
            <a:stCxn id="53" idx="0"/>
            <a:endCxn id="21" idx="2"/>
          </p:cNvCxnSpPr>
          <p:nvPr/>
        </p:nvCxnSpPr>
        <p:spPr>
          <a:xfrm rot="16200000" flipV="1">
            <a:off x="8113764" y="1885508"/>
            <a:ext cx="454332" cy="619003"/>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BBD9302B-24F0-4491-A026-3A438B1354EA}"/>
              </a:ext>
            </a:extLst>
          </p:cNvPr>
          <p:cNvCxnSpPr>
            <a:stCxn id="48" idx="0"/>
            <a:endCxn id="21" idx="2"/>
          </p:cNvCxnSpPr>
          <p:nvPr/>
        </p:nvCxnSpPr>
        <p:spPr>
          <a:xfrm rot="16200000" flipV="1">
            <a:off x="8750155" y="1249117"/>
            <a:ext cx="454332" cy="1891785"/>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32" name="Rectangle 31">
            <a:extLst>
              <a:ext uri="{FF2B5EF4-FFF2-40B4-BE49-F238E27FC236}">
                <a16:creationId xmlns:a16="http://schemas.microsoft.com/office/drawing/2014/main" id="{50361F8B-B78F-4DE0-90BF-7461F4B6E140}"/>
              </a:ext>
            </a:extLst>
          </p:cNvPr>
          <p:cNvSpPr/>
          <p:nvPr/>
        </p:nvSpPr>
        <p:spPr>
          <a:xfrm>
            <a:off x="10624202" y="2422175"/>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Scalar UDF</a:t>
            </a:r>
          </a:p>
          <a:p>
            <a:pPr marL="0" lvl="0" indent="0" algn="ctr" defTabSz="444500">
              <a:spcBef>
                <a:spcPct val="0"/>
              </a:spcBef>
              <a:spcAft>
                <a:spcPct val="35000"/>
              </a:spcAft>
              <a:buNone/>
            </a:pPr>
            <a:r>
              <a:rPr lang="en-US" sz="1000" b="1" kern="1200" dirty="0"/>
              <a:t> inlining</a:t>
            </a:r>
          </a:p>
        </p:txBody>
      </p:sp>
      <p:cxnSp>
        <p:nvCxnSpPr>
          <p:cNvPr id="4" name="Straight Connector 3">
            <a:extLst>
              <a:ext uri="{FF2B5EF4-FFF2-40B4-BE49-F238E27FC236}">
                <a16:creationId xmlns:a16="http://schemas.microsoft.com/office/drawing/2014/main" id="{2183FEFE-F22C-472D-80C1-1AEE744B1065}"/>
              </a:ext>
            </a:extLst>
          </p:cNvPr>
          <p:cNvCxnSpPr/>
          <p:nvPr/>
        </p:nvCxnSpPr>
        <p:spPr>
          <a:xfrm>
            <a:off x="9923212" y="2195009"/>
            <a:ext cx="128068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801D23-66A1-4E18-86CD-F07295970240}"/>
              </a:ext>
            </a:extLst>
          </p:cNvPr>
          <p:cNvCxnSpPr>
            <a:cxnSpLocks/>
          </p:cNvCxnSpPr>
          <p:nvPr/>
        </p:nvCxnSpPr>
        <p:spPr>
          <a:xfrm>
            <a:off x="11203900" y="2195009"/>
            <a:ext cx="0" cy="21730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22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a:xfrm>
            <a:off x="303675" y="300404"/>
            <a:ext cx="6328352" cy="553998"/>
          </a:xfrm>
        </p:spPr>
        <p:txBody>
          <a:bodyPr/>
          <a:lstStyle/>
          <a:p>
            <a:r>
              <a:rPr lang="en-US" dirty="0"/>
              <a:t>Intelligent Query Processing</a:t>
            </a:r>
          </a:p>
        </p:txBody>
      </p:sp>
      <p:sp>
        <p:nvSpPr>
          <p:cNvPr id="4" name="Text Placeholder 2">
            <a:extLst>
              <a:ext uri="{FF2B5EF4-FFF2-40B4-BE49-F238E27FC236}">
                <a16:creationId xmlns:a16="http://schemas.microsoft.com/office/drawing/2014/main" id="{A8242765-A8D1-40E8-BB41-DEBF2D96353C}"/>
              </a:ext>
            </a:extLst>
          </p:cNvPr>
          <p:cNvSpPr txBox="1">
            <a:spLocks/>
          </p:cNvSpPr>
          <p:nvPr/>
        </p:nvSpPr>
        <p:spPr>
          <a:xfrm>
            <a:off x="281151" y="1173618"/>
            <a:ext cx="11744742" cy="8053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Build a query processor to work and adapt to any type of workload with no application changes required</a:t>
            </a:r>
          </a:p>
        </p:txBody>
      </p:sp>
      <p:graphicFrame>
        <p:nvGraphicFramePr>
          <p:cNvPr id="5" name="Diagram 4">
            <a:extLst>
              <a:ext uri="{FF2B5EF4-FFF2-40B4-BE49-F238E27FC236}">
                <a16:creationId xmlns:a16="http://schemas.microsoft.com/office/drawing/2014/main" id="{756C5AFB-B734-48DD-BDAD-9BE26E0E25D8}"/>
              </a:ext>
            </a:extLst>
          </p:cNvPr>
          <p:cNvGraphicFramePr/>
          <p:nvPr>
            <p:extLst>
              <p:ext uri="{D42A27DB-BD31-4B8C-83A1-F6EECF244321}">
                <p14:modId xmlns:p14="http://schemas.microsoft.com/office/powerpoint/2010/main" val="3046536168"/>
              </p:ext>
            </p:extLst>
          </p:nvPr>
        </p:nvGraphicFramePr>
        <p:xfrm>
          <a:off x="281151" y="2104697"/>
          <a:ext cx="6062977" cy="4452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a:extLst>
              <a:ext uri="{FF2B5EF4-FFF2-40B4-BE49-F238E27FC236}">
                <a16:creationId xmlns:a16="http://schemas.microsoft.com/office/drawing/2014/main" id="{969B3A57-BDD7-4640-823C-EF0DA391F127}"/>
              </a:ext>
            </a:extLst>
          </p:cNvPr>
          <p:cNvSpPr/>
          <p:nvPr/>
        </p:nvSpPr>
        <p:spPr bwMode="auto">
          <a:xfrm>
            <a:off x="7567449" y="3035698"/>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daptive Join</a:t>
            </a:r>
          </a:p>
        </p:txBody>
      </p:sp>
      <p:sp>
        <p:nvSpPr>
          <p:cNvPr id="18" name="Rectangle 17">
            <a:extLst>
              <a:ext uri="{FF2B5EF4-FFF2-40B4-BE49-F238E27FC236}">
                <a16:creationId xmlns:a16="http://schemas.microsoft.com/office/drawing/2014/main" id="{AC875067-6E5B-4BA6-9040-3C23457B4ABB}"/>
              </a:ext>
            </a:extLst>
          </p:cNvPr>
          <p:cNvSpPr/>
          <p:nvPr/>
        </p:nvSpPr>
        <p:spPr bwMode="auto">
          <a:xfrm>
            <a:off x="7567449" y="390568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emory Grant Feedback for Batch and Row</a:t>
            </a:r>
          </a:p>
        </p:txBody>
      </p:sp>
      <p:sp>
        <p:nvSpPr>
          <p:cNvPr id="21" name="Rectangle 20">
            <a:extLst>
              <a:ext uri="{FF2B5EF4-FFF2-40B4-BE49-F238E27FC236}">
                <a16:creationId xmlns:a16="http://schemas.microsoft.com/office/drawing/2014/main" id="{DF09DCF5-3F23-49F7-904A-D667EA341707}"/>
              </a:ext>
            </a:extLst>
          </p:cNvPr>
          <p:cNvSpPr/>
          <p:nvPr/>
        </p:nvSpPr>
        <p:spPr bwMode="auto">
          <a:xfrm>
            <a:off x="7567449" y="462333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ch Mode for Row Store</a:t>
            </a:r>
          </a:p>
        </p:txBody>
      </p:sp>
      <p:sp>
        <p:nvSpPr>
          <p:cNvPr id="23" name="Rectangle 22">
            <a:extLst>
              <a:ext uri="{FF2B5EF4-FFF2-40B4-BE49-F238E27FC236}">
                <a16:creationId xmlns:a16="http://schemas.microsoft.com/office/drawing/2014/main" id="{21C1FB8D-CC85-4C61-A913-BB9F775C631A}"/>
              </a:ext>
            </a:extLst>
          </p:cNvPr>
          <p:cNvSpPr/>
          <p:nvPr/>
        </p:nvSpPr>
        <p:spPr bwMode="auto">
          <a:xfrm>
            <a:off x="7567449" y="5191216"/>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Interleaved Execution</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Temporary Table Deferred Compilation</a:t>
            </a:r>
          </a:p>
        </p:txBody>
      </p:sp>
      <p:sp>
        <p:nvSpPr>
          <p:cNvPr id="24" name="Rectangle 23">
            <a:extLst>
              <a:ext uri="{FF2B5EF4-FFF2-40B4-BE49-F238E27FC236}">
                <a16:creationId xmlns:a16="http://schemas.microsoft.com/office/drawing/2014/main" id="{48126318-057D-49A7-88CA-6E6B491340DD}"/>
              </a:ext>
            </a:extLst>
          </p:cNvPr>
          <p:cNvSpPr/>
          <p:nvPr/>
        </p:nvSpPr>
        <p:spPr bwMode="auto">
          <a:xfrm>
            <a:off x="7567449" y="5961694"/>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pproximate Count Distinct</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Scalar UDF Inling</a:t>
            </a:r>
          </a:p>
        </p:txBody>
      </p:sp>
      <p:sp>
        <p:nvSpPr>
          <p:cNvPr id="30" name="Arrow: Right 29">
            <a:extLst>
              <a:ext uri="{FF2B5EF4-FFF2-40B4-BE49-F238E27FC236}">
                <a16:creationId xmlns:a16="http://schemas.microsoft.com/office/drawing/2014/main" id="{8009D427-6E19-4E93-AA37-AD1B922BFBDC}"/>
              </a:ext>
            </a:extLst>
          </p:cNvPr>
          <p:cNvSpPr/>
          <p:nvPr/>
        </p:nvSpPr>
        <p:spPr bwMode="auto">
          <a:xfrm>
            <a:off x="6632029" y="309045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1" name="Arrow: Right 30">
            <a:extLst>
              <a:ext uri="{FF2B5EF4-FFF2-40B4-BE49-F238E27FC236}">
                <a16:creationId xmlns:a16="http://schemas.microsoft.com/office/drawing/2014/main" id="{9F9B9F62-1FCA-4AC7-8EE1-A13E400B4C04}"/>
              </a:ext>
            </a:extLst>
          </p:cNvPr>
          <p:cNvSpPr/>
          <p:nvPr/>
        </p:nvSpPr>
        <p:spPr bwMode="auto">
          <a:xfrm>
            <a:off x="6632029" y="3960450"/>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Arrow: Right 31">
            <a:extLst>
              <a:ext uri="{FF2B5EF4-FFF2-40B4-BE49-F238E27FC236}">
                <a16:creationId xmlns:a16="http://schemas.microsoft.com/office/drawing/2014/main" id="{EBA399C5-500D-45E4-B85A-CE7B7501A1DF}"/>
              </a:ext>
            </a:extLst>
          </p:cNvPr>
          <p:cNvSpPr/>
          <p:nvPr/>
        </p:nvSpPr>
        <p:spPr bwMode="auto">
          <a:xfrm>
            <a:off x="6632028" y="4688551"/>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 name="Arrow: Right 32">
            <a:extLst>
              <a:ext uri="{FF2B5EF4-FFF2-40B4-BE49-F238E27FC236}">
                <a16:creationId xmlns:a16="http://schemas.microsoft.com/office/drawing/2014/main" id="{52892F0B-8C0E-4F91-80ED-A49DB1FBBE21}"/>
              </a:ext>
            </a:extLst>
          </p:cNvPr>
          <p:cNvSpPr/>
          <p:nvPr/>
        </p:nvSpPr>
        <p:spPr bwMode="auto">
          <a:xfrm>
            <a:off x="6632028" y="533772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 name="Arrow: Right 33">
            <a:extLst>
              <a:ext uri="{FF2B5EF4-FFF2-40B4-BE49-F238E27FC236}">
                <a16:creationId xmlns:a16="http://schemas.microsoft.com/office/drawing/2014/main" id="{81C84B40-1FB7-4CD7-B118-E115CE2DE3F7}"/>
              </a:ext>
            </a:extLst>
          </p:cNvPr>
          <p:cNvSpPr/>
          <p:nvPr/>
        </p:nvSpPr>
        <p:spPr bwMode="auto">
          <a:xfrm>
            <a:off x="6632027" y="611099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57F6A72-5D52-4AB8-965D-87DBE00DABCA}"/>
              </a:ext>
            </a:extLst>
          </p:cNvPr>
          <p:cNvSpPr txBox="1"/>
          <p:nvPr/>
        </p:nvSpPr>
        <p:spPr>
          <a:xfrm>
            <a:off x="8915401" y="2540634"/>
            <a:ext cx="147739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Feature Suite</a:t>
            </a:r>
          </a:p>
        </p:txBody>
      </p:sp>
      <p:sp>
        <p:nvSpPr>
          <p:cNvPr id="36" name="TextBox 35">
            <a:extLst>
              <a:ext uri="{FF2B5EF4-FFF2-40B4-BE49-F238E27FC236}">
                <a16:creationId xmlns:a16="http://schemas.microsoft.com/office/drawing/2014/main" id="{283BE658-19C0-4208-97EB-1923FDCD387B}"/>
              </a:ext>
            </a:extLst>
          </p:cNvPr>
          <p:cNvSpPr txBox="1"/>
          <p:nvPr/>
        </p:nvSpPr>
        <p:spPr>
          <a:xfrm>
            <a:off x="10455855" y="3090459"/>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7" name="TextBox 36">
            <a:extLst>
              <a:ext uri="{FF2B5EF4-FFF2-40B4-BE49-F238E27FC236}">
                <a16:creationId xmlns:a16="http://schemas.microsoft.com/office/drawing/2014/main" id="{419C65B1-FAC1-4E7A-A373-157143274046}"/>
              </a:ext>
            </a:extLst>
          </p:cNvPr>
          <p:cNvSpPr txBox="1"/>
          <p:nvPr/>
        </p:nvSpPr>
        <p:spPr>
          <a:xfrm>
            <a:off x="10455855" y="3721023"/>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8" name="TextBox 37">
            <a:extLst>
              <a:ext uri="{FF2B5EF4-FFF2-40B4-BE49-F238E27FC236}">
                <a16:creationId xmlns:a16="http://schemas.microsoft.com/office/drawing/2014/main" id="{13064CB9-93B4-411F-8D13-74D0B25D4A46}"/>
              </a:ext>
            </a:extLst>
          </p:cNvPr>
          <p:cNvSpPr txBox="1"/>
          <p:nvPr/>
        </p:nvSpPr>
        <p:spPr>
          <a:xfrm>
            <a:off x="10789559" y="5294952"/>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9" name="TextBox 38">
            <a:extLst>
              <a:ext uri="{FF2B5EF4-FFF2-40B4-BE49-F238E27FC236}">
                <a16:creationId xmlns:a16="http://schemas.microsoft.com/office/drawing/2014/main" id="{9D9AF2FB-AF0C-47A1-A9FF-1212B6CAA38C}"/>
              </a:ext>
            </a:extLst>
          </p:cNvPr>
          <p:cNvSpPr txBox="1"/>
          <p:nvPr/>
        </p:nvSpPr>
        <p:spPr>
          <a:xfrm>
            <a:off x="11372882" y="3731114"/>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0" name="TextBox 39">
            <a:extLst>
              <a:ext uri="{FF2B5EF4-FFF2-40B4-BE49-F238E27FC236}">
                <a16:creationId xmlns:a16="http://schemas.microsoft.com/office/drawing/2014/main" id="{F95BF0E3-2795-48AC-AE4C-611F5633A1D8}"/>
              </a:ext>
            </a:extLst>
          </p:cNvPr>
          <p:cNvSpPr txBox="1"/>
          <p:nvPr/>
        </p:nvSpPr>
        <p:spPr>
          <a:xfrm>
            <a:off x="11039627" y="4738107"/>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2" name="TextBox 41">
            <a:extLst>
              <a:ext uri="{FF2B5EF4-FFF2-40B4-BE49-F238E27FC236}">
                <a16:creationId xmlns:a16="http://schemas.microsoft.com/office/drawing/2014/main" id="{8B512D7B-9306-4F6F-9F64-DF5ADEB58CF0}"/>
              </a:ext>
            </a:extLst>
          </p:cNvPr>
          <p:cNvSpPr txBox="1"/>
          <p:nvPr/>
        </p:nvSpPr>
        <p:spPr>
          <a:xfrm>
            <a:off x="10580889" y="629316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5" name="TextBox 44">
            <a:extLst>
              <a:ext uri="{FF2B5EF4-FFF2-40B4-BE49-F238E27FC236}">
                <a16:creationId xmlns:a16="http://schemas.microsoft.com/office/drawing/2014/main" id="{603C6775-9AF7-4597-A378-B59A5673DE22}"/>
              </a:ext>
            </a:extLst>
          </p:cNvPr>
          <p:cNvSpPr txBox="1"/>
          <p:nvPr/>
        </p:nvSpPr>
        <p:spPr>
          <a:xfrm>
            <a:off x="9226143" y="93522"/>
            <a:ext cx="1826334" cy="246221"/>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dbcompat to enable</a:t>
            </a:r>
          </a:p>
        </p:txBody>
      </p:sp>
      <p:graphicFrame>
        <p:nvGraphicFramePr>
          <p:cNvPr id="46" name="Table 45">
            <a:extLst>
              <a:ext uri="{FF2B5EF4-FFF2-40B4-BE49-F238E27FC236}">
                <a16:creationId xmlns:a16="http://schemas.microsoft.com/office/drawing/2014/main" id="{FA3B5E3C-0698-4C15-9506-499D2C9678B3}"/>
              </a:ext>
            </a:extLst>
          </p:cNvPr>
          <p:cNvGraphicFramePr>
            <a:graphicFrameLocks noGrp="1"/>
          </p:cNvGraphicFramePr>
          <p:nvPr>
            <p:extLst>
              <p:ext uri="{D42A27DB-BD31-4B8C-83A1-F6EECF244321}">
                <p14:modId xmlns:p14="http://schemas.microsoft.com/office/powerpoint/2010/main" val="834375753"/>
              </p:ext>
            </p:extLst>
          </p:nvPr>
        </p:nvGraphicFramePr>
        <p:xfrm>
          <a:off x="9222145" y="398556"/>
          <a:ext cx="2803748" cy="612642"/>
        </p:xfrm>
        <a:graphic>
          <a:graphicData uri="http://schemas.openxmlformats.org/drawingml/2006/table">
            <a:tbl>
              <a:tblPr firstRow="1" bandRow="1">
                <a:tableStyleId>{5C22544A-7EE6-4342-B048-85BDC9FD1C3A}</a:tableStyleId>
              </a:tblPr>
              <a:tblGrid>
                <a:gridCol w="1401874">
                  <a:extLst>
                    <a:ext uri="{9D8B030D-6E8A-4147-A177-3AD203B41FA5}">
                      <a16:colId xmlns:a16="http://schemas.microsoft.com/office/drawing/2014/main" val="2804277250"/>
                    </a:ext>
                  </a:extLst>
                </a:gridCol>
                <a:gridCol w="1401874">
                  <a:extLst>
                    <a:ext uri="{9D8B030D-6E8A-4147-A177-3AD203B41FA5}">
                      <a16:colId xmlns:a16="http://schemas.microsoft.com/office/drawing/2014/main" val="259281053"/>
                    </a:ext>
                  </a:extLst>
                </a:gridCol>
              </a:tblGrid>
              <a:tr h="306321">
                <a:tc>
                  <a:txBody>
                    <a:bodyPr/>
                    <a:lstStyle/>
                    <a:p>
                      <a:r>
                        <a:rPr lang="en-US" sz="1200" dirty="0"/>
                        <a:t>140</a:t>
                      </a:r>
                    </a:p>
                  </a:txBody>
                  <a:tcPr/>
                </a:tc>
                <a:tc>
                  <a:txBody>
                    <a:bodyPr/>
                    <a:lstStyle/>
                    <a:p>
                      <a:r>
                        <a:rPr lang="en-US" sz="1200" dirty="0"/>
                        <a:t>SQL Server 2017</a:t>
                      </a:r>
                    </a:p>
                  </a:txBody>
                  <a:tcPr/>
                </a:tc>
                <a:extLst>
                  <a:ext uri="{0D108BD9-81ED-4DB2-BD59-A6C34878D82A}">
                    <a16:rowId xmlns:a16="http://schemas.microsoft.com/office/drawing/2014/main" val="3616316682"/>
                  </a:ext>
                </a:extLst>
              </a:tr>
              <a:tr h="306321">
                <a:tc>
                  <a:txBody>
                    <a:bodyPr/>
                    <a:lstStyle/>
                    <a:p>
                      <a:r>
                        <a:rPr lang="en-US" sz="1200" dirty="0"/>
                        <a:t>150</a:t>
                      </a:r>
                    </a:p>
                  </a:txBody>
                  <a:tcPr/>
                </a:tc>
                <a:tc>
                  <a:txBody>
                    <a:bodyPr/>
                    <a:lstStyle/>
                    <a:p>
                      <a:r>
                        <a:rPr lang="en-US" sz="1200" dirty="0"/>
                        <a:t>SQL Server 2019</a:t>
                      </a:r>
                    </a:p>
                  </a:txBody>
                  <a:tcPr/>
                </a:tc>
                <a:extLst>
                  <a:ext uri="{0D108BD9-81ED-4DB2-BD59-A6C34878D82A}">
                    <a16:rowId xmlns:a16="http://schemas.microsoft.com/office/drawing/2014/main" val="18046059"/>
                  </a:ext>
                </a:extLst>
              </a:tr>
            </a:tbl>
          </a:graphicData>
        </a:graphic>
      </p:graphicFrame>
      <p:sp>
        <p:nvSpPr>
          <p:cNvPr id="25" name="TextBox 24">
            <a:extLst>
              <a:ext uri="{FF2B5EF4-FFF2-40B4-BE49-F238E27FC236}">
                <a16:creationId xmlns:a16="http://schemas.microsoft.com/office/drawing/2014/main" id="{9D92F06B-14B4-4241-BE69-CAC742C738E5}"/>
              </a:ext>
            </a:extLst>
          </p:cNvPr>
          <p:cNvSpPr txBox="1"/>
          <p:nvPr/>
        </p:nvSpPr>
        <p:spPr>
          <a:xfrm>
            <a:off x="11520748" y="5529175"/>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Tree>
    <p:extLst>
      <p:ext uri="{BB962C8B-B14F-4D97-AF65-F5344CB8AC3E}">
        <p14:creationId xmlns:p14="http://schemas.microsoft.com/office/powerpoint/2010/main" val="2247991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7" grpId="0" animBg="1"/>
      <p:bldP spid="18" grpId="0" animBg="1"/>
      <p:bldP spid="21" grpId="0" animBg="1"/>
      <p:bldP spid="23" grpId="0" animBg="1"/>
      <p:bldP spid="24" grpId="0" animBg="1"/>
      <p:bldP spid="30" grpId="0" animBg="1"/>
      <p:bldP spid="31" grpId="0" animBg="1"/>
      <p:bldP spid="32" grpId="0" animBg="1"/>
      <p:bldP spid="33" grpId="0" animBg="1"/>
      <p:bldP spid="34" grpId="0" animBg="1"/>
      <p:bldP spid="35" grpId="0"/>
      <p:bldP spid="36" grpId="0"/>
      <p:bldP spid="37" grpId="0"/>
      <p:bldP spid="38" grpId="0"/>
      <p:bldP spid="39" grpId="0"/>
      <p:bldP spid="40" grpId="0"/>
      <p:bldP spid="42" grpId="0"/>
      <p:bldP spid="45" grpId="0"/>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Intelligent Query Processing</a:t>
            </a:r>
          </a:p>
        </p:txBody>
      </p:sp>
    </p:spTree>
    <p:extLst>
      <p:ext uri="{BB962C8B-B14F-4D97-AF65-F5344CB8AC3E}">
        <p14:creationId xmlns:p14="http://schemas.microsoft.com/office/powerpoint/2010/main" val="42702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Lightweight Query Profiling</a:t>
            </a:r>
          </a:p>
        </p:txBody>
      </p:sp>
      <p:sp>
        <p:nvSpPr>
          <p:cNvPr id="4" name="Text Placeholder 2">
            <a:extLst>
              <a:ext uri="{FF2B5EF4-FFF2-40B4-BE49-F238E27FC236}">
                <a16:creationId xmlns:a16="http://schemas.microsoft.com/office/drawing/2014/main" id="{7CA8DF96-DDDC-4191-80BA-36B5882A9897}"/>
              </a:ext>
            </a:extLst>
          </p:cNvPr>
          <p:cNvSpPr>
            <a:spLocks noGrp="1"/>
          </p:cNvSpPr>
          <p:nvPr>
            <p:ph type="body" sz="quarter" idx="10"/>
          </p:nvPr>
        </p:nvSpPr>
        <p:spPr>
          <a:xfrm>
            <a:off x="344852" y="1373518"/>
            <a:ext cx="11018520" cy="743793"/>
          </a:xfrm>
          <a:solidFill>
            <a:schemeClr val="bg1">
              <a:lumMod val="85000"/>
            </a:schemeClr>
          </a:solidFill>
        </p:spPr>
        <p:txBody>
          <a:bodyPr/>
          <a:lstStyle/>
          <a:p>
            <a:pPr marL="0" indent="0">
              <a:buNone/>
            </a:pPr>
            <a:r>
              <a:rPr lang="en-US" b="1" dirty="0"/>
              <a:t>The problem</a:t>
            </a:r>
          </a:p>
          <a:p>
            <a:pPr marL="0" indent="0">
              <a:buNone/>
            </a:pPr>
            <a:r>
              <a:rPr lang="en-US" dirty="0"/>
              <a:t>I want to see the details of a query plan at the operator level for any </a:t>
            </a:r>
            <a:r>
              <a:rPr lang="en-US" b="1" dirty="0"/>
              <a:t>active</a:t>
            </a:r>
            <a:r>
              <a:rPr lang="en-US" dirty="0"/>
              <a:t> executing query</a:t>
            </a:r>
          </a:p>
        </p:txBody>
      </p:sp>
      <p:graphicFrame>
        <p:nvGraphicFramePr>
          <p:cNvPr id="5" name="Diagram 4">
            <a:extLst>
              <a:ext uri="{FF2B5EF4-FFF2-40B4-BE49-F238E27FC236}">
                <a16:creationId xmlns:a16="http://schemas.microsoft.com/office/drawing/2014/main" id="{88870884-CE2E-435A-9DD6-8CFCEBE3F9B5}"/>
              </a:ext>
            </a:extLst>
          </p:cNvPr>
          <p:cNvGraphicFramePr/>
          <p:nvPr>
            <p:extLst>
              <p:ext uri="{D42A27DB-BD31-4B8C-83A1-F6EECF244321}">
                <p14:modId xmlns:p14="http://schemas.microsoft.com/office/powerpoint/2010/main" val="1970847083"/>
              </p:ext>
            </p:extLst>
          </p:nvPr>
        </p:nvGraphicFramePr>
        <p:xfrm>
          <a:off x="344852" y="2170713"/>
          <a:ext cx="5751148" cy="4567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42D8F96-3F1D-49A2-8E65-4501ABAD3F0E}"/>
              </a:ext>
            </a:extLst>
          </p:cNvPr>
          <p:cNvSpPr txBox="1"/>
          <p:nvPr/>
        </p:nvSpPr>
        <p:spPr>
          <a:xfrm>
            <a:off x="7591773" y="2388149"/>
            <a:ext cx="331366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m_exec_query_profiles</a:t>
            </a:r>
          </a:p>
          <a:p>
            <a:r>
              <a:rPr lang="en-US" sz="2000" dirty="0"/>
              <a:t>dm_exec_query_statistics_xml</a:t>
            </a:r>
            <a:endParaRPr lang="en-US" sz="20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234D664B-741C-4BEE-9327-FE7E131D31C9}"/>
              </a:ext>
            </a:extLst>
          </p:cNvPr>
          <p:cNvPicPr>
            <a:picLocks noChangeAspect="1"/>
          </p:cNvPicPr>
          <p:nvPr/>
        </p:nvPicPr>
        <p:blipFill>
          <a:blip r:embed="rId7"/>
          <a:stretch>
            <a:fillRect/>
          </a:stretch>
        </p:blipFill>
        <p:spPr>
          <a:xfrm>
            <a:off x="6535870" y="3429000"/>
            <a:ext cx="5425470" cy="2916153"/>
          </a:xfrm>
          <a:prstGeom prst="rect">
            <a:avLst/>
          </a:prstGeom>
        </p:spPr>
      </p:pic>
    </p:spTree>
    <p:extLst>
      <p:ext uri="{BB962C8B-B14F-4D97-AF65-F5344CB8AC3E}">
        <p14:creationId xmlns:p14="http://schemas.microsoft.com/office/powerpoint/2010/main" val="3314051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Lightweight Query Profiling</a:t>
            </a:r>
          </a:p>
        </p:txBody>
      </p:sp>
    </p:spTree>
    <p:extLst>
      <p:ext uri="{BB962C8B-B14F-4D97-AF65-F5344CB8AC3E}">
        <p14:creationId xmlns:p14="http://schemas.microsoft.com/office/powerpoint/2010/main" val="540024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E4E4F-F043-4680-BF2D-3F009CF786DA}"/>
              </a:ext>
            </a:extLst>
          </p:cNvPr>
          <p:cNvSpPr>
            <a:spLocks noGrp="1"/>
          </p:cNvSpPr>
          <p:nvPr>
            <p:ph type="title"/>
          </p:nvPr>
        </p:nvSpPr>
        <p:spPr>
          <a:xfrm>
            <a:off x="420053" y="186602"/>
            <a:ext cx="11018520" cy="553998"/>
          </a:xfrm>
        </p:spPr>
        <p:txBody>
          <a:bodyPr/>
          <a:lstStyle/>
          <a:p>
            <a:r>
              <a:rPr lang="en-US" dirty="0"/>
              <a:t>SQL Server and Persistent Memory</a:t>
            </a:r>
          </a:p>
        </p:txBody>
      </p:sp>
      <p:pic>
        <p:nvPicPr>
          <p:cNvPr id="1026" name="Picture 2">
            <a:extLst>
              <a:ext uri="{FF2B5EF4-FFF2-40B4-BE49-F238E27FC236}">
                <a16:creationId xmlns:a16="http://schemas.microsoft.com/office/drawing/2014/main" id="{33036E6B-F3DA-4559-A6FC-0845399CD2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 y="1193007"/>
            <a:ext cx="4214812" cy="210740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a:extLst>
              <a:ext uri="{FF2B5EF4-FFF2-40B4-BE49-F238E27FC236}">
                <a16:creationId xmlns:a16="http://schemas.microsoft.com/office/drawing/2014/main" id="{E0E12DBF-9447-4562-9063-66E37B0BB7B7}"/>
              </a:ext>
            </a:extLst>
          </p:cNvPr>
          <p:cNvCxnSpPr>
            <a:cxnSpLocks/>
          </p:cNvCxnSpPr>
          <p:nvPr/>
        </p:nvCxnSpPr>
        <p:spPr>
          <a:xfrm flipV="1">
            <a:off x="4274343" y="1302277"/>
            <a:ext cx="2797375" cy="22648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Flowchart: Magnetic Disk 5">
            <a:extLst>
              <a:ext uri="{FF2B5EF4-FFF2-40B4-BE49-F238E27FC236}">
                <a16:creationId xmlns:a16="http://schemas.microsoft.com/office/drawing/2014/main" id="{DFA8BC7B-07E0-46E4-89D7-1D0002121CDC}"/>
              </a:ext>
            </a:extLst>
          </p:cNvPr>
          <p:cNvSpPr/>
          <p:nvPr/>
        </p:nvSpPr>
        <p:spPr bwMode="auto">
          <a:xfrm>
            <a:off x="10927557" y="621871"/>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8" name="Flowchart: Magnetic Disk 7">
            <a:extLst>
              <a:ext uri="{FF2B5EF4-FFF2-40B4-BE49-F238E27FC236}">
                <a16:creationId xmlns:a16="http://schemas.microsoft.com/office/drawing/2014/main" id="{4E217E1E-C86C-49ED-85AF-EC8CB66290DE}"/>
              </a:ext>
            </a:extLst>
          </p:cNvPr>
          <p:cNvSpPr/>
          <p:nvPr/>
        </p:nvSpPr>
        <p:spPr bwMode="auto">
          <a:xfrm>
            <a:off x="10947797" y="1448030"/>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7" name="TextBox 6">
            <a:extLst>
              <a:ext uri="{FF2B5EF4-FFF2-40B4-BE49-F238E27FC236}">
                <a16:creationId xmlns:a16="http://schemas.microsoft.com/office/drawing/2014/main" id="{69F8221C-BE4C-4E6A-B3D4-894DFA162F05}"/>
              </a:ext>
            </a:extLst>
          </p:cNvPr>
          <p:cNvSpPr txBox="1"/>
          <p:nvPr/>
        </p:nvSpPr>
        <p:spPr>
          <a:xfrm>
            <a:off x="4850607" y="1033582"/>
            <a:ext cx="140262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Block device</a:t>
            </a:r>
          </a:p>
        </p:txBody>
      </p:sp>
      <p:cxnSp>
        <p:nvCxnSpPr>
          <p:cNvPr id="10" name="Straight Arrow Connector 9">
            <a:extLst>
              <a:ext uri="{FF2B5EF4-FFF2-40B4-BE49-F238E27FC236}">
                <a16:creationId xmlns:a16="http://schemas.microsoft.com/office/drawing/2014/main" id="{A42C07AE-BB79-485D-8FEA-667983841A86}"/>
              </a:ext>
            </a:extLst>
          </p:cNvPr>
          <p:cNvCxnSpPr>
            <a:cxnSpLocks/>
          </p:cNvCxnSpPr>
          <p:nvPr/>
        </p:nvCxnSpPr>
        <p:spPr>
          <a:xfrm>
            <a:off x="3557588" y="2161756"/>
            <a:ext cx="4850606" cy="9743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2878DF6D-3469-424E-B0EA-349C753B684F}"/>
              </a:ext>
            </a:extLst>
          </p:cNvPr>
          <p:cNvSpPr/>
          <p:nvPr/>
        </p:nvSpPr>
        <p:spPr bwMode="auto">
          <a:xfrm>
            <a:off x="8576072" y="3247544"/>
            <a:ext cx="1150144" cy="553998"/>
          </a:xfrm>
          <a:prstGeom prst="flowChartMagneticDisk">
            <a:avLst/>
          </a:prstGeom>
          <a:solidFill>
            <a:schemeClr val="bg1">
              <a:lumMod val="6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12" name="TextBox 11">
            <a:extLst>
              <a:ext uri="{FF2B5EF4-FFF2-40B4-BE49-F238E27FC236}">
                <a16:creationId xmlns:a16="http://schemas.microsoft.com/office/drawing/2014/main" id="{338163E6-7809-4A78-BFED-C749FFA4254C}"/>
              </a:ext>
            </a:extLst>
          </p:cNvPr>
          <p:cNvSpPr txBox="1"/>
          <p:nvPr/>
        </p:nvSpPr>
        <p:spPr>
          <a:xfrm>
            <a:off x="5014913" y="2127645"/>
            <a:ext cx="300268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Tail of the log (SQL 2016+)</a:t>
            </a:r>
          </a:p>
        </p:txBody>
      </p:sp>
      <p:sp>
        <p:nvSpPr>
          <p:cNvPr id="9" name="Flowchart: Document 8">
            <a:extLst>
              <a:ext uri="{FF2B5EF4-FFF2-40B4-BE49-F238E27FC236}">
                <a16:creationId xmlns:a16="http://schemas.microsoft.com/office/drawing/2014/main" id="{BB76824A-34D0-4E04-81C2-C9CF52EE5496}"/>
              </a:ext>
            </a:extLst>
          </p:cNvPr>
          <p:cNvSpPr/>
          <p:nvPr/>
        </p:nvSpPr>
        <p:spPr bwMode="auto">
          <a:xfrm>
            <a:off x="8576072" y="2385057"/>
            <a:ext cx="1221581" cy="651452"/>
          </a:xfrm>
          <a:prstGeom prst="flowChartDocumen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g cache</a:t>
            </a:r>
          </a:p>
        </p:txBody>
      </p:sp>
      <p:sp>
        <p:nvSpPr>
          <p:cNvPr id="17" name="Flowchart: Magnetic Disk 16">
            <a:extLst>
              <a:ext uri="{FF2B5EF4-FFF2-40B4-BE49-F238E27FC236}">
                <a16:creationId xmlns:a16="http://schemas.microsoft.com/office/drawing/2014/main" id="{87BCCC90-CA43-4303-89C6-DA22DC59C3EB}"/>
              </a:ext>
            </a:extLst>
          </p:cNvPr>
          <p:cNvSpPr/>
          <p:nvPr/>
        </p:nvSpPr>
        <p:spPr bwMode="auto">
          <a:xfrm>
            <a:off x="9797653" y="4811967"/>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18" name="Flowchart: Magnetic Disk 17">
            <a:extLst>
              <a:ext uri="{FF2B5EF4-FFF2-40B4-BE49-F238E27FC236}">
                <a16:creationId xmlns:a16="http://schemas.microsoft.com/office/drawing/2014/main" id="{6F9992A8-8DED-470C-83EE-0ED241B93C74}"/>
              </a:ext>
            </a:extLst>
          </p:cNvPr>
          <p:cNvSpPr/>
          <p:nvPr/>
        </p:nvSpPr>
        <p:spPr bwMode="auto">
          <a:xfrm>
            <a:off x="9797653" y="5752922"/>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cxnSp>
        <p:nvCxnSpPr>
          <p:cNvPr id="19" name="Straight Arrow Connector 18">
            <a:extLst>
              <a:ext uri="{FF2B5EF4-FFF2-40B4-BE49-F238E27FC236}">
                <a16:creationId xmlns:a16="http://schemas.microsoft.com/office/drawing/2014/main" id="{B12BFF7E-BD53-4B20-A78C-E55B181FF1B1}"/>
              </a:ext>
            </a:extLst>
          </p:cNvPr>
          <p:cNvCxnSpPr>
            <a:cxnSpLocks/>
          </p:cNvCxnSpPr>
          <p:nvPr/>
        </p:nvCxnSpPr>
        <p:spPr>
          <a:xfrm>
            <a:off x="2643188" y="2646457"/>
            <a:ext cx="3093243" cy="281369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11030E0-AE92-458D-80D7-0B92A6756540}"/>
              </a:ext>
            </a:extLst>
          </p:cNvPr>
          <p:cNvSpPr txBox="1"/>
          <p:nvPr/>
        </p:nvSpPr>
        <p:spPr>
          <a:xfrm>
            <a:off x="4189809" y="3356313"/>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Enlightened I/O (SQL 2019)</a:t>
            </a:r>
          </a:p>
        </p:txBody>
      </p:sp>
      <p:sp>
        <p:nvSpPr>
          <p:cNvPr id="22" name="Rectangle 21">
            <a:extLst>
              <a:ext uri="{FF2B5EF4-FFF2-40B4-BE49-F238E27FC236}">
                <a16:creationId xmlns:a16="http://schemas.microsoft.com/office/drawing/2014/main" id="{9627208B-ABC6-4545-8F9E-3AA594DAD941}"/>
              </a:ext>
            </a:extLst>
          </p:cNvPr>
          <p:cNvSpPr/>
          <p:nvPr/>
        </p:nvSpPr>
        <p:spPr bwMode="auto">
          <a:xfrm>
            <a:off x="5929313"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24" name="Rectangle 23">
            <a:extLst>
              <a:ext uri="{FF2B5EF4-FFF2-40B4-BE49-F238E27FC236}">
                <a16:creationId xmlns:a16="http://schemas.microsoft.com/office/drawing/2014/main" id="{101F376A-ED84-42CC-B886-F3FB9FF224EA}"/>
              </a:ext>
            </a:extLst>
          </p:cNvPr>
          <p:cNvSpPr/>
          <p:nvPr/>
        </p:nvSpPr>
        <p:spPr bwMode="auto">
          <a:xfrm>
            <a:off x="7809310"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30" name="Connector: Elbow 29">
            <a:extLst>
              <a:ext uri="{FF2B5EF4-FFF2-40B4-BE49-F238E27FC236}">
                <a16:creationId xmlns:a16="http://schemas.microsoft.com/office/drawing/2014/main" id="{0EEC5918-006F-4BB4-A587-7A94F4D46FF8}"/>
              </a:ext>
            </a:extLst>
          </p:cNvPr>
          <p:cNvCxnSpPr>
            <a:stCxn id="22" idx="2"/>
            <a:endCxn id="18" idx="3"/>
          </p:cNvCxnSpPr>
          <p:nvPr/>
        </p:nvCxnSpPr>
        <p:spPr>
          <a:xfrm rot="16200000" flipH="1">
            <a:off x="8267909" y="4202103"/>
            <a:ext cx="276999" cy="3932634"/>
          </a:xfrm>
          <a:prstGeom prst="bentConnector3">
            <a:avLst>
              <a:gd name="adj1" fmla="val 182527"/>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A90C4B6B-303C-4034-AD65-F47F9AA45FAA}"/>
              </a:ext>
            </a:extLst>
          </p:cNvPr>
          <p:cNvCxnSpPr>
            <a:stCxn id="22" idx="0"/>
            <a:endCxn id="17" idx="1"/>
          </p:cNvCxnSpPr>
          <p:nvPr/>
        </p:nvCxnSpPr>
        <p:spPr>
          <a:xfrm rot="5400000" flipH="1" flipV="1">
            <a:off x="8147773" y="3104285"/>
            <a:ext cx="517270" cy="3932634"/>
          </a:xfrm>
          <a:prstGeom prst="bentConnector3">
            <a:avLst>
              <a:gd name="adj1" fmla="val 14419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D18C3C9-E473-46EE-A081-AD99E2FD2C4E}"/>
              </a:ext>
            </a:extLst>
          </p:cNvPr>
          <p:cNvCxnSpPr>
            <a:cxnSpLocks/>
            <a:endCxn id="40" idx="0"/>
          </p:cNvCxnSpPr>
          <p:nvPr/>
        </p:nvCxnSpPr>
        <p:spPr>
          <a:xfrm flipH="1">
            <a:off x="1940720" y="2825827"/>
            <a:ext cx="294680" cy="118181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Flowchart: Magnetic Disk 37">
            <a:extLst>
              <a:ext uri="{FF2B5EF4-FFF2-40B4-BE49-F238E27FC236}">
                <a16:creationId xmlns:a16="http://schemas.microsoft.com/office/drawing/2014/main" id="{DB20ADF1-F6F0-48C9-91EE-8BFF893BCB5F}"/>
              </a:ext>
            </a:extLst>
          </p:cNvPr>
          <p:cNvSpPr/>
          <p:nvPr/>
        </p:nvSpPr>
        <p:spPr bwMode="auto">
          <a:xfrm>
            <a:off x="3220343" y="5516047"/>
            <a:ext cx="1150144" cy="553998"/>
          </a:xfrm>
          <a:prstGeom prst="flowChartMagneticDisk">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40" name="Rectangle 39">
            <a:extLst>
              <a:ext uri="{FF2B5EF4-FFF2-40B4-BE49-F238E27FC236}">
                <a16:creationId xmlns:a16="http://schemas.microsoft.com/office/drawing/2014/main" id="{7E3A177F-32DB-4E8E-B1C6-655819444B0B}"/>
              </a:ext>
            </a:extLst>
          </p:cNvPr>
          <p:cNvSpPr/>
          <p:nvPr/>
        </p:nvSpPr>
        <p:spPr bwMode="auto">
          <a:xfrm>
            <a:off x="1035844" y="4007644"/>
            <a:ext cx="1809751" cy="145958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pool</a:t>
            </a:r>
          </a:p>
        </p:txBody>
      </p:sp>
      <p:sp>
        <p:nvSpPr>
          <p:cNvPr id="1030" name="Rectangle 1029">
            <a:extLst>
              <a:ext uri="{FF2B5EF4-FFF2-40B4-BE49-F238E27FC236}">
                <a16:creationId xmlns:a16="http://schemas.microsoft.com/office/drawing/2014/main" id="{B0273DF2-C1CD-406C-9375-CDC3CBBC5953}"/>
              </a:ext>
            </a:extLst>
          </p:cNvPr>
          <p:cNvSpPr/>
          <p:nvPr/>
        </p:nvSpPr>
        <p:spPr bwMode="auto">
          <a:xfrm>
            <a:off x="1897265" y="4993481"/>
            <a:ext cx="823911" cy="33575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1032" name="Straight Connector 1031">
            <a:extLst>
              <a:ext uri="{FF2B5EF4-FFF2-40B4-BE49-F238E27FC236}">
                <a16:creationId xmlns:a16="http://schemas.microsoft.com/office/drawing/2014/main" id="{A6D55AF7-33A1-4CB9-B2F9-3A4E0AA4B09A}"/>
              </a:ext>
            </a:extLst>
          </p:cNvPr>
          <p:cNvCxnSpPr>
            <a:cxnSpLocks/>
            <a:endCxn id="38" idx="1"/>
          </p:cNvCxnSpPr>
          <p:nvPr/>
        </p:nvCxnSpPr>
        <p:spPr>
          <a:xfrm>
            <a:off x="2721176" y="4993481"/>
            <a:ext cx="1074239" cy="522566"/>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6084345-1D4B-40D5-BC02-8B7F75354668}"/>
              </a:ext>
            </a:extLst>
          </p:cNvPr>
          <p:cNvCxnSpPr>
            <a:cxnSpLocks/>
          </p:cNvCxnSpPr>
          <p:nvPr/>
        </p:nvCxnSpPr>
        <p:spPr>
          <a:xfrm>
            <a:off x="1897265" y="5344953"/>
            <a:ext cx="1323078" cy="599895"/>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BEFC858A-5243-4DC0-B5FB-175194B6CDD6}"/>
              </a:ext>
            </a:extLst>
          </p:cNvPr>
          <p:cNvSpPr txBox="1"/>
          <p:nvPr/>
        </p:nvSpPr>
        <p:spPr>
          <a:xfrm>
            <a:off x="930478" y="5608380"/>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Hybrid Buffer Pool (SQL 2019)</a:t>
            </a:r>
          </a:p>
        </p:txBody>
      </p:sp>
      <p:sp>
        <p:nvSpPr>
          <p:cNvPr id="49" name="Rectangle 48">
            <a:extLst>
              <a:ext uri="{FF2B5EF4-FFF2-40B4-BE49-F238E27FC236}">
                <a16:creationId xmlns:a16="http://schemas.microsoft.com/office/drawing/2014/main" id="{8E1D3DF0-9F59-4A93-90E2-3313C2114F52}"/>
              </a:ext>
            </a:extLst>
          </p:cNvPr>
          <p:cNvSpPr/>
          <p:nvPr/>
        </p:nvSpPr>
        <p:spPr bwMode="auto">
          <a:xfrm>
            <a:off x="7203282" y="930501"/>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50" name="Rectangle 49">
            <a:extLst>
              <a:ext uri="{FF2B5EF4-FFF2-40B4-BE49-F238E27FC236}">
                <a16:creationId xmlns:a16="http://schemas.microsoft.com/office/drawing/2014/main" id="{2645C459-DF5E-4603-A691-FFB676F284AC}"/>
              </a:ext>
            </a:extLst>
          </p:cNvPr>
          <p:cNvSpPr/>
          <p:nvPr/>
        </p:nvSpPr>
        <p:spPr bwMode="auto">
          <a:xfrm>
            <a:off x="9083279" y="935485"/>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52" name="Straight Arrow Connector 51">
            <a:extLst>
              <a:ext uri="{FF2B5EF4-FFF2-40B4-BE49-F238E27FC236}">
                <a16:creationId xmlns:a16="http://schemas.microsoft.com/office/drawing/2014/main" id="{0CB6EB0C-A31A-43DF-B9C7-2E83223EA2BA}"/>
              </a:ext>
            </a:extLst>
          </p:cNvPr>
          <p:cNvCxnSpPr>
            <a:cxnSpLocks/>
            <a:stCxn id="49" idx="3"/>
            <a:endCxn id="50" idx="1"/>
          </p:cNvCxnSpPr>
          <p:nvPr/>
        </p:nvCxnSpPr>
        <p:spPr>
          <a:xfrm>
            <a:off x="8224838" y="1280843"/>
            <a:ext cx="858441" cy="498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3346EE2-CB19-4EE9-8D37-A02DA3996C83}"/>
              </a:ext>
            </a:extLst>
          </p:cNvPr>
          <p:cNvCxnSpPr>
            <a:cxnSpLocks/>
            <a:stCxn id="50" idx="3"/>
            <a:endCxn id="6" idx="2"/>
          </p:cNvCxnSpPr>
          <p:nvPr/>
        </p:nvCxnSpPr>
        <p:spPr>
          <a:xfrm flipV="1">
            <a:off x="10104835" y="898870"/>
            <a:ext cx="822722" cy="38695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AB6EBEC-BD8A-4CA1-838A-343C7F3C851D}"/>
              </a:ext>
            </a:extLst>
          </p:cNvPr>
          <p:cNvCxnSpPr>
            <a:cxnSpLocks/>
            <a:stCxn id="50" idx="3"/>
            <a:endCxn id="8" idx="2"/>
          </p:cNvCxnSpPr>
          <p:nvPr/>
        </p:nvCxnSpPr>
        <p:spPr>
          <a:xfrm>
            <a:off x="10104835" y="1285827"/>
            <a:ext cx="842962" cy="43920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31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3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7" grpId="0"/>
      <p:bldP spid="11" grpId="0" animBg="1"/>
      <p:bldP spid="12" grpId="0"/>
      <p:bldP spid="9" grpId="0" animBg="1"/>
      <p:bldP spid="17" grpId="0" animBg="1"/>
      <p:bldP spid="18" grpId="0" animBg="1"/>
      <p:bldP spid="20" grpId="0"/>
      <p:bldP spid="22" grpId="0" animBg="1"/>
      <p:bldP spid="24" grpId="0" animBg="1"/>
      <p:bldP spid="38" grpId="0" animBg="1"/>
      <p:bldP spid="40" grpId="0" animBg="1"/>
      <p:bldP spid="1030" grpId="0" animBg="1"/>
      <p:bldP spid="48" grpId="0"/>
      <p:bldP spid="49" grpId="0" animBg="1"/>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looking at a computer&#10;&#10;Description automatically generated">
            <a:extLst>
              <a:ext uri="{FF2B5EF4-FFF2-40B4-BE49-F238E27FC236}">
                <a16:creationId xmlns:a16="http://schemas.microsoft.com/office/drawing/2014/main" id="{4368A3B9-4C24-4C0E-AFEA-7DC2DCAEDBAF}"/>
              </a:ext>
            </a:extLst>
          </p:cNvPr>
          <p:cNvPicPr>
            <a:picLocks noGrp="1" noChangeAspect="1"/>
          </p:cNvPicPr>
          <p:nvPr>
            <p:ph type="pic" sz="quarter" idx="11"/>
          </p:nvPr>
        </p:nvPicPr>
        <p:blipFill>
          <a:blip r:embed="rId3"/>
          <a:srcRect l="13480" r="13480"/>
          <a:stretch>
            <a:fillRect/>
          </a:stretch>
        </p:blipFill>
        <p:spPr>
          <a:xfrm>
            <a:off x="5328691" y="580922"/>
            <a:ext cx="6569622" cy="5987676"/>
          </a:xfrm>
        </p:spPr>
      </p:pic>
      <p:sp>
        <p:nvSpPr>
          <p:cNvPr id="3" name="Title 2">
            <a:extLst>
              <a:ext uri="{FF2B5EF4-FFF2-40B4-BE49-F238E27FC236}">
                <a16:creationId xmlns:a16="http://schemas.microsoft.com/office/drawing/2014/main" id="{5F4F1939-8F07-470E-8893-CC6355A4463C}"/>
              </a:ext>
            </a:extLst>
          </p:cNvPr>
          <p:cNvSpPr>
            <a:spLocks noGrp="1"/>
          </p:cNvSpPr>
          <p:nvPr>
            <p:ph type="title"/>
          </p:nvPr>
        </p:nvSpPr>
        <p:spPr>
          <a:xfrm>
            <a:off x="293687" y="292100"/>
            <a:ext cx="3768898" cy="553998"/>
          </a:xfrm>
        </p:spPr>
        <p:txBody>
          <a:bodyPr/>
          <a:lstStyle/>
          <a:p>
            <a:r>
              <a:rPr lang="en-US" dirty="0"/>
              <a:t>The Workshop</a:t>
            </a:r>
          </a:p>
        </p:txBody>
      </p:sp>
      <p:sp>
        <p:nvSpPr>
          <p:cNvPr id="4" name="Text Placeholder 3">
            <a:extLst>
              <a:ext uri="{FF2B5EF4-FFF2-40B4-BE49-F238E27FC236}">
                <a16:creationId xmlns:a16="http://schemas.microsoft.com/office/drawing/2014/main" id="{3FD460F1-8934-4D85-9E6B-F2F97B124D32}"/>
              </a:ext>
            </a:extLst>
          </p:cNvPr>
          <p:cNvSpPr>
            <a:spLocks noGrp="1"/>
          </p:cNvSpPr>
          <p:nvPr>
            <p:ph type="body" sz="quarter" idx="10"/>
          </p:nvPr>
        </p:nvSpPr>
        <p:spPr>
          <a:xfrm>
            <a:off x="293687" y="963203"/>
            <a:ext cx="4925465" cy="5602697"/>
          </a:xfrm>
        </p:spPr>
        <p:txBody>
          <a:bodyPr/>
          <a:lstStyle/>
          <a:p>
            <a:r>
              <a:rPr lang="en-US" sz="1600" dirty="0"/>
              <a:t>Module 1: Why SQL Server 2019</a:t>
            </a:r>
          </a:p>
          <a:p>
            <a:endParaRPr lang="en-US" sz="1600" dirty="0"/>
          </a:p>
          <a:p>
            <a:r>
              <a:rPr lang="en-US" sz="1600" dirty="0"/>
              <a:t>Module 2: Intelligent Performance</a:t>
            </a:r>
          </a:p>
          <a:p>
            <a:endParaRPr lang="en-US" sz="1600" dirty="0"/>
          </a:p>
          <a:p>
            <a:r>
              <a:rPr lang="en-US" sz="1600" dirty="0"/>
              <a:t>Module 3: New Security Capabilities</a:t>
            </a:r>
          </a:p>
          <a:p>
            <a:endParaRPr lang="en-US" sz="1600" dirty="0"/>
          </a:p>
          <a:p>
            <a:r>
              <a:rPr lang="en-US" sz="1600" dirty="0"/>
              <a:t>Module 4: Mission Critical Availability</a:t>
            </a:r>
          </a:p>
          <a:p>
            <a:endParaRPr lang="en-US" sz="1600" dirty="0"/>
          </a:p>
          <a:p>
            <a:r>
              <a:rPr lang="en-US" sz="1600" dirty="0"/>
              <a:t>Module 5: The Modern Development Platform</a:t>
            </a:r>
          </a:p>
          <a:p>
            <a:endParaRPr lang="en-US" sz="1600" dirty="0"/>
          </a:p>
          <a:p>
            <a:r>
              <a:rPr lang="en-US" sz="1600" dirty="0"/>
              <a:t>Module 6: SQL Server on Linux</a:t>
            </a:r>
          </a:p>
          <a:p>
            <a:endParaRPr lang="en-US" sz="1600" dirty="0"/>
          </a:p>
          <a:p>
            <a:r>
              <a:rPr lang="en-US" sz="1600" dirty="0"/>
              <a:t>Module 7: SQL Server Containers and Kubernetes</a:t>
            </a:r>
          </a:p>
          <a:p>
            <a:endParaRPr lang="en-US" sz="1600" dirty="0"/>
          </a:p>
          <a:p>
            <a:r>
              <a:rPr lang="en-US" sz="1600" dirty="0"/>
              <a:t>Module 8: SQL Server Data Virtualization</a:t>
            </a:r>
          </a:p>
          <a:p>
            <a:endParaRPr lang="en-US" sz="1600" dirty="0"/>
          </a:p>
          <a:p>
            <a:r>
              <a:rPr lang="en-US" sz="1600" dirty="0"/>
              <a:t>Module 9: What else is New</a:t>
            </a:r>
          </a:p>
          <a:p>
            <a:endParaRPr lang="en-US" sz="1600" dirty="0"/>
          </a:p>
          <a:p>
            <a:r>
              <a:rPr lang="en-US" sz="1600" dirty="0"/>
              <a:t>Module 10: Migration and Next Steps</a:t>
            </a:r>
          </a:p>
        </p:txBody>
      </p:sp>
    </p:spTree>
    <p:extLst>
      <p:ext uri="{BB962C8B-B14F-4D97-AF65-F5344CB8AC3E}">
        <p14:creationId xmlns:p14="http://schemas.microsoft.com/office/powerpoint/2010/main" val="4623536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86538-4736-4174-9D45-00834D141968}"/>
              </a:ext>
            </a:extLst>
          </p:cNvPr>
          <p:cNvSpPr>
            <a:spLocks noGrp="1"/>
          </p:cNvSpPr>
          <p:nvPr>
            <p:ph type="title"/>
          </p:nvPr>
        </p:nvSpPr>
        <p:spPr>
          <a:xfrm>
            <a:off x="489651" y="194264"/>
            <a:ext cx="11018520" cy="553998"/>
          </a:xfrm>
        </p:spPr>
        <p:txBody>
          <a:bodyPr/>
          <a:lstStyle/>
          <a:p>
            <a:r>
              <a:rPr lang="en-US" dirty="0"/>
              <a:t>Tempdb just runs faster (Planned Feature)</a:t>
            </a:r>
          </a:p>
        </p:txBody>
      </p:sp>
      <p:sp>
        <p:nvSpPr>
          <p:cNvPr id="3" name="Text Placeholder 2">
            <a:extLst>
              <a:ext uri="{FF2B5EF4-FFF2-40B4-BE49-F238E27FC236}">
                <a16:creationId xmlns:a16="http://schemas.microsoft.com/office/drawing/2014/main" id="{39CDF79B-C37B-496F-9F6B-99A3CABC3DD9}"/>
              </a:ext>
            </a:extLst>
          </p:cNvPr>
          <p:cNvSpPr>
            <a:spLocks noGrp="1"/>
          </p:cNvSpPr>
          <p:nvPr>
            <p:ph type="body" sz="quarter" idx="10"/>
          </p:nvPr>
        </p:nvSpPr>
        <p:spPr>
          <a:xfrm>
            <a:off x="586740" y="976680"/>
            <a:ext cx="11018520" cy="1615827"/>
          </a:xfrm>
          <a:solidFill>
            <a:schemeClr val="bg1">
              <a:lumMod val="85000"/>
            </a:schemeClr>
          </a:solidFill>
        </p:spPr>
        <p:txBody>
          <a:bodyPr/>
          <a:lstStyle/>
          <a:p>
            <a:pPr marL="0" indent="0">
              <a:buNone/>
            </a:pPr>
            <a:r>
              <a:rPr lang="en-US" b="1" dirty="0"/>
              <a:t>The problem(s)</a:t>
            </a:r>
          </a:p>
          <a:p>
            <a:pPr marL="0" indent="0">
              <a:buNone/>
            </a:pPr>
            <a:r>
              <a:rPr lang="en-US" dirty="0"/>
              <a:t>High multi-user rates of tempdb usage can lead to latency due to….</a:t>
            </a:r>
          </a:p>
          <a:p>
            <a:pPr marL="0" indent="0">
              <a:buNone/>
            </a:pPr>
            <a:r>
              <a:rPr lang="en-US" b="1" dirty="0"/>
              <a:t>allocation page latch waits – </a:t>
            </a:r>
            <a:r>
              <a:rPr lang="en-US" dirty="0"/>
              <a:t>Multiple users needing to allocate pages for temp tables</a:t>
            </a:r>
          </a:p>
          <a:p>
            <a:pPr marL="0" indent="0">
              <a:buNone/>
            </a:pPr>
            <a:r>
              <a:rPr lang="en-US" b="1" dirty="0"/>
              <a:t>system table page latch waits – </a:t>
            </a:r>
            <a:r>
              <a:rPr lang="en-US" dirty="0"/>
              <a:t>High rates of create/drop require system table modifications</a:t>
            </a:r>
          </a:p>
        </p:txBody>
      </p:sp>
      <p:graphicFrame>
        <p:nvGraphicFramePr>
          <p:cNvPr id="4" name="Diagram 3">
            <a:extLst>
              <a:ext uri="{FF2B5EF4-FFF2-40B4-BE49-F238E27FC236}">
                <a16:creationId xmlns:a16="http://schemas.microsoft.com/office/drawing/2014/main" id="{70D06CC2-37E7-45D1-98CE-4474C24F8CD8}"/>
              </a:ext>
            </a:extLst>
          </p:cNvPr>
          <p:cNvGraphicFramePr/>
          <p:nvPr>
            <p:extLst>
              <p:ext uri="{D42A27DB-BD31-4B8C-83A1-F6EECF244321}">
                <p14:modId xmlns:p14="http://schemas.microsoft.com/office/powerpoint/2010/main" val="3607656638"/>
              </p:ext>
            </p:extLst>
          </p:nvPr>
        </p:nvGraphicFramePr>
        <p:xfrm>
          <a:off x="246994" y="3137475"/>
          <a:ext cx="5418399" cy="349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ED38AEA-3BE5-473E-80B9-40C12A91D98D}"/>
              </a:ext>
            </a:extLst>
          </p:cNvPr>
          <p:cNvGraphicFramePr/>
          <p:nvPr>
            <p:extLst>
              <p:ext uri="{D42A27DB-BD31-4B8C-83A1-F6EECF244321}">
                <p14:modId xmlns:p14="http://schemas.microsoft.com/office/powerpoint/2010/main" val="1028971886"/>
              </p:ext>
            </p:extLst>
          </p:nvPr>
        </p:nvGraphicFramePr>
        <p:xfrm>
          <a:off x="6096000" y="3137476"/>
          <a:ext cx="5849006" cy="3499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0975F6C6-09ED-410E-9E3A-CA345BFFCBEE}"/>
              </a:ext>
            </a:extLst>
          </p:cNvPr>
          <p:cNvSpPr/>
          <p:nvPr/>
        </p:nvSpPr>
        <p:spPr bwMode="auto">
          <a:xfrm>
            <a:off x="6526609" y="5843239"/>
            <a:ext cx="4379284" cy="323385"/>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808960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3: New Security Capabilities</a:t>
            </a:r>
          </a:p>
        </p:txBody>
      </p:sp>
    </p:spTree>
    <p:extLst>
      <p:ext uri="{BB962C8B-B14F-4D97-AF65-F5344CB8AC3E}">
        <p14:creationId xmlns:p14="http://schemas.microsoft.com/office/powerpoint/2010/main" val="14899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732ACB7-C0E2-8548-B01C-7B04B3DE4A8D}"/>
              </a:ext>
            </a:extLst>
          </p:cNvPr>
          <p:cNvSpPr/>
          <p:nvPr/>
        </p:nvSpPr>
        <p:spPr>
          <a:xfrm>
            <a:off x="5233824" y="208645"/>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3" name="Title 2">
            <a:extLst>
              <a:ext uri="{FF2B5EF4-FFF2-40B4-BE49-F238E27FC236}">
                <a16:creationId xmlns:a16="http://schemas.microsoft.com/office/drawing/2014/main" id="{9E220FBC-FDF2-4518-BB4E-EB20C144C25C}"/>
              </a:ext>
            </a:extLst>
          </p:cNvPr>
          <p:cNvSpPr>
            <a:spLocks noGrp="1"/>
          </p:cNvSpPr>
          <p:nvPr>
            <p:ph type="title"/>
          </p:nvPr>
        </p:nvSpPr>
        <p:spPr>
          <a:xfrm>
            <a:off x="588263" y="457200"/>
            <a:ext cx="4412945" cy="1661993"/>
          </a:xfrm>
        </p:spPr>
        <p:txBody>
          <a:bodyPr/>
          <a:lstStyle/>
          <a:p>
            <a:pPr>
              <a:spcBef>
                <a:spcPts val="1200"/>
              </a:spcBef>
            </a:pPr>
            <a:r>
              <a:rPr lang="en-US" dirty="0"/>
              <a:t>Mission critical security</a:t>
            </a:r>
            <a:br>
              <a:rPr lang="en-US" dirty="0"/>
            </a:br>
            <a:r>
              <a:rPr lang="en-US" sz="2400" dirty="0">
                <a:solidFill>
                  <a:schemeClr val="accent1"/>
                </a:solidFill>
              </a:rPr>
              <a:t>Confidential computing</a:t>
            </a:r>
            <a:r>
              <a:rPr lang="en-US" dirty="0">
                <a:solidFill>
                  <a:schemeClr val="accent1"/>
                </a:solidFill>
              </a:rPr>
              <a:t> </a:t>
            </a:r>
            <a:r>
              <a:rPr lang="en-US" sz="2400" dirty="0">
                <a:solidFill>
                  <a:schemeClr val="accent1"/>
                </a:solidFill>
              </a:rPr>
              <a:t> </a:t>
            </a:r>
            <a:endParaRPr lang="en-US" sz="2400" dirty="0"/>
          </a:p>
        </p:txBody>
      </p:sp>
      <p:sp>
        <p:nvSpPr>
          <p:cNvPr id="6" name="Text Placeholder 5"/>
          <p:cNvSpPr>
            <a:spLocks noGrp="1"/>
          </p:cNvSpPr>
          <p:nvPr>
            <p:ph type="body" sz="quarter" idx="10"/>
          </p:nvPr>
        </p:nvSpPr>
        <p:spPr>
          <a:xfrm>
            <a:off x="584201" y="2360537"/>
            <a:ext cx="4062444" cy="2103140"/>
          </a:xfrm>
        </p:spPr>
        <p:txBody>
          <a:bodyPr/>
          <a:lstStyle/>
          <a:p>
            <a:pPr>
              <a:spcBef>
                <a:spcPts val="1000"/>
              </a:spcBef>
            </a:pPr>
            <a:r>
              <a:rPr lang="en-US" sz="2000" dirty="0"/>
              <a:t>Always Encrypted with secure enclaves</a:t>
            </a:r>
          </a:p>
          <a:p>
            <a:pPr>
              <a:spcBef>
                <a:spcPts val="1000"/>
              </a:spcBef>
            </a:pPr>
            <a:r>
              <a:rPr lang="en-US" sz="2000" dirty="0"/>
              <a:t>Data Classification and auditing built-in</a:t>
            </a:r>
          </a:p>
          <a:p>
            <a:pPr>
              <a:spcBef>
                <a:spcPts val="1000"/>
              </a:spcBef>
            </a:pPr>
            <a:r>
              <a:rPr lang="en-US" sz="2000" dirty="0"/>
              <a:t>Manage certificates easier with SQL Configuration Manager</a:t>
            </a:r>
          </a:p>
        </p:txBody>
      </p:sp>
      <p:sp>
        <p:nvSpPr>
          <p:cNvPr id="4" name="Rectangle 3">
            <a:extLst>
              <a:ext uri="{FF2B5EF4-FFF2-40B4-BE49-F238E27FC236}">
                <a16:creationId xmlns:a16="http://schemas.microsoft.com/office/drawing/2014/main" id="{AA8E8A6B-C689-4CD0-91C2-28C931D3B887}"/>
              </a:ext>
            </a:extLst>
          </p:cNvPr>
          <p:cNvSpPr/>
          <p:nvPr/>
        </p:nvSpPr>
        <p:spPr>
          <a:xfrm>
            <a:off x="6041230" y="1897550"/>
            <a:ext cx="3260556" cy="1466448"/>
          </a:xfrm>
          <a:prstGeom prst="rect">
            <a:avLst/>
          </a:prstGeom>
          <a:noFill/>
          <a:ln w="12700" cap="flat" cmpd="sng" algn="ctr">
            <a:solidFill>
              <a:srgbClr val="0078D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96FA711B-B0BD-408F-801A-7B2907AB60B8}"/>
              </a:ext>
            </a:extLst>
          </p:cNvPr>
          <p:cNvCxnSpPr>
            <a:cxnSpLocks/>
          </p:cNvCxnSpPr>
          <p:nvPr/>
        </p:nvCxnSpPr>
        <p:spPr>
          <a:xfrm>
            <a:off x="7157299" y="2729890"/>
            <a:ext cx="976705" cy="0"/>
          </a:xfrm>
          <a:prstGeom prst="straightConnector1">
            <a:avLst/>
          </a:prstGeom>
          <a:noFill/>
          <a:ln w="12700" cap="flat" cmpd="sng" algn="ctr">
            <a:solidFill>
              <a:srgbClr val="0078D7"/>
            </a:solidFill>
            <a:prstDash val="solid"/>
            <a:tailEnd type="triangle"/>
          </a:ln>
          <a:effectLst/>
        </p:spPr>
      </p:cxnSp>
      <p:cxnSp>
        <p:nvCxnSpPr>
          <p:cNvPr id="7" name="Straight Arrow Connector 6">
            <a:extLst>
              <a:ext uri="{FF2B5EF4-FFF2-40B4-BE49-F238E27FC236}">
                <a16:creationId xmlns:a16="http://schemas.microsoft.com/office/drawing/2014/main" id="{FAAA5185-5403-44A6-945A-CD5D761676E5}"/>
              </a:ext>
            </a:extLst>
          </p:cNvPr>
          <p:cNvCxnSpPr/>
          <p:nvPr/>
        </p:nvCxnSpPr>
        <p:spPr>
          <a:xfrm>
            <a:off x="7158683" y="2898599"/>
            <a:ext cx="973936" cy="0"/>
          </a:xfrm>
          <a:prstGeom prst="straightConnector1">
            <a:avLst/>
          </a:prstGeom>
          <a:noFill/>
          <a:ln w="12700" cap="flat" cmpd="sng" algn="ctr">
            <a:solidFill>
              <a:srgbClr val="0078D7"/>
            </a:solidFill>
            <a:prstDash val="solid"/>
            <a:headEnd type="triangle"/>
            <a:tailEnd type="none"/>
          </a:ln>
          <a:effectLst/>
        </p:spPr>
      </p:cxnSp>
      <p:sp>
        <p:nvSpPr>
          <p:cNvPr id="8" name="TextBox 7">
            <a:extLst>
              <a:ext uri="{FF2B5EF4-FFF2-40B4-BE49-F238E27FC236}">
                <a16:creationId xmlns:a16="http://schemas.microsoft.com/office/drawing/2014/main" id="{0B803B41-8081-4247-966C-91EABFFAFBEE}"/>
              </a:ext>
            </a:extLst>
          </p:cNvPr>
          <p:cNvSpPr txBox="1"/>
          <p:nvPr/>
        </p:nvSpPr>
        <p:spPr>
          <a:xfrm>
            <a:off x="7265579" y="245455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9" name="Group 8">
            <a:extLst>
              <a:ext uri="{FF2B5EF4-FFF2-40B4-BE49-F238E27FC236}">
                <a16:creationId xmlns:a16="http://schemas.microsoft.com/office/drawing/2014/main" id="{B3F8E6E6-625C-4D50-8130-4FD69E62418E}"/>
              </a:ext>
            </a:extLst>
          </p:cNvPr>
          <p:cNvGrpSpPr/>
          <p:nvPr/>
        </p:nvGrpSpPr>
        <p:grpSpPr>
          <a:xfrm>
            <a:off x="9178746" y="2729890"/>
            <a:ext cx="1080557" cy="165753"/>
            <a:chOff x="9569865" y="3406625"/>
            <a:chExt cx="1080557" cy="165753"/>
          </a:xfrm>
        </p:grpSpPr>
        <p:cxnSp>
          <p:nvCxnSpPr>
            <p:cNvPr id="10" name="Straight Arrow Connector 9">
              <a:extLst>
                <a:ext uri="{FF2B5EF4-FFF2-40B4-BE49-F238E27FC236}">
                  <a16:creationId xmlns:a16="http://schemas.microsoft.com/office/drawing/2014/main" id="{1704104A-1ED0-462B-A598-DDA461D3B2D8}"/>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1" name="Straight Arrow Connector 10">
              <a:extLst>
                <a:ext uri="{FF2B5EF4-FFF2-40B4-BE49-F238E27FC236}">
                  <a16:creationId xmlns:a16="http://schemas.microsoft.com/office/drawing/2014/main" id="{3ED91828-9E4E-4232-9D2D-385BBFFA242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2" name="TextBox 11">
            <a:extLst>
              <a:ext uri="{FF2B5EF4-FFF2-40B4-BE49-F238E27FC236}">
                <a16:creationId xmlns:a16="http://schemas.microsoft.com/office/drawing/2014/main" id="{E7017891-DE9E-44CE-AEA0-0A68778604CF}"/>
              </a:ext>
            </a:extLst>
          </p:cNvPr>
          <p:cNvSpPr txBox="1"/>
          <p:nvPr/>
        </p:nvSpPr>
        <p:spPr>
          <a:xfrm>
            <a:off x="9325536" y="2454550"/>
            <a:ext cx="80502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sp>
        <p:nvSpPr>
          <p:cNvPr id="13" name="TextBox 12">
            <a:extLst>
              <a:ext uri="{FF2B5EF4-FFF2-40B4-BE49-F238E27FC236}">
                <a16:creationId xmlns:a16="http://schemas.microsoft.com/office/drawing/2014/main" id="{2E057808-5648-4F7C-A275-52A1A27BF241}"/>
              </a:ext>
            </a:extLst>
          </p:cNvPr>
          <p:cNvSpPr txBox="1"/>
          <p:nvPr/>
        </p:nvSpPr>
        <p:spPr>
          <a:xfrm>
            <a:off x="8113702" y="2809575"/>
            <a:ext cx="976946" cy="400110"/>
          </a:xfrm>
          <a:prstGeom prst="rect">
            <a:avLst/>
          </a:prstGeom>
          <a:noFill/>
          <a:ln w="12700">
            <a:noFill/>
          </a:ln>
        </p:spPr>
        <p:txBody>
          <a:bodyPr wrap="square" lIns="91440" tIns="45720" rIns="91440" bIns="45720" rtlCol="0" anchor="ctr" anchorCtr="0">
            <a:spAutoFit/>
          </a:bodyPr>
          <a:lstStyle/>
          <a:p>
            <a:pPr algn="ctr" defTabSz="931326">
              <a:defRPr/>
            </a:pPr>
            <a:r>
              <a:rPr lang="en-US" sz="1000" kern="0" dirty="0">
                <a:solidFill>
                  <a:srgbClr val="0078D7"/>
                </a:solidFill>
                <a:latin typeface="+mj-lt"/>
                <a:cs typeface="Segoe UI Semilight" panose="020B0402040204020203" pitchFamily="34" charset="0"/>
              </a:rPr>
              <a:t>Enhanced client driver</a:t>
            </a:r>
          </a:p>
        </p:txBody>
      </p:sp>
      <p:grpSp>
        <p:nvGrpSpPr>
          <p:cNvPr id="27" name="Group 26">
            <a:extLst>
              <a:ext uri="{FF2B5EF4-FFF2-40B4-BE49-F238E27FC236}">
                <a16:creationId xmlns:a16="http://schemas.microsoft.com/office/drawing/2014/main" id="{4EB423A2-5C45-4507-B684-C4C61615BFCE}"/>
              </a:ext>
            </a:extLst>
          </p:cNvPr>
          <p:cNvGrpSpPr/>
          <p:nvPr/>
        </p:nvGrpSpPr>
        <p:grpSpPr>
          <a:xfrm>
            <a:off x="7523444" y="2156754"/>
            <a:ext cx="244414" cy="299196"/>
            <a:chOff x="965200" y="3436897"/>
            <a:chExt cx="528881" cy="647424"/>
          </a:xfrm>
        </p:grpSpPr>
        <p:grpSp>
          <p:nvGrpSpPr>
            <p:cNvPr id="28" name="Group 27">
              <a:extLst>
                <a:ext uri="{FF2B5EF4-FFF2-40B4-BE49-F238E27FC236}">
                  <a16:creationId xmlns:a16="http://schemas.microsoft.com/office/drawing/2014/main" id="{9184A720-944F-4627-877A-09688F4E1095}"/>
                </a:ext>
              </a:extLst>
            </p:cNvPr>
            <p:cNvGrpSpPr/>
            <p:nvPr/>
          </p:nvGrpSpPr>
          <p:grpSpPr>
            <a:xfrm flipH="1">
              <a:off x="965200" y="3436897"/>
              <a:ext cx="528881" cy="647424"/>
              <a:chOff x="3003960" y="3685414"/>
              <a:chExt cx="403310" cy="493707"/>
            </a:xfrm>
          </p:grpSpPr>
          <p:sp>
            <p:nvSpPr>
              <p:cNvPr id="33" name="Snip Single Corner Rectangle 26">
                <a:extLst>
                  <a:ext uri="{FF2B5EF4-FFF2-40B4-BE49-F238E27FC236}">
                    <a16:creationId xmlns:a16="http://schemas.microsoft.com/office/drawing/2014/main" id="{DAB6C958-82BA-48F5-BDD1-1694FB1DACB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riangle 27">
                <a:extLst>
                  <a:ext uri="{FF2B5EF4-FFF2-40B4-BE49-F238E27FC236}">
                    <a16:creationId xmlns:a16="http://schemas.microsoft.com/office/drawing/2014/main" id="{5CB84738-C587-4704-AFD0-457F16DF506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AC02BD27-2022-4667-ABA7-8A0508294AC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30" name="Straight Connector 29">
              <a:extLst>
                <a:ext uri="{FF2B5EF4-FFF2-40B4-BE49-F238E27FC236}">
                  <a16:creationId xmlns:a16="http://schemas.microsoft.com/office/drawing/2014/main" id="{78F9C4B8-EE0D-448E-893E-05930D299AB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31" name="Straight Connector 30">
              <a:extLst>
                <a:ext uri="{FF2B5EF4-FFF2-40B4-BE49-F238E27FC236}">
                  <a16:creationId xmlns:a16="http://schemas.microsoft.com/office/drawing/2014/main" id="{7DAB9D18-CA43-4180-87CE-4FB9AA88372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32" name="Straight Connector 31">
              <a:extLst>
                <a:ext uri="{FF2B5EF4-FFF2-40B4-BE49-F238E27FC236}">
                  <a16:creationId xmlns:a16="http://schemas.microsoft.com/office/drawing/2014/main" id="{C0C46C65-660E-4D01-B514-B3223BF1F789}"/>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36" name="Group 35">
            <a:extLst>
              <a:ext uri="{FF2B5EF4-FFF2-40B4-BE49-F238E27FC236}">
                <a16:creationId xmlns:a16="http://schemas.microsoft.com/office/drawing/2014/main" id="{F2278E99-6799-4FAA-97FD-E82AD7F413A2}"/>
              </a:ext>
            </a:extLst>
          </p:cNvPr>
          <p:cNvGrpSpPr/>
          <p:nvPr/>
        </p:nvGrpSpPr>
        <p:grpSpPr>
          <a:xfrm>
            <a:off x="9571675" y="2129423"/>
            <a:ext cx="244414" cy="299196"/>
            <a:chOff x="965200" y="3436897"/>
            <a:chExt cx="528881" cy="647424"/>
          </a:xfrm>
        </p:grpSpPr>
        <p:grpSp>
          <p:nvGrpSpPr>
            <p:cNvPr id="40" name="Group 39">
              <a:extLst>
                <a:ext uri="{FF2B5EF4-FFF2-40B4-BE49-F238E27FC236}">
                  <a16:creationId xmlns:a16="http://schemas.microsoft.com/office/drawing/2014/main" id="{D47CADD1-4331-412D-9621-4EE253076BE2}"/>
                </a:ext>
              </a:extLst>
            </p:cNvPr>
            <p:cNvGrpSpPr/>
            <p:nvPr/>
          </p:nvGrpSpPr>
          <p:grpSpPr>
            <a:xfrm flipH="1">
              <a:off x="965200" y="3436897"/>
              <a:ext cx="528881" cy="647424"/>
              <a:chOff x="3003960" y="3685414"/>
              <a:chExt cx="403310" cy="493707"/>
            </a:xfrm>
          </p:grpSpPr>
          <p:sp>
            <p:nvSpPr>
              <p:cNvPr id="45" name="Snip Single Corner Rectangle 26">
                <a:extLst>
                  <a:ext uri="{FF2B5EF4-FFF2-40B4-BE49-F238E27FC236}">
                    <a16:creationId xmlns:a16="http://schemas.microsoft.com/office/drawing/2014/main" id="{9F1AD471-A738-44CB-AF9D-4537B710093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riangle 27">
                <a:extLst>
                  <a:ext uri="{FF2B5EF4-FFF2-40B4-BE49-F238E27FC236}">
                    <a16:creationId xmlns:a16="http://schemas.microsoft.com/office/drawing/2014/main" id="{786FAC98-0EE2-4BB5-A333-1524842C4A4E}"/>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1" name="Straight Connector 40">
              <a:extLst>
                <a:ext uri="{FF2B5EF4-FFF2-40B4-BE49-F238E27FC236}">
                  <a16:creationId xmlns:a16="http://schemas.microsoft.com/office/drawing/2014/main" id="{0EBAA66F-31A9-4543-B42C-5F814DE6C6A4}"/>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42" name="Straight Connector 41">
              <a:extLst>
                <a:ext uri="{FF2B5EF4-FFF2-40B4-BE49-F238E27FC236}">
                  <a16:creationId xmlns:a16="http://schemas.microsoft.com/office/drawing/2014/main" id="{C0CE8B7D-1AE2-44A8-941B-75B39597EBA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43" name="Straight Connector 42">
              <a:extLst>
                <a:ext uri="{FF2B5EF4-FFF2-40B4-BE49-F238E27FC236}">
                  <a16:creationId xmlns:a16="http://schemas.microsoft.com/office/drawing/2014/main" id="{A2E1761C-F16D-4637-9714-3F6EF02BBAD1}"/>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44" name="Straight Connector 43">
              <a:extLst>
                <a:ext uri="{FF2B5EF4-FFF2-40B4-BE49-F238E27FC236}">
                  <a16:creationId xmlns:a16="http://schemas.microsoft.com/office/drawing/2014/main" id="{C6C0A452-471A-47AA-B729-6300D3948296}"/>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47" name="Group 46">
            <a:extLst>
              <a:ext uri="{FF2B5EF4-FFF2-40B4-BE49-F238E27FC236}">
                <a16:creationId xmlns:a16="http://schemas.microsoft.com/office/drawing/2014/main" id="{C29D056D-8C11-4EF8-8A9C-69B805AF8CA9}"/>
              </a:ext>
            </a:extLst>
          </p:cNvPr>
          <p:cNvGrpSpPr/>
          <p:nvPr/>
        </p:nvGrpSpPr>
        <p:grpSpPr>
          <a:xfrm>
            <a:off x="8293004" y="2248517"/>
            <a:ext cx="642308" cy="627326"/>
            <a:chOff x="8862080" y="3437983"/>
            <a:chExt cx="222735" cy="217542"/>
          </a:xfrm>
          <a:solidFill>
            <a:schemeClr val="accent1"/>
          </a:solidFill>
        </p:grpSpPr>
        <p:sp>
          <p:nvSpPr>
            <p:cNvPr id="48" name="Freeform: Shape 119">
              <a:extLst>
                <a:ext uri="{FF2B5EF4-FFF2-40B4-BE49-F238E27FC236}">
                  <a16:creationId xmlns:a16="http://schemas.microsoft.com/office/drawing/2014/main" id="{DE4D2445-3FBD-4994-B635-9FC2C8B15E4B}"/>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120">
              <a:extLst>
                <a:ext uri="{FF2B5EF4-FFF2-40B4-BE49-F238E27FC236}">
                  <a16:creationId xmlns:a16="http://schemas.microsoft.com/office/drawing/2014/main" id="{9390A076-63B6-4173-BB65-976D5D37C926}"/>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3" name="Rectangle 52">
            <a:extLst>
              <a:ext uri="{FF2B5EF4-FFF2-40B4-BE49-F238E27FC236}">
                <a16:creationId xmlns:a16="http://schemas.microsoft.com/office/drawing/2014/main" id="{0356FC3B-08EA-4C0C-A805-3D169496D5A7}"/>
              </a:ext>
            </a:extLst>
          </p:cNvPr>
          <p:cNvSpPr/>
          <p:nvPr/>
        </p:nvSpPr>
        <p:spPr>
          <a:xfrm>
            <a:off x="9955978" y="3871088"/>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57" name="TextBox 56">
            <a:extLst>
              <a:ext uri="{FF2B5EF4-FFF2-40B4-BE49-F238E27FC236}">
                <a16:creationId xmlns:a16="http://schemas.microsoft.com/office/drawing/2014/main" id="{449295E5-8165-4BAD-8AFA-49970E5C598D}"/>
              </a:ext>
            </a:extLst>
          </p:cNvPr>
          <p:cNvSpPr txBox="1"/>
          <p:nvPr/>
        </p:nvSpPr>
        <p:spPr>
          <a:xfrm>
            <a:off x="10234275" y="446981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58" name="Group 57">
            <a:extLst>
              <a:ext uri="{FF2B5EF4-FFF2-40B4-BE49-F238E27FC236}">
                <a16:creationId xmlns:a16="http://schemas.microsoft.com/office/drawing/2014/main" id="{E1179ED0-F8A8-4C96-B796-DAF24648F990}"/>
              </a:ext>
            </a:extLst>
          </p:cNvPr>
          <p:cNvGrpSpPr/>
          <p:nvPr/>
        </p:nvGrpSpPr>
        <p:grpSpPr>
          <a:xfrm>
            <a:off x="10492140" y="4172014"/>
            <a:ext cx="244414" cy="299196"/>
            <a:chOff x="965200" y="3436897"/>
            <a:chExt cx="528881" cy="647424"/>
          </a:xfrm>
        </p:grpSpPr>
        <p:grpSp>
          <p:nvGrpSpPr>
            <p:cNvPr id="59" name="Group 58">
              <a:extLst>
                <a:ext uri="{FF2B5EF4-FFF2-40B4-BE49-F238E27FC236}">
                  <a16:creationId xmlns:a16="http://schemas.microsoft.com/office/drawing/2014/main" id="{5144156C-D9AC-4EF0-92E5-AE0D6FE58AD2}"/>
                </a:ext>
              </a:extLst>
            </p:cNvPr>
            <p:cNvGrpSpPr/>
            <p:nvPr/>
          </p:nvGrpSpPr>
          <p:grpSpPr>
            <a:xfrm flipH="1">
              <a:off x="965200" y="3436897"/>
              <a:ext cx="528881" cy="647424"/>
              <a:chOff x="3003960" y="3685414"/>
              <a:chExt cx="403310" cy="493707"/>
            </a:xfrm>
          </p:grpSpPr>
          <p:sp>
            <p:nvSpPr>
              <p:cNvPr id="64" name="Snip Single Corner Rectangle 26">
                <a:extLst>
                  <a:ext uri="{FF2B5EF4-FFF2-40B4-BE49-F238E27FC236}">
                    <a16:creationId xmlns:a16="http://schemas.microsoft.com/office/drawing/2014/main" id="{4B7B5263-C14C-4E43-B28A-BFC13F27E74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riangle 27">
                <a:extLst>
                  <a:ext uri="{FF2B5EF4-FFF2-40B4-BE49-F238E27FC236}">
                    <a16:creationId xmlns:a16="http://schemas.microsoft.com/office/drawing/2014/main" id="{91C9A7B9-8429-4529-A0D3-61BF2FCE6D1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0" name="Straight Connector 59">
              <a:extLst>
                <a:ext uri="{FF2B5EF4-FFF2-40B4-BE49-F238E27FC236}">
                  <a16:creationId xmlns:a16="http://schemas.microsoft.com/office/drawing/2014/main" id="{0393D566-7D40-47CE-9E8B-B7EE8E02FA41}"/>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1" name="Straight Connector 60">
              <a:extLst>
                <a:ext uri="{FF2B5EF4-FFF2-40B4-BE49-F238E27FC236}">
                  <a16:creationId xmlns:a16="http://schemas.microsoft.com/office/drawing/2014/main" id="{A22AAAFE-8E73-45B3-B405-F64DDA6ABE10}"/>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62B82A00-416D-410A-ADC6-1B1EA2DCAB8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E3FB013A-9FA4-4466-9FCF-64713FF42761}"/>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66" name="Group 65">
            <a:extLst>
              <a:ext uri="{FF2B5EF4-FFF2-40B4-BE49-F238E27FC236}">
                <a16:creationId xmlns:a16="http://schemas.microsoft.com/office/drawing/2014/main" id="{7F2DD1E0-FC57-4BEC-B5CF-7F1CE1233A8B}"/>
              </a:ext>
            </a:extLst>
          </p:cNvPr>
          <p:cNvGrpSpPr/>
          <p:nvPr/>
        </p:nvGrpSpPr>
        <p:grpSpPr>
          <a:xfrm>
            <a:off x="10531470" y="3181276"/>
            <a:ext cx="165754" cy="851821"/>
            <a:chOff x="10621938" y="3597012"/>
            <a:chExt cx="165754" cy="1080557"/>
          </a:xfrm>
        </p:grpSpPr>
        <p:cxnSp>
          <p:nvCxnSpPr>
            <p:cNvPr id="67" name="Straight Arrow Connector 66">
              <a:extLst>
                <a:ext uri="{FF2B5EF4-FFF2-40B4-BE49-F238E27FC236}">
                  <a16:creationId xmlns:a16="http://schemas.microsoft.com/office/drawing/2014/main" id="{C907AAA6-0AD4-43A5-8467-8F4C77C916CC}"/>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68" name="Straight Arrow Connector 67">
              <a:extLst>
                <a:ext uri="{FF2B5EF4-FFF2-40B4-BE49-F238E27FC236}">
                  <a16:creationId xmlns:a16="http://schemas.microsoft.com/office/drawing/2014/main" id="{F9B9D081-FA1E-4FE8-A7F0-6883BFC6B2FA}"/>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71" name="Group 70">
            <a:extLst>
              <a:ext uri="{FF2B5EF4-FFF2-40B4-BE49-F238E27FC236}">
                <a16:creationId xmlns:a16="http://schemas.microsoft.com/office/drawing/2014/main" id="{772A9BFA-16E9-4129-99C6-0556AB2DC83B}"/>
              </a:ext>
            </a:extLst>
          </p:cNvPr>
          <p:cNvGrpSpPr/>
          <p:nvPr/>
        </p:nvGrpSpPr>
        <p:grpSpPr>
          <a:xfrm>
            <a:off x="6327642" y="2378922"/>
            <a:ext cx="650980" cy="630708"/>
            <a:chOff x="7157554" y="1735934"/>
            <a:chExt cx="397423" cy="398542"/>
          </a:xfrm>
        </p:grpSpPr>
        <p:grpSp>
          <p:nvGrpSpPr>
            <p:cNvPr id="72" name="Group 71">
              <a:extLst>
                <a:ext uri="{FF2B5EF4-FFF2-40B4-BE49-F238E27FC236}">
                  <a16:creationId xmlns:a16="http://schemas.microsoft.com/office/drawing/2014/main" id="{2A9BB19F-F441-473C-BE16-70E943A71330}"/>
                </a:ext>
              </a:extLst>
            </p:cNvPr>
            <p:cNvGrpSpPr/>
            <p:nvPr/>
          </p:nvGrpSpPr>
          <p:grpSpPr>
            <a:xfrm>
              <a:off x="7157554" y="1735934"/>
              <a:ext cx="397423" cy="398542"/>
              <a:chOff x="2107244" y="1575258"/>
              <a:chExt cx="310993" cy="264555"/>
            </a:xfrm>
            <a:solidFill>
              <a:srgbClr val="0078D7"/>
            </a:solidFill>
          </p:grpSpPr>
          <p:sp>
            <p:nvSpPr>
              <p:cNvPr id="77" name="Rectangle 9">
                <a:extLst>
                  <a:ext uri="{FF2B5EF4-FFF2-40B4-BE49-F238E27FC236}">
                    <a16:creationId xmlns:a16="http://schemas.microsoft.com/office/drawing/2014/main" id="{02C1397E-B4B7-4BAF-A686-C516F32C29D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78" name="Line 10">
                <a:extLst>
                  <a:ext uri="{FF2B5EF4-FFF2-40B4-BE49-F238E27FC236}">
                    <a16:creationId xmlns:a16="http://schemas.microsoft.com/office/drawing/2014/main" id="{F6212223-F4E8-42CA-95F4-CFFA7B88C79B}"/>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70E2C85F-1592-49A0-8C1D-D4C966D200B2}"/>
                </a:ext>
              </a:extLst>
            </p:cNvPr>
            <p:cNvGrpSpPr/>
            <p:nvPr/>
          </p:nvGrpSpPr>
          <p:grpSpPr>
            <a:xfrm>
              <a:off x="7264761" y="1903738"/>
              <a:ext cx="191394" cy="180132"/>
              <a:chOff x="2202934" y="1701907"/>
              <a:chExt cx="95690" cy="90061"/>
            </a:xfrm>
            <a:solidFill>
              <a:srgbClr val="50E6FF"/>
            </a:solidFill>
          </p:grpSpPr>
          <p:sp>
            <p:nvSpPr>
              <p:cNvPr id="75" name="Freeform 14">
                <a:extLst>
                  <a:ext uri="{FF2B5EF4-FFF2-40B4-BE49-F238E27FC236}">
                    <a16:creationId xmlns:a16="http://schemas.microsoft.com/office/drawing/2014/main" id="{58D81EDB-E3F4-4AF1-9EDF-2239059EA32A}"/>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6" name="Line 15">
                <a:extLst>
                  <a:ext uri="{FF2B5EF4-FFF2-40B4-BE49-F238E27FC236}">
                    <a16:creationId xmlns:a16="http://schemas.microsoft.com/office/drawing/2014/main" id="{5E250BBD-B2DE-466B-9279-FA8AF0767027}"/>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74" name="Oval 73">
              <a:extLst>
                <a:ext uri="{FF2B5EF4-FFF2-40B4-BE49-F238E27FC236}">
                  <a16:creationId xmlns:a16="http://schemas.microsoft.com/office/drawing/2014/main" id="{5DE10759-BCFD-4497-B073-1F748C652D56}"/>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81" name="Group 80">
            <a:extLst>
              <a:ext uri="{FF2B5EF4-FFF2-40B4-BE49-F238E27FC236}">
                <a16:creationId xmlns:a16="http://schemas.microsoft.com/office/drawing/2014/main" id="{C7B9654B-AE57-4048-92EA-A788966440BD}"/>
              </a:ext>
            </a:extLst>
          </p:cNvPr>
          <p:cNvGrpSpPr/>
          <p:nvPr/>
        </p:nvGrpSpPr>
        <p:grpSpPr>
          <a:xfrm>
            <a:off x="10364764" y="2429570"/>
            <a:ext cx="499166" cy="640202"/>
            <a:chOff x="10344945" y="2179929"/>
            <a:chExt cx="401613" cy="515089"/>
          </a:xfrm>
        </p:grpSpPr>
        <p:sp>
          <p:nvSpPr>
            <p:cNvPr id="80" name="Rectangle 79">
              <a:extLst>
                <a:ext uri="{FF2B5EF4-FFF2-40B4-BE49-F238E27FC236}">
                  <a16:creationId xmlns:a16="http://schemas.microsoft.com/office/drawing/2014/main" id="{530325F3-9864-4347-89CA-D107443BCE6A}"/>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79" name="Freeform 188">
              <a:extLst>
                <a:ext uri="{FF2B5EF4-FFF2-40B4-BE49-F238E27FC236}">
                  <a16:creationId xmlns:a16="http://schemas.microsoft.com/office/drawing/2014/main" id="{40046D7E-4D3B-4B4E-8B82-D1476999180A}"/>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2" name="Group 81">
            <a:extLst>
              <a:ext uri="{FF2B5EF4-FFF2-40B4-BE49-F238E27FC236}">
                <a16:creationId xmlns:a16="http://schemas.microsoft.com/office/drawing/2014/main" id="{234E46A2-A761-4E53-9F28-FDA7DBE81DBB}"/>
              </a:ext>
            </a:extLst>
          </p:cNvPr>
          <p:cNvGrpSpPr/>
          <p:nvPr/>
        </p:nvGrpSpPr>
        <p:grpSpPr>
          <a:xfrm>
            <a:off x="5979243" y="3009630"/>
            <a:ext cx="344110" cy="452325"/>
            <a:chOff x="4373323" y="1855264"/>
            <a:chExt cx="2771333" cy="3642856"/>
          </a:xfrm>
        </p:grpSpPr>
        <p:sp>
          <p:nvSpPr>
            <p:cNvPr id="83" name="Freeform: Shape 82">
              <a:extLst>
                <a:ext uri="{FF2B5EF4-FFF2-40B4-BE49-F238E27FC236}">
                  <a16:creationId xmlns:a16="http://schemas.microsoft.com/office/drawing/2014/main" id="{F8B363C5-416D-4EC0-902B-A2ADBB773B9C}"/>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4" name="Freeform: Shape 83">
              <a:extLst>
                <a:ext uri="{FF2B5EF4-FFF2-40B4-BE49-F238E27FC236}">
                  <a16:creationId xmlns:a16="http://schemas.microsoft.com/office/drawing/2014/main" id="{C76676B6-5B8F-4FFD-8F06-E026831BDA1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5" name="Group 84">
            <a:extLst>
              <a:ext uri="{FF2B5EF4-FFF2-40B4-BE49-F238E27FC236}">
                <a16:creationId xmlns:a16="http://schemas.microsoft.com/office/drawing/2014/main" id="{F56068D5-DC04-49DC-B4C3-298048610FE2}"/>
              </a:ext>
            </a:extLst>
          </p:cNvPr>
          <p:cNvGrpSpPr/>
          <p:nvPr/>
        </p:nvGrpSpPr>
        <p:grpSpPr>
          <a:xfrm>
            <a:off x="9910894" y="4678796"/>
            <a:ext cx="344110" cy="452325"/>
            <a:chOff x="4373323" y="1855264"/>
            <a:chExt cx="2771333" cy="3642856"/>
          </a:xfrm>
        </p:grpSpPr>
        <p:sp>
          <p:nvSpPr>
            <p:cNvPr id="86" name="Freeform: Shape 85">
              <a:extLst>
                <a:ext uri="{FF2B5EF4-FFF2-40B4-BE49-F238E27FC236}">
                  <a16:creationId xmlns:a16="http://schemas.microsoft.com/office/drawing/2014/main" id="{17317ED5-A95B-4079-9F03-E4AFA6975CF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7" name="Freeform: Shape 86">
              <a:extLst>
                <a:ext uri="{FF2B5EF4-FFF2-40B4-BE49-F238E27FC236}">
                  <a16:creationId xmlns:a16="http://schemas.microsoft.com/office/drawing/2014/main" id="{CB3BB067-760E-415B-B83E-5A9A20E8C61A}"/>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8" name="Group 87">
            <a:extLst>
              <a:ext uri="{FF2B5EF4-FFF2-40B4-BE49-F238E27FC236}">
                <a16:creationId xmlns:a16="http://schemas.microsoft.com/office/drawing/2014/main" id="{48451ECF-1B8F-4F36-8439-17585B6596AA}"/>
              </a:ext>
            </a:extLst>
          </p:cNvPr>
          <p:cNvGrpSpPr/>
          <p:nvPr/>
        </p:nvGrpSpPr>
        <p:grpSpPr>
          <a:xfrm>
            <a:off x="9783903" y="2296944"/>
            <a:ext cx="147488" cy="193870"/>
            <a:chOff x="4373323" y="1855264"/>
            <a:chExt cx="2771333" cy="3642856"/>
          </a:xfrm>
        </p:grpSpPr>
        <p:sp>
          <p:nvSpPr>
            <p:cNvPr id="89" name="Freeform: Shape 88">
              <a:extLst>
                <a:ext uri="{FF2B5EF4-FFF2-40B4-BE49-F238E27FC236}">
                  <a16:creationId xmlns:a16="http://schemas.microsoft.com/office/drawing/2014/main" id="{67102BBD-4490-41A8-B46E-4EB194B8CC5E}"/>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0" name="Freeform: Shape 89">
              <a:extLst>
                <a:ext uri="{FF2B5EF4-FFF2-40B4-BE49-F238E27FC236}">
                  <a16:creationId xmlns:a16="http://schemas.microsoft.com/office/drawing/2014/main" id="{42E58A83-BBD4-4660-B31C-EB64BF56ACD8}"/>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1" name="TextBox 90">
            <a:extLst>
              <a:ext uri="{FF2B5EF4-FFF2-40B4-BE49-F238E27FC236}">
                <a16:creationId xmlns:a16="http://schemas.microsoft.com/office/drawing/2014/main" id="{5AA3326B-E831-4B30-BF92-1379DDD4E1F2}"/>
              </a:ext>
            </a:extLst>
          </p:cNvPr>
          <p:cNvSpPr txBox="1"/>
          <p:nvPr/>
        </p:nvSpPr>
        <p:spPr>
          <a:xfrm>
            <a:off x="5764979" y="568999"/>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lways Encrypted with secure enclaves</a:t>
            </a:r>
          </a:p>
        </p:txBody>
      </p:sp>
    </p:spTree>
    <p:extLst>
      <p:ext uri="{BB962C8B-B14F-4D97-AF65-F5344CB8AC3E}">
        <p14:creationId xmlns:p14="http://schemas.microsoft.com/office/powerpoint/2010/main" val="1122910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588263" y="353096"/>
            <a:ext cx="11018520" cy="553998"/>
          </a:xfrm>
        </p:spPr>
        <p:txBody>
          <a:bodyPr/>
          <a:lstStyle/>
          <a:p>
            <a:r>
              <a:rPr lang="en-US" dirty="0"/>
              <a:t>Data Classification and Auditing</a:t>
            </a:r>
          </a:p>
        </p:txBody>
      </p:sp>
      <p:pic>
        <p:nvPicPr>
          <p:cNvPr id="5" name="Picture 4">
            <a:extLst>
              <a:ext uri="{FF2B5EF4-FFF2-40B4-BE49-F238E27FC236}">
                <a16:creationId xmlns:a16="http://schemas.microsoft.com/office/drawing/2014/main" id="{ECEEF45B-ADF1-406C-B231-20FF9156F5A2}"/>
              </a:ext>
            </a:extLst>
          </p:cNvPr>
          <p:cNvPicPr>
            <a:picLocks noChangeAspect="1"/>
          </p:cNvPicPr>
          <p:nvPr/>
        </p:nvPicPr>
        <p:blipFill>
          <a:blip r:embed="rId3"/>
          <a:stretch>
            <a:fillRect/>
          </a:stretch>
        </p:blipFill>
        <p:spPr>
          <a:xfrm>
            <a:off x="588263" y="2860055"/>
            <a:ext cx="4375674" cy="2367878"/>
          </a:xfrm>
          <a:prstGeom prst="rect">
            <a:avLst/>
          </a:prstGeom>
        </p:spPr>
      </p:pic>
      <p:sp>
        <p:nvSpPr>
          <p:cNvPr id="6" name="TextBox 5">
            <a:extLst>
              <a:ext uri="{FF2B5EF4-FFF2-40B4-BE49-F238E27FC236}">
                <a16:creationId xmlns:a16="http://schemas.microsoft.com/office/drawing/2014/main" id="{A21289FC-8B65-482A-BDED-67EBEB96D433}"/>
              </a:ext>
            </a:extLst>
          </p:cNvPr>
          <p:cNvSpPr txBox="1"/>
          <p:nvPr/>
        </p:nvSpPr>
        <p:spPr>
          <a:xfrm>
            <a:off x="588263" y="2398390"/>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7</a:t>
            </a:r>
          </a:p>
        </p:txBody>
      </p:sp>
      <p:sp>
        <p:nvSpPr>
          <p:cNvPr id="7" name="TextBox 6">
            <a:extLst>
              <a:ext uri="{FF2B5EF4-FFF2-40B4-BE49-F238E27FC236}">
                <a16:creationId xmlns:a16="http://schemas.microsoft.com/office/drawing/2014/main" id="{48BE313C-E370-460E-8929-9B419CB6C4E2}"/>
              </a:ext>
            </a:extLst>
          </p:cNvPr>
          <p:cNvSpPr txBox="1"/>
          <p:nvPr/>
        </p:nvSpPr>
        <p:spPr>
          <a:xfrm>
            <a:off x="6370498" y="2706167"/>
            <a:ext cx="471321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 and Azure SQL Database</a:t>
            </a:r>
          </a:p>
        </p:txBody>
      </p:sp>
      <p:sp>
        <p:nvSpPr>
          <p:cNvPr id="8" name="Rectangle 7">
            <a:extLst>
              <a:ext uri="{FF2B5EF4-FFF2-40B4-BE49-F238E27FC236}">
                <a16:creationId xmlns:a16="http://schemas.microsoft.com/office/drawing/2014/main" id="{6D7515E9-1671-44DD-9EB5-983BC81CD3AE}"/>
              </a:ext>
            </a:extLst>
          </p:cNvPr>
          <p:cNvSpPr/>
          <p:nvPr/>
        </p:nvSpPr>
        <p:spPr>
          <a:xfrm>
            <a:off x="6697145" y="3205715"/>
            <a:ext cx="4455459" cy="1178784"/>
          </a:xfrm>
          <a:prstGeom prst="rect">
            <a:avLst/>
          </a:prstGeom>
        </p:spPr>
        <p:txBody>
          <a:bodyPr wrap="square">
            <a:spAutoFit/>
          </a:bodyPr>
          <a:lstStyle/>
          <a:p>
            <a:r>
              <a:rPr lang="en-US" b="1" dirty="0"/>
              <a:t>ADD SENSITIVITY CLASSIFICATION </a:t>
            </a:r>
            <a:r>
              <a:rPr lang="en-US" dirty="0"/>
              <a:t>TO</a:t>
            </a:r>
          </a:p>
          <a:p>
            <a:r>
              <a:rPr lang="en-US" dirty="0"/>
              <a:t>    dbo.sales.price, dbo.sales.discount</a:t>
            </a:r>
          </a:p>
          <a:p>
            <a:r>
              <a:rPr lang="en-US" dirty="0"/>
              <a:t>    WITH ( LABEL='Highly Confidential', INFORMATION_TYPE='Financial' )</a:t>
            </a:r>
          </a:p>
        </p:txBody>
      </p:sp>
      <p:sp>
        <p:nvSpPr>
          <p:cNvPr id="9" name="TextBox 8">
            <a:extLst>
              <a:ext uri="{FF2B5EF4-FFF2-40B4-BE49-F238E27FC236}">
                <a16:creationId xmlns:a16="http://schemas.microsoft.com/office/drawing/2014/main" id="{2EA4C099-3C82-4188-9922-9A9FFBEC13C7}"/>
              </a:ext>
            </a:extLst>
          </p:cNvPr>
          <p:cNvSpPr txBox="1"/>
          <p:nvPr/>
        </p:nvSpPr>
        <p:spPr>
          <a:xfrm>
            <a:off x="7458908" y="4743023"/>
            <a:ext cx="2439514" cy="307777"/>
          </a:xfrm>
          <a:prstGeom prst="rect">
            <a:avLst/>
          </a:prstGeom>
          <a:noFill/>
        </p:spPr>
        <p:txBody>
          <a:bodyPr wrap="none" lIns="0" tIns="0" rIns="0" bIns="0" rtlCol="0">
            <a:spAutoFit/>
          </a:bodyPr>
          <a:lstStyle/>
          <a:p>
            <a:pPr algn="l"/>
            <a:r>
              <a:rPr lang="en-US" sz="2000" b="1" dirty="0">
                <a:gradFill>
                  <a:gsLst>
                    <a:gs pos="2917">
                      <a:schemeClr val="tx1"/>
                    </a:gs>
                    <a:gs pos="30000">
                      <a:schemeClr val="tx1"/>
                    </a:gs>
                  </a:gsLst>
                  <a:lin ang="5400000" scaled="0"/>
                </a:gradFill>
              </a:rPr>
              <a:t>SQL Server Auditing</a:t>
            </a:r>
          </a:p>
        </p:txBody>
      </p:sp>
      <p:sp>
        <p:nvSpPr>
          <p:cNvPr id="10" name="Rectangle 9">
            <a:extLst>
              <a:ext uri="{FF2B5EF4-FFF2-40B4-BE49-F238E27FC236}">
                <a16:creationId xmlns:a16="http://schemas.microsoft.com/office/drawing/2014/main" id="{62062057-EF7F-40EB-9743-DBC1D532F57C}"/>
              </a:ext>
            </a:extLst>
          </p:cNvPr>
          <p:cNvSpPr/>
          <p:nvPr/>
        </p:nvSpPr>
        <p:spPr>
          <a:xfrm>
            <a:off x="6884292" y="5100312"/>
            <a:ext cx="3685624" cy="363946"/>
          </a:xfrm>
          <a:prstGeom prst="rect">
            <a:avLst/>
          </a:prstGeom>
        </p:spPr>
        <p:txBody>
          <a:bodyPr wrap="none">
            <a:spAutoFit/>
          </a:bodyPr>
          <a:lstStyle/>
          <a:p>
            <a:r>
              <a:rPr lang="en-US" dirty="0">
                <a:solidFill>
                  <a:srgbClr val="000000"/>
                </a:solidFill>
                <a:latin typeface="Consolas" panose="020B0609020204030204" pitchFamily="49" charset="0"/>
              </a:rPr>
              <a:t>data_sensitivity_information</a:t>
            </a:r>
            <a:endParaRPr lang="en-US" dirty="0"/>
          </a:p>
        </p:txBody>
      </p:sp>
      <p:sp>
        <p:nvSpPr>
          <p:cNvPr id="11" name="Rectangle 10">
            <a:extLst>
              <a:ext uri="{FF2B5EF4-FFF2-40B4-BE49-F238E27FC236}">
                <a16:creationId xmlns:a16="http://schemas.microsoft.com/office/drawing/2014/main" id="{2917E357-D616-4131-8A62-31992CE687BE}"/>
              </a:ext>
            </a:extLst>
          </p:cNvPr>
          <p:cNvSpPr/>
          <p:nvPr/>
        </p:nvSpPr>
        <p:spPr>
          <a:xfrm>
            <a:off x="6460634" y="5544512"/>
            <a:ext cx="4455459" cy="635559"/>
          </a:xfrm>
          <a:prstGeom prst="rect">
            <a:avLst/>
          </a:prstGeom>
        </p:spPr>
        <p:txBody>
          <a:bodyPr wrap="square">
            <a:spAutoFit/>
          </a:bodyPr>
          <a:lstStyle/>
          <a:p>
            <a:pPr algn="ctr"/>
            <a:r>
              <a:rPr lang="en-US" dirty="0"/>
              <a:t>Who, what, and when accessed my classified data?</a:t>
            </a:r>
          </a:p>
        </p:txBody>
      </p:sp>
      <p:cxnSp>
        <p:nvCxnSpPr>
          <p:cNvPr id="13" name="Straight Arrow Connector 12">
            <a:extLst>
              <a:ext uri="{FF2B5EF4-FFF2-40B4-BE49-F238E27FC236}">
                <a16:creationId xmlns:a16="http://schemas.microsoft.com/office/drawing/2014/main" id="{84B4C49E-F9BC-45E4-A5E9-A4C0E8EC776B}"/>
              </a:ext>
            </a:extLst>
          </p:cNvPr>
          <p:cNvCxnSpPr>
            <a:cxnSpLocks/>
          </p:cNvCxnSpPr>
          <p:nvPr/>
        </p:nvCxnSpPr>
        <p:spPr>
          <a:xfrm>
            <a:off x="5195459" y="3865203"/>
            <a:ext cx="1348776" cy="0"/>
          </a:xfrm>
          <a:prstGeom prst="straightConnector1">
            <a:avLst/>
          </a:prstGeom>
          <a:ln w="381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1069F900-AD4D-4520-BF58-524280930516}"/>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classify my data in SQL Server and audit access to the classified data</a:t>
            </a:r>
          </a:p>
        </p:txBody>
      </p:sp>
      <p:sp>
        <p:nvSpPr>
          <p:cNvPr id="17" name="TextBox 16">
            <a:extLst>
              <a:ext uri="{FF2B5EF4-FFF2-40B4-BE49-F238E27FC236}">
                <a16:creationId xmlns:a16="http://schemas.microsoft.com/office/drawing/2014/main" id="{3F9FA4B7-3AF2-429C-944D-A3145D988BF3}"/>
              </a:ext>
            </a:extLst>
          </p:cNvPr>
          <p:cNvSpPr txBox="1"/>
          <p:nvPr/>
        </p:nvSpPr>
        <p:spPr>
          <a:xfrm>
            <a:off x="5412991" y="3487330"/>
            <a:ext cx="91371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lanned</a:t>
            </a:r>
          </a:p>
        </p:txBody>
      </p:sp>
    </p:spTree>
    <p:extLst>
      <p:ext uri="{BB962C8B-B14F-4D97-AF65-F5344CB8AC3E}">
        <p14:creationId xmlns:p14="http://schemas.microsoft.com/office/powerpoint/2010/main" val="322813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4: Mission Critical Availability</a:t>
            </a:r>
          </a:p>
        </p:txBody>
      </p:sp>
    </p:spTree>
    <p:extLst>
      <p:ext uri="{BB962C8B-B14F-4D97-AF65-F5344CB8AC3E}">
        <p14:creationId xmlns:p14="http://schemas.microsoft.com/office/powerpoint/2010/main" val="27231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04EC1A-A7CE-2647-ABB8-844B21BB62CE}"/>
              </a:ext>
            </a:extLst>
          </p:cNvPr>
          <p:cNvSpPr/>
          <p:nvPr/>
        </p:nvSpPr>
        <p:spPr>
          <a:xfrm>
            <a:off x="5175115" y="278398"/>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ADE20943-3BAD-4093-967B-EAAA88156D2C}"/>
              </a:ext>
            </a:extLst>
          </p:cNvPr>
          <p:cNvSpPr txBox="1"/>
          <p:nvPr/>
        </p:nvSpPr>
        <p:spPr>
          <a:xfrm>
            <a:off x="5784713" y="609734"/>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vailability groups on Kubernetes </a:t>
            </a:r>
          </a:p>
        </p:txBody>
      </p:sp>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588263" y="457200"/>
            <a:ext cx="4586852" cy="1661993"/>
          </a:xfrm>
        </p:spPr>
        <p:txBody>
          <a:bodyPr/>
          <a:lstStyle/>
          <a:p>
            <a:r>
              <a:rPr lang="en-US" dirty="0"/>
              <a:t>Mission critical availability</a:t>
            </a:r>
            <a:br>
              <a:rPr lang="en-US" dirty="0"/>
            </a:br>
            <a:r>
              <a:rPr lang="en-US" sz="2400" dirty="0">
                <a:solidFill>
                  <a:schemeClr val="accent1"/>
                </a:solidFill>
              </a:rPr>
              <a:t>Keep SQL Server running</a:t>
            </a:r>
            <a:r>
              <a:rPr lang="en-US" dirty="0">
                <a:solidFill>
                  <a:schemeClr val="accent1"/>
                </a:solidFill>
              </a:rPr>
              <a:t> </a:t>
            </a:r>
            <a:endParaRPr lang="en-US" sz="2400" dirty="0"/>
          </a:p>
        </p:txBody>
      </p:sp>
      <p:sp>
        <p:nvSpPr>
          <p:cNvPr id="6" name="Text Placeholder 5"/>
          <p:cNvSpPr>
            <a:spLocks noGrp="1"/>
          </p:cNvSpPr>
          <p:nvPr>
            <p:ph type="body" sz="quarter" idx="10"/>
          </p:nvPr>
        </p:nvSpPr>
        <p:spPr>
          <a:xfrm>
            <a:off x="584201" y="2331261"/>
            <a:ext cx="4260174" cy="3718967"/>
          </a:xfrm>
        </p:spPr>
        <p:txBody>
          <a:bodyPr/>
          <a:lstStyle/>
          <a:p>
            <a:pPr>
              <a:spcBef>
                <a:spcPts val="1000"/>
              </a:spcBef>
            </a:pPr>
            <a:r>
              <a:rPr lang="en-US" sz="2000" dirty="0"/>
              <a:t>Resumable online index creation</a:t>
            </a:r>
          </a:p>
          <a:p>
            <a:pPr>
              <a:spcBef>
                <a:spcPts val="1000"/>
              </a:spcBef>
            </a:pPr>
            <a:r>
              <a:rPr lang="en-US" sz="2000" dirty="0"/>
              <a:t>Online Clustered Columnstore index creation and rebuild</a:t>
            </a:r>
          </a:p>
          <a:p>
            <a:r>
              <a:rPr lang="en-US" dirty="0"/>
              <a:t>Always On availability group enhancements</a:t>
            </a:r>
          </a:p>
          <a:p>
            <a:r>
              <a:rPr lang="en-US" dirty="0"/>
              <a:t>Availability groups on Kubernetes</a:t>
            </a:r>
          </a:p>
          <a:p>
            <a:pPr>
              <a:spcBef>
                <a:spcPts val="1000"/>
              </a:spcBef>
            </a:pPr>
            <a:r>
              <a:rPr lang="en-US" b="1" dirty="0">
                <a:latin typeface="+mj-lt"/>
              </a:rPr>
              <a:t>Accelerated Database Recovery (Planned)</a:t>
            </a:r>
          </a:p>
          <a:p>
            <a:pPr>
              <a:spcBef>
                <a:spcPts val="1000"/>
              </a:spcBef>
            </a:pPr>
            <a:r>
              <a:rPr lang="en-US" b="1" dirty="0">
                <a:latin typeface="+mj-lt"/>
              </a:rPr>
              <a:t>AGs for System Databases (Planned)</a:t>
            </a:r>
          </a:p>
        </p:txBody>
      </p:sp>
      <p:sp>
        <p:nvSpPr>
          <p:cNvPr id="8" name="Rectangle 7">
            <a:extLst>
              <a:ext uri="{FF2B5EF4-FFF2-40B4-BE49-F238E27FC236}">
                <a16:creationId xmlns:a16="http://schemas.microsoft.com/office/drawing/2014/main" id="{30479CBA-FAEE-584C-8313-E41B890A8435}"/>
              </a:ext>
            </a:extLst>
          </p:cNvPr>
          <p:cNvSpPr/>
          <p:nvPr/>
        </p:nvSpPr>
        <p:spPr>
          <a:xfrm>
            <a:off x="6015109" y="3673845"/>
            <a:ext cx="5030264" cy="588145"/>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1"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Segoe UI"/>
                <a:ea typeface="+mn-ea"/>
                <a:cs typeface="+mn-cs"/>
              </a:rPr>
              <a:t>AG</a:t>
            </a:r>
          </a:p>
        </p:txBody>
      </p:sp>
      <p:grpSp>
        <p:nvGrpSpPr>
          <p:cNvPr id="57" name="Group 56">
            <a:extLst>
              <a:ext uri="{FF2B5EF4-FFF2-40B4-BE49-F238E27FC236}">
                <a16:creationId xmlns:a16="http://schemas.microsoft.com/office/drawing/2014/main" id="{9E6DDDEF-F4F0-BD4E-9C19-8E856A54DBCD}"/>
              </a:ext>
            </a:extLst>
          </p:cNvPr>
          <p:cNvGrpSpPr/>
          <p:nvPr/>
        </p:nvGrpSpPr>
        <p:grpSpPr>
          <a:xfrm>
            <a:off x="6335598" y="1442289"/>
            <a:ext cx="1401968" cy="1177477"/>
            <a:chOff x="7929992" y="1937589"/>
            <a:chExt cx="1335176" cy="1177477"/>
          </a:xfrm>
        </p:grpSpPr>
        <p:sp>
          <p:nvSpPr>
            <p:cNvPr id="9" name="Rectangle 8">
              <a:extLst>
                <a:ext uri="{FF2B5EF4-FFF2-40B4-BE49-F238E27FC236}">
                  <a16:creationId xmlns:a16="http://schemas.microsoft.com/office/drawing/2014/main" id="{0CCD239A-92BF-CE48-864A-DCE125D227F6}"/>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7AA55975-3FDE-AB49-B5E0-FD8CEC774C0B}"/>
                </a:ext>
              </a:extLst>
            </p:cNvPr>
            <p:cNvSpPr txBox="1"/>
            <p:nvPr/>
          </p:nvSpPr>
          <p:spPr>
            <a:xfrm>
              <a:off x="7929992" y="1937589"/>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12" name="Rectangle 11">
              <a:extLst>
                <a:ext uri="{FF2B5EF4-FFF2-40B4-BE49-F238E27FC236}">
                  <a16:creationId xmlns:a16="http://schemas.microsoft.com/office/drawing/2014/main" id="{927311D4-271B-244E-8E2A-644FABF5CA1A}"/>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13" name="Rectangle 12">
              <a:extLst>
                <a:ext uri="{FF2B5EF4-FFF2-40B4-BE49-F238E27FC236}">
                  <a16:creationId xmlns:a16="http://schemas.microsoft.com/office/drawing/2014/main" id="{A93CFF41-76A2-4541-9B03-D9FA49773C17}"/>
                </a:ext>
              </a:extLst>
            </p:cNvPr>
            <p:cNvSpPr/>
            <p:nvPr/>
          </p:nvSpPr>
          <p:spPr bwMode="auto">
            <a:xfrm>
              <a:off x="8211334" y="2610704"/>
              <a:ext cx="74014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Operator</a:t>
              </a:r>
            </a:p>
          </p:txBody>
        </p:sp>
      </p:grpSp>
      <p:sp>
        <p:nvSpPr>
          <p:cNvPr id="18" name="TextBox 17">
            <a:extLst>
              <a:ext uri="{FF2B5EF4-FFF2-40B4-BE49-F238E27FC236}">
                <a16:creationId xmlns:a16="http://schemas.microsoft.com/office/drawing/2014/main" id="{A52E3042-0DA3-E449-BA5C-0C794C3AFCCF}"/>
              </a:ext>
            </a:extLst>
          </p:cNvPr>
          <p:cNvSpPr txBox="1"/>
          <p:nvPr/>
        </p:nvSpPr>
        <p:spPr>
          <a:xfrm>
            <a:off x="11222786" y="2307504"/>
            <a:ext cx="618759"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dirty="0">
                <a:gradFill>
                  <a:gsLst>
                    <a:gs pos="2917">
                      <a:srgbClr val="1A1A1A"/>
                    </a:gs>
                    <a:gs pos="30000">
                      <a:srgbClr val="1A1A1A"/>
                    </a:gs>
                  </a:gsLst>
                  <a:lin ang="5400000" scaled="0"/>
                </a:gradFill>
                <a:latin typeface="+mj-lt"/>
              </a:rPr>
              <a:t>Reporting </a:t>
            </a:r>
            <a:br>
              <a:rPr lang="en-US" sz="1000" dirty="0">
                <a:gradFill>
                  <a:gsLst>
                    <a:gs pos="2917">
                      <a:srgbClr val="1A1A1A"/>
                    </a:gs>
                    <a:gs pos="30000">
                      <a:srgbClr val="1A1A1A"/>
                    </a:gs>
                  </a:gsLst>
                  <a:lin ang="5400000" scaled="0"/>
                </a:gradFill>
                <a:latin typeface="+mj-lt"/>
              </a:rPr>
            </a:br>
            <a:r>
              <a:rPr lang="en-US" sz="1000" dirty="0">
                <a:gradFill>
                  <a:gsLst>
                    <a:gs pos="2917">
                      <a:srgbClr val="1A1A1A"/>
                    </a:gs>
                    <a:gs pos="30000">
                      <a:srgbClr val="1A1A1A"/>
                    </a:gs>
                  </a:gsLst>
                  <a:lin ang="5400000" scaled="0"/>
                </a:gradFill>
                <a:latin typeface="+mj-lt"/>
              </a:rPr>
              <a:t>app</a:t>
            </a:r>
          </a:p>
        </p:txBody>
      </p:sp>
      <p:sp>
        <p:nvSpPr>
          <p:cNvPr id="34" name="TextBox 33">
            <a:extLst>
              <a:ext uri="{FF2B5EF4-FFF2-40B4-BE49-F238E27FC236}">
                <a16:creationId xmlns:a16="http://schemas.microsoft.com/office/drawing/2014/main" id="{9927CF62-DD5B-3C40-ACE4-60F053D1BDB1}"/>
              </a:ext>
            </a:extLst>
          </p:cNvPr>
          <p:cNvSpPr txBox="1"/>
          <p:nvPr/>
        </p:nvSpPr>
        <p:spPr>
          <a:xfrm>
            <a:off x="5228741" y="5858411"/>
            <a:ext cx="57081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Primary</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app</a:t>
            </a:r>
          </a:p>
        </p:txBody>
      </p:sp>
      <p:sp>
        <p:nvSpPr>
          <p:cNvPr id="19" name="Rectangle 18">
            <a:extLst>
              <a:ext uri="{FF2B5EF4-FFF2-40B4-BE49-F238E27FC236}">
                <a16:creationId xmlns:a16="http://schemas.microsoft.com/office/drawing/2014/main" id="{6BB124B6-36F8-1E4D-9984-D86DE4F3E98F}"/>
              </a:ext>
            </a:extLst>
          </p:cNvPr>
          <p:cNvSpPr/>
          <p:nvPr/>
        </p:nvSpPr>
        <p:spPr bwMode="auto">
          <a:xfrm>
            <a:off x="635106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4019F77-40A1-DC4D-91A6-44B8AF17E1A8}"/>
              </a:ext>
            </a:extLst>
          </p:cNvPr>
          <p:cNvSpPr txBox="1"/>
          <p:nvPr/>
        </p:nvSpPr>
        <p:spPr>
          <a:xfrm>
            <a:off x="6347215"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21" name="Rectangle 20">
            <a:extLst>
              <a:ext uri="{FF2B5EF4-FFF2-40B4-BE49-F238E27FC236}">
                <a16:creationId xmlns:a16="http://schemas.microsoft.com/office/drawing/2014/main" id="{0B892F49-BC1F-3643-8F42-F7E8365387AC}"/>
              </a:ext>
            </a:extLst>
          </p:cNvPr>
          <p:cNvSpPr/>
          <p:nvPr/>
        </p:nvSpPr>
        <p:spPr bwMode="auto">
          <a:xfrm>
            <a:off x="644102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22" name="Rectangle 21">
            <a:extLst>
              <a:ext uri="{FF2B5EF4-FFF2-40B4-BE49-F238E27FC236}">
                <a16:creationId xmlns:a16="http://schemas.microsoft.com/office/drawing/2014/main" id="{DF8E67FE-6F00-AB47-9499-27EB5E89D833}"/>
              </a:ext>
            </a:extLst>
          </p:cNvPr>
          <p:cNvSpPr/>
          <p:nvPr/>
        </p:nvSpPr>
        <p:spPr bwMode="auto">
          <a:xfrm>
            <a:off x="651624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23" name="Rectangle 22">
            <a:extLst>
              <a:ext uri="{FF2B5EF4-FFF2-40B4-BE49-F238E27FC236}">
                <a16:creationId xmlns:a16="http://schemas.microsoft.com/office/drawing/2014/main" id="{0C5A24E6-E42C-EA42-B271-60A4FBA6B135}"/>
              </a:ext>
            </a:extLst>
          </p:cNvPr>
          <p:cNvSpPr/>
          <p:nvPr/>
        </p:nvSpPr>
        <p:spPr bwMode="auto">
          <a:xfrm>
            <a:off x="653404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35" name="Freeform 63">
            <a:extLst>
              <a:ext uri="{FF2B5EF4-FFF2-40B4-BE49-F238E27FC236}">
                <a16:creationId xmlns:a16="http://schemas.microsoft.com/office/drawing/2014/main" id="{87706611-4869-5947-AAB1-95FC48418440}"/>
              </a:ext>
            </a:extLst>
          </p:cNvPr>
          <p:cNvSpPr/>
          <p:nvPr/>
        </p:nvSpPr>
        <p:spPr bwMode="auto">
          <a:xfrm>
            <a:off x="6599351"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F1817F9-B4C0-BF45-AAAB-538752DA81C5}"/>
              </a:ext>
            </a:extLst>
          </p:cNvPr>
          <p:cNvSpPr/>
          <p:nvPr/>
        </p:nvSpPr>
        <p:spPr bwMode="auto">
          <a:xfrm>
            <a:off x="5904414" y="1168401"/>
            <a:ext cx="5204473" cy="502138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D34AB543-9B39-7C4F-956C-3659623C879E}"/>
              </a:ext>
            </a:extLst>
          </p:cNvPr>
          <p:cNvSpPr txBox="1"/>
          <p:nvPr/>
        </p:nvSpPr>
        <p:spPr>
          <a:xfrm>
            <a:off x="5964343" y="1203380"/>
            <a:ext cx="2326943"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Kubernetes </a:t>
            </a: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c</a:t>
            </a: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luster</a:t>
            </a:r>
          </a:p>
        </p:txBody>
      </p:sp>
      <p:cxnSp>
        <p:nvCxnSpPr>
          <p:cNvPr id="40" name="Straight Arrow Connector 39">
            <a:extLst>
              <a:ext uri="{FF2B5EF4-FFF2-40B4-BE49-F238E27FC236}">
                <a16:creationId xmlns:a16="http://schemas.microsoft.com/office/drawing/2014/main" id="{F2CEFD97-E100-2344-8D11-ED84C72D9AF4}"/>
              </a:ext>
            </a:extLst>
          </p:cNvPr>
          <p:cNvCxnSpPr>
            <a:cxnSpLocks/>
            <a:stCxn id="87" idx="1"/>
            <a:endCxn id="83" idx="3"/>
          </p:cNvCxnSpPr>
          <p:nvPr/>
        </p:nvCxnSpPr>
        <p:spPr>
          <a:xfrm flipH="1">
            <a:off x="10899291" y="2059775"/>
            <a:ext cx="415444"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D72A5ED-6366-D54F-AFCC-D1E91173A896}"/>
              </a:ext>
            </a:extLst>
          </p:cNvPr>
          <p:cNvCxnSpPr>
            <a:cxnSpLocks/>
          </p:cNvCxnSpPr>
          <p:nvPr/>
        </p:nvCxnSpPr>
        <p:spPr>
          <a:xfrm flipH="1" flipV="1">
            <a:off x="7040430" y="4805877"/>
            <a:ext cx="5854" cy="646253"/>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B580124-ECA6-9349-A9E9-C1A5233E3184}"/>
              </a:ext>
            </a:extLst>
          </p:cNvPr>
          <p:cNvCxnSpPr>
            <a:cxnSpLocks/>
          </p:cNvCxnSpPr>
          <p:nvPr/>
        </p:nvCxnSpPr>
        <p:spPr>
          <a:xfrm>
            <a:off x="10606400" y="2245871"/>
            <a:ext cx="7428" cy="882067"/>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BB703E-EBB5-9D44-B0EC-054915C2FE64}"/>
              </a:ext>
            </a:extLst>
          </p:cNvPr>
          <p:cNvCxnSpPr>
            <a:cxnSpLocks/>
            <a:stCxn id="9" idx="2"/>
            <a:endCxn id="19" idx="0"/>
          </p:cNvCxnSpPr>
          <p:nvPr/>
        </p:nvCxnSpPr>
        <p:spPr>
          <a:xfrm>
            <a:off x="7036582" y="2619766"/>
            <a:ext cx="1" cy="508172"/>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8C1014-66C6-6F40-BA6C-FB54BFBB17EF}"/>
              </a:ext>
            </a:extLst>
          </p:cNvPr>
          <p:cNvSpPr/>
          <p:nvPr/>
        </p:nvSpPr>
        <p:spPr bwMode="auto">
          <a:xfrm>
            <a:off x="6565680" y="5452719"/>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sp>
        <p:nvSpPr>
          <p:cNvPr id="71" name="Rectangle 70">
            <a:extLst>
              <a:ext uri="{FF2B5EF4-FFF2-40B4-BE49-F238E27FC236}">
                <a16:creationId xmlns:a16="http://schemas.microsoft.com/office/drawing/2014/main" id="{85C93B3F-59B0-7F47-B21E-0434E54B4CDE}"/>
              </a:ext>
            </a:extLst>
          </p:cNvPr>
          <p:cNvSpPr/>
          <p:nvPr/>
        </p:nvSpPr>
        <p:spPr bwMode="auto">
          <a:xfrm>
            <a:off x="795760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2" name="TextBox 71">
            <a:extLst>
              <a:ext uri="{FF2B5EF4-FFF2-40B4-BE49-F238E27FC236}">
                <a16:creationId xmlns:a16="http://schemas.microsoft.com/office/drawing/2014/main" id="{90CDF9AE-15BC-0B4E-84F6-26A71F973436}"/>
              </a:ext>
            </a:extLst>
          </p:cNvPr>
          <p:cNvSpPr txBox="1"/>
          <p:nvPr/>
        </p:nvSpPr>
        <p:spPr>
          <a:xfrm>
            <a:off x="7954744"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73" name="Rectangle 72">
            <a:extLst>
              <a:ext uri="{FF2B5EF4-FFF2-40B4-BE49-F238E27FC236}">
                <a16:creationId xmlns:a16="http://schemas.microsoft.com/office/drawing/2014/main" id="{73302909-689D-AB48-9148-37284FF22EB8}"/>
              </a:ext>
            </a:extLst>
          </p:cNvPr>
          <p:cNvSpPr/>
          <p:nvPr/>
        </p:nvSpPr>
        <p:spPr bwMode="auto">
          <a:xfrm>
            <a:off x="804756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74" name="Rectangle 73">
            <a:extLst>
              <a:ext uri="{FF2B5EF4-FFF2-40B4-BE49-F238E27FC236}">
                <a16:creationId xmlns:a16="http://schemas.microsoft.com/office/drawing/2014/main" id="{599BE885-3CE4-E042-9F10-DEADD0FB7159}"/>
              </a:ext>
            </a:extLst>
          </p:cNvPr>
          <p:cNvSpPr/>
          <p:nvPr/>
        </p:nvSpPr>
        <p:spPr bwMode="auto">
          <a:xfrm>
            <a:off x="812278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75" name="Rectangle 74">
            <a:extLst>
              <a:ext uri="{FF2B5EF4-FFF2-40B4-BE49-F238E27FC236}">
                <a16:creationId xmlns:a16="http://schemas.microsoft.com/office/drawing/2014/main" id="{906227A3-E954-4244-BE63-3DD4E8E3464F}"/>
              </a:ext>
            </a:extLst>
          </p:cNvPr>
          <p:cNvSpPr/>
          <p:nvPr/>
        </p:nvSpPr>
        <p:spPr bwMode="auto">
          <a:xfrm>
            <a:off x="814058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78" name="Rectangle 77">
            <a:extLst>
              <a:ext uri="{FF2B5EF4-FFF2-40B4-BE49-F238E27FC236}">
                <a16:creationId xmlns:a16="http://schemas.microsoft.com/office/drawing/2014/main" id="{450F06FE-8FEB-FD44-9175-57533EC4B178}"/>
              </a:ext>
            </a:extLst>
          </p:cNvPr>
          <p:cNvSpPr/>
          <p:nvPr/>
        </p:nvSpPr>
        <p:spPr bwMode="auto">
          <a:xfrm>
            <a:off x="9590649" y="3120318"/>
            <a:ext cx="1371037" cy="16855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CEF4F96-B143-1E40-9F8D-D55DE4C41A19}"/>
              </a:ext>
            </a:extLst>
          </p:cNvPr>
          <p:cNvSpPr txBox="1"/>
          <p:nvPr/>
        </p:nvSpPr>
        <p:spPr>
          <a:xfrm>
            <a:off x="9596710"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80" name="Rectangle 79">
            <a:extLst>
              <a:ext uri="{FF2B5EF4-FFF2-40B4-BE49-F238E27FC236}">
                <a16:creationId xmlns:a16="http://schemas.microsoft.com/office/drawing/2014/main" id="{7B7153A3-CF75-DB4A-96C9-ECCAECF79530}"/>
              </a:ext>
            </a:extLst>
          </p:cNvPr>
          <p:cNvSpPr/>
          <p:nvPr/>
        </p:nvSpPr>
        <p:spPr bwMode="auto">
          <a:xfrm>
            <a:off x="9680606"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81" name="Rectangle 80">
            <a:extLst>
              <a:ext uri="{FF2B5EF4-FFF2-40B4-BE49-F238E27FC236}">
                <a16:creationId xmlns:a16="http://schemas.microsoft.com/office/drawing/2014/main" id="{C11387B4-5E8D-AC40-B606-E4B521C5F301}"/>
              </a:ext>
            </a:extLst>
          </p:cNvPr>
          <p:cNvSpPr/>
          <p:nvPr/>
        </p:nvSpPr>
        <p:spPr bwMode="auto">
          <a:xfrm>
            <a:off x="9743322" y="3764976"/>
            <a:ext cx="1065690"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2" name="Rectangle 81">
            <a:extLst>
              <a:ext uri="{FF2B5EF4-FFF2-40B4-BE49-F238E27FC236}">
                <a16:creationId xmlns:a16="http://schemas.microsoft.com/office/drawing/2014/main" id="{7424CBBF-DEAB-694E-AA24-3BC0689B4A47}"/>
              </a:ext>
            </a:extLst>
          </p:cNvPr>
          <p:cNvSpPr/>
          <p:nvPr/>
        </p:nvSpPr>
        <p:spPr bwMode="auto">
          <a:xfrm>
            <a:off x="9773633"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cxnSp>
        <p:nvCxnSpPr>
          <p:cNvPr id="97" name="Straight Arrow Connector 96">
            <a:extLst>
              <a:ext uri="{FF2B5EF4-FFF2-40B4-BE49-F238E27FC236}">
                <a16:creationId xmlns:a16="http://schemas.microsoft.com/office/drawing/2014/main" id="{29CE2F97-D213-C440-92EE-EA41762568CD}"/>
              </a:ext>
            </a:extLst>
          </p:cNvPr>
          <p:cNvCxnSpPr>
            <a:cxnSpLocks/>
            <a:stCxn id="53" idx="1"/>
          </p:cNvCxnSpPr>
          <p:nvPr/>
        </p:nvCxnSpPr>
        <p:spPr>
          <a:xfrm flipH="1">
            <a:off x="5731580" y="5652774"/>
            <a:ext cx="8341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Freeform 63">
            <a:extLst>
              <a:ext uri="{FF2B5EF4-FFF2-40B4-BE49-F238E27FC236}">
                <a16:creationId xmlns:a16="http://schemas.microsoft.com/office/drawing/2014/main" id="{9D643444-C062-3942-B31D-995A1249D836}"/>
              </a:ext>
            </a:extLst>
          </p:cNvPr>
          <p:cNvSpPr/>
          <p:nvPr/>
        </p:nvSpPr>
        <p:spPr bwMode="auto">
          <a:xfrm>
            <a:off x="8200555"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3">
            <a:extLst>
              <a:ext uri="{FF2B5EF4-FFF2-40B4-BE49-F238E27FC236}">
                <a16:creationId xmlns:a16="http://schemas.microsoft.com/office/drawing/2014/main" id="{0C974F9C-50C2-F84C-BA52-9C4D10929426}"/>
              </a:ext>
            </a:extLst>
          </p:cNvPr>
          <p:cNvSpPr/>
          <p:nvPr/>
        </p:nvSpPr>
        <p:spPr bwMode="auto">
          <a:xfrm>
            <a:off x="9809729"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Multiply 3">
            <a:extLst>
              <a:ext uri="{FF2B5EF4-FFF2-40B4-BE49-F238E27FC236}">
                <a16:creationId xmlns:a16="http://schemas.microsoft.com/office/drawing/2014/main" id="{8A62B52D-95CB-8C4E-977F-7E0141C0C1E7}"/>
              </a:ext>
            </a:extLst>
          </p:cNvPr>
          <p:cNvSpPr/>
          <p:nvPr/>
        </p:nvSpPr>
        <p:spPr bwMode="auto">
          <a:xfrm>
            <a:off x="6541049" y="3434791"/>
            <a:ext cx="1070650" cy="1070650"/>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25" name="Connector: Elbow 24">
            <a:extLst>
              <a:ext uri="{FF2B5EF4-FFF2-40B4-BE49-F238E27FC236}">
                <a16:creationId xmlns:a16="http://schemas.microsoft.com/office/drawing/2014/main" id="{1A42EA53-AD29-4FFB-ACFF-58C8A657938F}"/>
              </a:ext>
            </a:extLst>
          </p:cNvPr>
          <p:cNvCxnSpPr>
            <a:cxnSpLocks/>
            <a:stCxn id="9" idx="2"/>
            <a:endCxn id="71" idx="0"/>
          </p:cNvCxnSpPr>
          <p:nvPr/>
        </p:nvCxnSpPr>
        <p:spPr>
          <a:xfrm rot="16200000" flipH="1">
            <a:off x="7585766" y="2070581"/>
            <a:ext cx="508172" cy="1606541"/>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4298A196-1D94-4F61-BC74-8A41809BA852}"/>
              </a:ext>
            </a:extLst>
          </p:cNvPr>
          <p:cNvCxnSpPr>
            <a:cxnSpLocks/>
            <a:stCxn id="9" idx="2"/>
            <a:endCxn id="78" idx="0"/>
          </p:cNvCxnSpPr>
          <p:nvPr/>
        </p:nvCxnSpPr>
        <p:spPr>
          <a:xfrm rot="16200000" flipH="1">
            <a:off x="8406099" y="1250249"/>
            <a:ext cx="500552" cy="3239586"/>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EDB4966A-25C5-4B5C-8174-E7E23A83CA92}"/>
              </a:ext>
            </a:extLst>
          </p:cNvPr>
          <p:cNvCxnSpPr>
            <a:cxnSpLocks/>
            <a:stCxn id="53" idx="3"/>
            <a:endCxn id="71" idx="2"/>
          </p:cNvCxnSpPr>
          <p:nvPr/>
        </p:nvCxnSpPr>
        <p:spPr>
          <a:xfrm flipV="1">
            <a:off x="7497132" y="4805876"/>
            <a:ext cx="1145991" cy="846898"/>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02F9412-A8A4-4510-8D0F-8A770C952F79}"/>
              </a:ext>
            </a:extLst>
          </p:cNvPr>
          <p:cNvGrpSpPr/>
          <p:nvPr/>
        </p:nvGrpSpPr>
        <p:grpSpPr>
          <a:xfrm>
            <a:off x="5296719" y="5395174"/>
            <a:ext cx="434861" cy="421319"/>
            <a:chOff x="7157554" y="1735934"/>
            <a:chExt cx="397423" cy="398542"/>
          </a:xfrm>
        </p:grpSpPr>
        <p:grpSp>
          <p:nvGrpSpPr>
            <p:cNvPr id="60" name="Group 59">
              <a:extLst>
                <a:ext uri="{FF2B5EF4-FFF2-40B4-BE49-F238E27FC236}">
                  <a16:creationId xmlns:a16="http://schemas.microsoft.com/office/drawing/2014/main" id="{A7ADC9FD-7CE5-489D-A583-68A082AEC44F}"/>
                </a:ext>
              </a:extLst>
            </p:cNvPr>
            <p:cNvGrpSpPr/>
            <p:nvPr/>
          </p:nvGrpSpPr>
          <p:grpSpPr>
            <a:xfrm>
              <a:off x="7157554" y="1735934"/>
              <a:ext cx="397423" cy="398542"/>
              <a:chOff x="2107244" y="1575258"/>
              <a:chExt cx="310993" cy="264555"/>
            </a:xfrm>
            <a:solidFill>
              <a:srgbClr val="0078D7"/>
            </a:solidFill>
          </p:grpSpPr>
          <p:sp>
            <p:nvSpPr>
              <p:cNvPr id="67" name="Rectangle 9">
                <a:extLst>
                  <a:ext uri="{FF2B5EF4-FFF2-40B4-BE49-F238E27FC236}">
                    <a16:creationId xmlns:a16="http://schemas.microsoft.com/office/drawing/2014/main" id="{1C4D5238-B2B6-4751-BF2F-9E5EE3E86871}"/>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69" name="Line 10">
                <a:extLst>
                  <a:ext uri="{FF2B5EF4-FFF2-40B4-BE49-F238E27FC236}">
                    <a16:creationId xmlns:a16="http://schemas.microsoft.com/office/drawing/2014/main" id="{B6E34797-DDAE-41A4-8490-D4270C965FC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61" name="Group 60">
              <a:extLst>
                <a:ext uri="{FF2B5EF4-FFF2-40B4-BE49-F238E27FC236}">
                  <a16:creationId xmlns:a16="http://schemas.microsoft.com/office/drawing/2014/main" id="{3DCDF7AC-CBD5-4ADE-BAC6-5E6A7B87A450}"/>
                </a:ext>
              </a:extLst>
            </p:cNvPr>
            <p:cNvGrpSpPr/>
            <p:nvPr/>
          </p:nvGrpSpPr>
          <p:grpSpPr>
            <a:xfrm>
              <a:off x="7255156" y="1903738"/>
              <a:ext cx="191394" cy="180132"/>
              <a:chOff x="2198132" y="1701907"/>
              <a:chExt cx="95690" cy="90061"/>
            </a:xfrm>
            <a:solidFill>
              <a:srgbClr val="50E6FF"/>
            </a:solidFill>
          </p:grpSpPr>
          <p:sp>
            <p:nvSpPr>
              <p:cNvPr id="63" name="Freeform 14">
                <a:extLst>
                  <a:ext uri="{FF2B5EF4-FFF2-40B4-BE49-F238E27FC236}">
                    <a16:creationId xmlns:a16="http://schemas.microsoft.com/office/drawing/2014/main" id="{E7B9DCBC-9E2E-4D9F-B9B2-56508BEAE6A3}"/>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64" name="Line 15">
                <a:extLst>
                  <a:ext uri="{FF2B5EF4-FFF2-40B4-BE49-F238E27FC236}">
                    <a16:creationId xmlns:a16="http://schemas.microsoft.com/office/drawing/2014/main" id="{639849A9-C4A2-4A71-8A43-556310E35BE9}"/>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62" name="Oval 61">
              <a:extLst>
                <a:ext uri="{FF2B5EF4-FFF2-40B4-BE49-F238E27FC236}">
                  <a16:creationId xmlns:a16="http://schemas.microsoft.com/office/drawing/2014/main" id="{1AF7569A-C9E9-4C34-B02E-BD3AD61E6CE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70" name="Group 69">
            <a:extLst>
              <a:ext uri="{FF2B5EF4-FFF2-40B4-BE49-F238E27FC236}">
                <a16:creationId xmlns:a16="http://schemas.microsoft.com/office/drawing/2014/main" id="{916411EB-E209-4DBD-A89C-2D1443FADC11}"/>
              </a:ext>
            </a:extLst>
          </p:cNvPr>
          <p:cNvGrpSpPr/>
          <p:nvPr/>
        </p:nvGrpSpPr>
        <p:grpSpPr>
          <a:xfrm>
            <a:off x="11314735" y="1849115"/>
            <a:ext cx="434861" cy="421319"/>
            <a:chOff x="7157554" y="1735934"/>
            <a:chExt cx="397423" cy="398542"/>
          </a:xfrm>
        </p:grpSpPr>
        <p:grpSp>
          <p:nvGrpSpPr>
            <p:cNvPr id="77" name="Group 76">
              <a:extLst>
                <a:ext uri="{FF2B5EF4-FFF2-40B4-BE49-F238E27FC236}">
                  <a16:creationId xmlns:a16="http://schemas.microsoft.com/office/drawing/2014/main" id="{4BE753FA-8498-492D-86BE-0F9DDA62489F}"/>
                </a:ext>
              </a:extLst>
            </p:cNvPr>
            <p:cNvGrpSpPr/>
            <p:nvPr/>
          </p:nvGrpSpPr>
          <p:grpSpPr>
            <a:xfrm>
              <a:off x="7157554" y="1735934"/>
              <a:ext cx="397423" cy="398542"/>
              <a:chOff x="2107244" y="1575258"/>
              <a:chExt cx="310993" cy="264555"/>
            </a:xfrm>
            <a:solidFill>
              <a:srgbClr val="0078D7"/>
            </a:solidFill>
          </p:grpSpPr>
          <p:sp>
            <p:nvSpPr>
              <p:cNvPr id="87" name="Rectangle 9">
                <a:extLst>
                  <a:ext uri="{FF2B5EF4-FFF2-40B4-BE49-F238E27FC236}">
                    <a16:creationId xmlns:a16="http://schemas.microsoft.com/office/drawing/2014/main" id="{C667EEBF-5BD2-4620-B409-7397C143B0A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88" name="Line 10">
                <a:extLst>
                  <a:ext uri="{FF2B5EF4-FFF2-40B4-BE49-F238E27FC236}">
                    <a16:creationId xmlns:a16="http://schemas.microsoft.com/office/drawing/2014/main" id="{34063534-9FE0-4D62-8881-4419814E093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86" name="Line 15">
              <a:extLst>
                <a:ext uri="{FF2B5EF4-FFF2-40B4-BE49-F238E27FC236}">
                  <a16:creationId xmlns:a16="http://schemas.microsoft.com/office/drawing/2014/main" id="{23CB0C1C-C20D-4DBC-ACFD-6A960FB00274}"/>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4" name="Oval 83">
              <a:extLst>
                <a:ext uri="{FF2B5EF4-FFF2-40B4-BE49-F238E27FC236}">
                  <a16:creationId xmlns:a16="http://schemas.microsoft.com/office/drawing/2014/main" id="{717814C4-62CD-4B51-9AFF-542817933DC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85" name="Rectangle 84">
            <a:extLst>
              <a:ext uri="{FF2B5EF4-FFF2-40B4-BE49-F238E27FC236}">
                <a16:creationId xmlns:a16="http://schemas.microsoft.com/office/drawing/2014/main" id="{EC662379-BF93-4C2B-887E-1EB0293C0DAE}"/>
              </a:ext>
            </a:extLst>
          </p:cNvPr>
          <p:cNvSpPr/>
          <p:nvPr/>
        </p:nvSpPr>
        <p:spPr bwMode="auto">
          <a:xfrm>
            <a:off x="8121039" y="3764975"/>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89" name="Rectangle 88">
            <a:extLst>
              <a:ext uri="{FF2B5EF4-FFF2-40B4-BE49-F238E27FC236}">
                <a16:creationId xmlns:a16="http://schemas.microsoft.com/office/drawing/2014/main" id="{41AF4ABE-F05A-4693-A474-D881230B68F0}"/>
              </a:ext>
            </a:extLst>
          </p:cNvPr>
          <p:cNvSpPr/>
          <p:nvPr/>
        </p:nvSpPr>
        <p:spPr bwMode="auto">
          <a:xfrm>
            <a:off x="6517722" y="3766691"/>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3" name="Rectangle 82">
            <a:extLst>
              <a:ext uri="{FF2B5EF4-FFF2-40B4-BE49-F238E27FC236}">
                <a16:creationId xmlns:a16="http://schemas.microsoft.com/office/drawing/2014/main" id="{566738C9-E1BD-48CB-9987-6EDE32E0C229}"/>
              </a:ext>
            </a:extLst>
          </p:cNvPr>
          <p:cNvSpPr/>
          <p:nvPr/>
        </p:nvSpPr>
        <p:spPr bwMode="auto">
          <a:xfrm>
            <a:off x="9967839" y="1863236"/>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grpSp>
        <p:nvGrpSpPr>
          <p:cNvPr id="142" name="Group 141">
            <a:extLst>
              <a:ext uri="{FF2B5EF4-FFF2-40B4-BE49-F238E27FC236}">
                <a16:creationId xmlns:a16="http://schemas.microsoft.com/office/drawing/2014/main" id="{B2D4E7EF-FF68-461C-9664-A153C298CC21}"/>
              </a:ext>
            </a:extLst>
          </p:cNvPr>
          <p:cNvGrpSpPr/>
          <p:nvPr/>
        </p:nvGrpSpPr>
        <p:grpSpPr>
          <a:xfrm>
            <a:off x="7233465" y="2263347"/>
            <a:ext cx="3200100" cy="848599"/>
            <a:chOff x="7233465" y="2263347"/>
            <a:chExt cx="3200100" cy="848599"/>
          </a:xfrm>
        </p:grpSpPr>
        <p:cxnSp>
          <p:nvCxnSpPr>
            <p:cNvPr id="114" name="Connector: Elbow 113">
              <a:extLst>
                <a:ext uri="{FF2B5EF4-FFF2-40B4-BE49-F238E27FC236}">
                  <a16:creationId xmlns:a16="http://schemas.microsoft.com/office/drawing/2014/main" id="{CBC3401E-A63A-4E8A-8745-2D93F37AFF0D}"/>
                </a:ext>
              </a:extLst>
            </p:cNvPr>
            <p:cNvCxnSpPr>
              <a:cxnSpLocks/>
              <a:stCxn id="83" idx="2"/>
            </p:cNvCxnSpPr>
            <p:nvPr/>
          </p:nvCxnSpPr>
          <p:spPr>
            <a:xfrm rot="5400000">
              <a:off x="8605846" y="890967"/>
              <a:ext cx="455340" cy="3200099"/>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8F87D55D-C36F-4897-A898-52E9C4CAA95D}"/>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39AEC6FD-3DA7-43D2-A757-0FE4DC11CB37}"/>
              </a:ext>
            </a:extLst>
          </p:cNvPr>
          <p:cNvGrpSpPr/>
          <p:nvPr/>
        </p:nvGrpSpPr>
        <p:grpSpPr>
          <a:xfrm>
            <a:off x="8840003" y="2261380"/>
            <a:ext cx="1591750" cy="856971"/>
            <a:chOff x="8840003" y="2261380"/>
            <a:chExt cx="1591750" cy="856971"/>
          </a:xfrm>
        </p:grpSpPr>
        <p:cxnSp>
          <p:nvCxnSpPr>
            <p:cNvPr id="133" name="Straight Arrow Connector 132">
              <a:extLst>
                <a:ext uri="{FF2B5EF4-FFF2-40B4-BE49-F238E27FC236}">
                  <a16:creationId xmlns:a16="http://schemas.microsoft.com/office/drawing/2014/main" id="{8B112CFE-3E10-4B1E-A1E8-B916D545961A}"/>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64C372-B415-43A5-AA20-CCE9A70CCE7B}"/>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955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6D575-D382-4619-BA7D-CBED1BE81195}"/>
              </a:ext>
            </a:extLst>
          </p:cNvPr>
          <p:cNvSpPr>
            <a:spLocks noGrp="1"/>
          </p:cNvSpPr>
          <p:nvPr>
            <p:ph type="title"/>
          </p:nvPr>
        </p:nvSpPr>
        <p:spPr/>
        <p:txBody>
          <a:bodyPr/>
          <a:lstStyle/>
          <a:p>
            <a:r>
              <a:rPr lang="en-US" dirty="0"/>
              <a:t>Using Online Indexing in SQL Server 2019</a:t>
            </a:r>
          </a:p>
        </p:txBody>
      </p:sp>
      <p:sp>
        <p:nvSpPr>
          <p:cNvPr id="4" name="Text Placeholder 2">
            <a:extLst>
              <a:ext uri="{FF2B5EF4-FFF2-40B4-BE49-F238E27FC236}">
                <a16:creationId xmlns:a16="http://schemas.microsoft.com/office/drawing/2014/main" id="{80857454-2958-4273-80C9-952144791BD4}"/>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ndex maintenance causes concurrency problems and application downtime</a:t>
            </a:r>
          </a:p>
        </p:txBody>
      </p:sp>
      <p:graphicFrame>
        <p:nvGraphicFramePr>
          <p:cNvPr id="5" name="Diagram 4">
            <a:extLst>
              <a:ext uri="{FF2B5EF4-FFF2-40B4-BE49-F238E27FC236}">
                <a16:creationId xmlns:a16="http://schemas.microsoft.com/office/drawing/2014/main" id="{57E45DC9-29CD-4F31-A6F5-6DF32B7DD58C}"/>
              </a:ext>
            </a:extLst>
          </p:cNvPr>
          <p:cNvGraphicFramePr/>
          <p:nvPr>
            <p:extLst>
              <p:ext uri="{D42A27DB-BD31-4B8C-83A1-F6EECF244321}">
                <p14:modId xmlns:p14="http://schemas.microsoft.com/office/powerpoint/2010/main" val="867537017"/>
              </p:ext>
            </p:extLst>
          </p:nvPr>
        </p:nvGraphicFramePr>
        <p:xfrm>
          <a:off x="588262" y="2554941"/>
          <a:ext cx="11245149" cy="3738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2640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305A3-122E-4AE7-8BE5-10955E8B588C}"/>
              </a:ext>
            </a:extLst>
          </p:cNvPr>
          <p:cNvSpPr>
            <a:spLocks noGrp="1"/>
          </p:cNvSpPr>
          <p:nvPr>
            <p:ph type="title"/>
          </p:nvPr>
        </p:nvSpPr>
        <p:spPr/>
        <p:txBody>
          <a:bodyPr/>
          <a:lstStyle/>
          <a:p>
            <a:r>
              <a:rPr lang="en-US" b="0" dirty="0"/>
              <a:t>Always On Availability Group Enhancements</a:t>
            </a:r>
          </a:p>
        </p:txBody>
      </p:sp>
      <p:sp>
        <p:nvSpPr>
          <p:cNvPr id="3" name="Text Placeholder 2">
            <a:extLst>
              <a:ext uri="{FF2B5EF4-FFF2-40B4-BE49-F238E27FC236}">
                <a16:creationId xmlns:a16="http://schemas.microsoft.com/office/drawing/2014/main" id="{0FEF1BF6-1C4E-41D4-9D36-E2D43971EEF5}"/>
              </a:ext>
            </a:extLst>
          </p:cNvPr>
          <p:cNvSpPr>
            <a:spLocks noGrp="1"/>
          </p:cNvSpPr>
          <p:nvPr>
            <p:ph type="body" sz="quarter" idx="10"/>
          </p:nvPr>
        </p:nvSpPr>
        <p:spPr>
          <a:xfrm>
            <a:off x="584200" y="1435497"/>
            <a:ext cx="11018520" cy="3965188"/>
          </a:xfrm>
        </p:spPr>
        <p:txBody>
          <a:bodyPr/>
          <a:lstStyle/>
          <a:p>
            <a:r>
              <a:rPr lang="en-US" sz="3600" dirty="0"/>
              <a:t>Always On Availability Groups Turbocharged</a:t>
            </a:r>
          </a:p>
          <a:p>
            <a:r>
              <a:rPr lang="en-US" sz="3600" dirty="0"/>
              <a:t>Database Health Failover Detection</a:t>
            </a:r>
          </a:p>
          <a:p>
            <a:r>
              <a:rPr lang="en-US" sz="3600" dirty="0"/>
              <a:t>DTC and Cross Database Transaction Support</a:t>
            </a:r>
          </a:p>
          <a:p>
            <a:r>
              <a:rPr lang="en-US" sz="3600" i="1" dirty="0"/>
              <a:t>Clusterless</a:t>
            </a:r>
            <a:r>
              <a:rPr lang="en-US" sz="3600" dirty="0"/>
              <a:t> Availability Groups</a:t>
            </a:r>
          </a:p>
          <a:p>
            <a:r>
              <a:rPr lang="en-US" sz="3600" dirty="0"/>
              <a:t>Five sync replicas</a:t>
            </a:r>
          </a:p>
          <a:p>
            <a:r>
              <a:rPr lang="en-US" sz="3600" dirty="0"/>
              <a:t>Primary Replica Connection Redirection</a:t>
            </a:r>
          </a:p>
        </p:txBody>
      </p:sp>
      <p:sp>
        <p:nvSpPr>
          <p:cNvPr id="4" name="TextBox 3">
            <a:extLst>
              <a:ext uri="{FF2B5EF4-FFF2-40B4-BE49-F238E27FC236}">
                <a16:creationId xmlns:a16="http://schemas.microsoft.com/office/drawing/2014/main" id="{5B79C37B-4B44-426F-80B9-79CEB9CBC692}"/>
              </a:ext>
            </a:extLst>
          </p:cNvPr>
          <p:cNvSpPr txBox="1"/>
          <p:nvPr/>
        </p:nvSpPr>
        <p:spPr>
          <a:xfrm>
            <a:off x="9585063" y="1538343"/>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5" name="TextBox 4">
            <a:extLst>
              <a:ext uri="{FF2B5EF4-FFF2-40B4-BE49-F238E27FC236}">
                <a16:creationId xmlns:a16="http://schemas.microsoft.com/office/drawing/2014/main" id="{C05745BF-36EE-4F06-88CD-150A1D4B5731}"/>
              </a:ext>
            </a:extLst>
          </p:cNvPr>
          <p:cNvSpPr txBox="1"/>
          <p:nvPr/>
        </p:nvSpPr>
        <p:spPr>
          <a:xfrm>
            <a:off x="9791253" y="2960145"/>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
        <p:nvSpPr>
          <p:cNvPr id="6" name="TextBox 5">
            <a:extLst>
              <a:ext uri="{FF2B5EF4-FFF2-40B4-BE49-F238E27FC236}">
                <a16:creationId xmlns:a16="http://schemas.microsoft.com/office/drawing/2014/main" id="{783518DE-DF0C-4C2C-B646-BD4F21A8378E}"/>
              </a:ext>
            </a:extLst>
          </p:cNvPr>
          <p:cNvSpPr txBox="1"/>
          <p:nvPr/>
        </p:nvSpPr>
        <p:spPr>
          <a:xfrm>
            <a:off x="4295888" y="4278568"/>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7" name="TextBox 6">
            <a:extLst>
              <a:ext uri="{FF2B5EF4-FFF2-40B4-BE49-F238E27FC236}">
                <a16:creationId xmlns:a16="http://schemas.microsoft.com/office/drawing/2014/main" id="{DFFD4C6A-D8FA-4384-A87E-DBB90D64CDB2}"/>
              </a:ext>
            </a:extLst>
          </p:cNvPr>
          <p:cNvSpPr txBox="1"/>
          <p:nvPr/>
        </p:nvSpPr>
        <p:spPr>
          <a:xfrm>
            <a:off x="7811844" y="2282414"/>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9" name="TextBox 8">
            <a:extLst>
              <a:ext uri="{FF2B5EF4-FFF2-40B4-BE49-F238E27FC236}">
                <a16:creationId xmlns:a16="http://schemas.microsoft.com/office/drawing/2014/main" id="{B79339CE-D9C7-4F61-8D6B-B0CC95730B69}"/>
              </a:ext>
            </a:extLst>
          </p:cNvPr>
          <p:cNvSpPr txBox="1"/>
          <p:nvPr/>
        </p:nvSpPr>
        <p:spPr>
          <a:xfrm>
            <a:off x="8654528" y="4958092"/>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10" name="TextBox 9">
            <a:extLst>
              <a:ext uri="{FF2B5EF4-FFF2-40B4-BE49-F238E27FC236}">
                <a16:creationId xmlns:a16="http://schemas.microsoft.com/office/drawing/2014/main" id="{831F7D83-3A04-4813-9DD9-13540881DE31}"/>
              </a:ext>
            </a:extLst>
          </p:cNvPr>
          <p:cNvSpPr txBox="1"/>
          <p:nvPr/>
        </p:nvSpPr>
        <p:spPr>
          <a:xfrm>
            <a:off x="6673328" y="3639669"/>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Tree>
    <p:extLst>
      <p:ext uri="{BB962C8B-B14F-4D97-AF65-F5344CB8AC3E}">
        <p14:creationId xmlns:p14="http://schemas.microsoft.com/office/powerpoint/2010/main" val="377362756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D69C-9B53-40D9-B71B-3BFBC9B3FF9D}"/>
              </a:ext>
            </a:extLst>
          </p:cNvPr>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14">
            <a:extLst>
              <a:ext uri="{FF2B5EF4-FFF2-40B4-BE49-F238E27FC236}">
                <a16:creationId xmlns:a16="http://schemas.microsoft.com/office/drawing/2014/main" id="{968BCE12-674F-4429-A63D-DD6C84DC4519}"/>
              </a:ext>
            </a:extLst>
          </p:cNvPr>
          <p:cNvSpPr txBox="1">
            <a:spLocks/>
          </p:cNvSpPr>
          <p:nvPr/>
        </p:nvSpPr>
        <p:spPr>
          <a:xfrm>
            <a:off x="188696" y="3234482"/>
            <a:ext cx="4674015" cy="305724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solidFill>
                  <a:schemeClr val="tx1"/>
                </a:solidFill>
              </a:rPr>
              <a:t>No clustering software required</a:t>
            </a:r>
          </a:p>
          <a:p>
            <a:pPr lvl="0"/>
            <a:r>
              <a:rPr lang="en-US" sz="2000" dirty="0">
                <a:solidFill>
                  <a:schemeClr val="tx1"/>
                </a:solidFill>
              </a:rPr>
              <a:t>Replica support built into the Engine</a:t>
            </a:r>
          </a:p>
          <a:p>
            <a:pPr lvl="0"/>
            <a:r>
              <a:rPr lang="en-US" sz="2000" dirty="0">
                <a:solidFill>
                  <a:schemeClr val="tx1"/>
                </a:solidFill>
              </a:rPr>
              <a:t>Load balancing of readable secondaries</a:t>
            </a:r>
          </a:p>
          <a:p>
            <a:r>
              <a:rPr lang="en-US" sz="2000" dirty="0">
                <a:solidFill>
                  <a:schemeClr val="tx1"/>
                </a:solidFill>
              </a:rPr>
              <a:t>HA and DR for Linux and Windows</a:t>
            </a:r>
          </a:p>
          <a:p>
            <a:r>
              <a:rPr lang="en-US" sz="2000" dirty="0">
                <a:solidFill>
                  <a:schemeClr val="tx1"/>
                </a:solidFill>
              </a:rPr>
              <a:t>Manual failover</a:t>
            </a:r>
          </a:p>
        </p:txBody>
      </p:sp>
      <p:sp>
        <p:nvSpPr>
          <p:cNvPr id="6" name="Rectangle 5">
            <a:extLst>
              <a:ext uri="{FF2B5EF4-FFF2-40B4-BE49-F238E27FC236}">
                <a16:creationId xmlns:a16="http://schemas.microsoft.com/office/drawing/2014/main" id="{BE36FB39-EDAD-4331-83FE-B8A1BB6F971E}"/>
              </a:ext>
            </a:extLst>
          </p:cNvPr>
          <p:cNvSpPr/>
          <p:nvPr/>
        </p:nvSpPr>
        <p:spPr bwMode="auto">
          <a:xfrm>
            <a:off x="5686985" y="2376492"/>
            <a:ext cx="6120324" cy="1379689"/>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303508E8-DBEB-4D6A-9D8E-A94F3CD1B222}"/>
              </a:ext>
            </a:extLst>
          </p:cNvPr>
          <p:cNvSpPr/>
          <p:nvPr/>
        </p:nvSpPr>
        <p:spPr bwMode="auto">
          <a:xfrm>
            <a:off x="5688760" y="3880035"/>
            <a:ext cx="6118551" cy="1377252"/>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8" name="Rectangle 7">
            <a:extLst>
              <a:ext uri="{FF2B5EF4-FFF2-40B4-BE49-F238E27FC236}">
                <a16:creationId xmlns:a16="http://schemas.microsoft.com/office/drawing/2014/main" id="{DA6A3E16-DE4E-47BB-BDE6-537F90219FAA}"/>
              </a:ext>
            </a:extLst>
          </p:cNvPr>
          <p:cNvSpPr/>
          <p:nvPr/>
        </p:nvSpPr>
        <p:spPr>
          <a:xfrm>
            <a:off x="7006248" y="3422872"/>
            <a:ext cx="691290"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9" name="Rectangle 8">
            <a:extLst>
              <a:ext uri="{FF2B5EF4-FFF2-40B4-BE49-F238E27FC236}">
                <a16:creationId xmlns:a16="http://schemas.microsoft.com/office/drawing/2014/main" id="{701A7F62-C0CC-4E5E-94A1-73F708540AE3}"/>
              </a:ext>
            </a:extLst>
          </p:cNvPr>
          <p:cNvSpPr/>
          <p:nvPr/>
        </p:nvSpPr>
        <p:spPr>
          <a:xfrm>
            <a:off x="9749679" y="344714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0" name="TextBox 9">
            <a:extLst>
              <a:ext uri="{FF2B5EF4-FFF2-40B4-BE49-F238E27FC236}">
                <a16:creationId xmlns:a16="http://schemas.microsoft.com/office/drawing/2014/main" id="{55721BA1-F102-45FC-BCD0-CE684690D7D8}"/>
              </a:ext>
            </a:extLst>
          </p:cNvPr>
          <p:cNvSpPr txBox="1"/>
          <p:nvPr/>
        </p:nvSpPr>
        <p:spPr>
          <a:xfrm>
            <a:off x="8327310" y="4330173"/>
            <a:ext cx="2119505"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1" name="Straight Arrow Connector 10">
            <a:extLst>
              <a:ext uri="{FF2B5EF4-FFF2-40B4-BE49-F238E27FC236}">
                <a16:creationId xmlns:a16="http://schemas.microsoft.com/office/drawing/2014/main" id="{4DD38DD1-18D8-4986-856A-AF9B21EE753D}"/>
              </a:ext>
            </a:extLst>
          </p:cNvPr>
          <p:cNvCxnSpPr>
            <a:cxnSpLocks/>
          </p:cNvCxnSpPr>
          <p:nvPr/>
        </p:nvCxnSpPr>
        <p:spPr>
          <a:xfrm flipH="1">
            <a:off x="7346757" y="2036851"/>
            <a:ext cx="1" cy="536538"/>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38DAA8-9B80-45A0-8396-6EBD55B9073E}"/>
              </a:ext>
            </a:extLst>
          </p:cNvPr>
          <p:cNvCxnSpPr>
            <a:cxnSpLocks/>
          </p:cNvCxnSpPr>
          <p:nvPr/>
        </p:nvCxnSpPr>
        <p:spPr>
          <a:xfrm>
            <a:off x="7727719" y="2954169"/>
            <a:ext cx="2423381"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19">
            <a:extLst>
              <a:ext uri="{FF2B5EF4-FFF2-40B4-BE49-F238E27FC236}">
                <a16:creationId xmlns:a16="http://schemas.microsoft.com/office/drawing/2014/main" id="{381E25ED-9437-4F68-BF4D-5DF9E8548C64}"/>
              </a:ext>
            </a:extLst>
          </p:cNvPr>
          <p:cNvCxnSpPr>
            <a:cxnSpLocks/>
          </p:cNvCxnSpPr>
          <p:nvPr/>
        </p:nvCxnSpPr>
        <p:spPr>
          <a:xfrm>
            <a:off x="7732064" y="3080631"/>
            <a:ext cx="2430956" cy="1418388"/>
          </a:xfrm>
          <a:prstGeom prst="bentConnector3">
            <a:avLst>
              <a:gd name="adj1" fmla="val 6067"/>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98FD7AA-61DB-457B-BB14-A5A9A174B6C2}"/>
              </a:ext>
            </a:extLst>
          </p:cNvPr>
          <p:cNvSpPr txBox="1"/>
          <p:nvPr/>
        </p:nvSpPr>
        <p:spPr>
          <a:xfrm>
            <a:off x="8437665" y="2768315"/>
            <a:ext cx="1054197"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5" name="Rectangle 14">
            <a:extLst>
              <a:ext uri="{FF2B5EF4-FFF2-40B4-BE49-F238E27FC236}">
                <a16:creationId xmlns:a16="http://schemas.microsoft.com/office/drawing/2014/main" id="{493FEEF3-EE4E-4EF9-AD75-AC6CDFC8ABA0}"/>
              </a:ext>
            </a:extLst>
          </p:cNvPr>
          <p:cNvSpPr/>
          <p:nvPr/>
        </p:nvSpPr>
        <p:spPr>
          <a:xfrm>
            <a:off x="5671723" y="2460444"/>
            <a:ext cx="1033791"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Windows</a:t>
            </a:r>
          </a:p>
        </p:txBody>
      </p:sp>
      <p:sp>
        <p:nvSpPr>
          <p:cNvPr id="16" name="Rectangle 15">
            <a:extLst>
              <a:ext uri="{FF2B5EF4-FFF2-40B4-BE49-F238E27FC236}">
                <a16:creationId xmlns:a16="http://schemas.microsoft.com/office/drawing/2014/main" id="{EE5AA6CA-2F5D-4FC5-B7A2-1D07E6ACCFBB}"/>
              </a:ext>
            </a:extLst>
          </p:cNvPr>
          <p:cNvSpPr/>
          <p:nvPr/>
        </p:nvSpPr>
        <p:spPr>
          <a:xfrm>
            <a:off x="5673748" y="3959885"/>
            <a:ext cx="688188"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Linux</a:t>
            </a:r>
          </a:p>
        </p:txBody>
      </p:sp>
      <p:sp>
        <p:nvSpPr>
          <p:cNvPr id="17" name="Rectangle 16">
            <a:extLst>
              <a:ext uri="{FF2B5EF4-FFF2-40B4-BE49-F238E27FC236}">
                <a16:creationId xmlns:a16="http://schemas.microsoft.com/office/drawing/2014/main" id="{62A1A017-354C-4D2C-BFAB-F48901F365AD}"/>
              </a:ext>
            </a:extLst>
          </p:cNvPr>
          <p:cNvSpPr/>
          <p:nvPr/>
        </p:nvSpPr>
        <p:spPr>
          <a:xfrm>
            <a:off x="9762396" y="497523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grpSp>
        <p:nvGrpSpPr>
          <p:cNvPr id="18" name="Group 17">
            <a:extLst>
              <a:ext uri="{FF2B5EF4-FFF2-40B4-BE49-F238E27FC236}">
                <a16:creationId xmlns:a16="http://schemas.microsoft.com/office/drawing/2014/main" id="{666213BF-2236-4F3C-8904-EFAC181E6E2F}"/>
              </a:ext>
            </a:extLst>
          </p:cNvPr>
          <p:cNvGrpSpPr/>
          <p:nvPr/>
        </p:nvGrpSpPr>
        <p:grpSpPr>
          <a:xfrm>
            <a:off x="6817012" y="1126529"/>
            <a:ext cx="1112923" cy="790397"/>
            <a:chOff x="6817114" y="1983958"/>
            <a:chExt cx="1113080" cy="790509"/>
          </a:xfrm>
        </p:grpSpPr>
        <p:grpSp>
          <p:nvGrpSpPr>
            <p:cNvPr id="19" name="Group 4">
              <a:extLst>
                <a:ext uri="{FF2B5EF4-FFF2-40B4-BE49-F238E27FC236}">
                  <a16:creationId xmlns:a16="http://schemas.microsoft.com/office/drawing/2014/main" id="{828F3636-37AA-4E76-968C-A12EC084D221}"/>
                </a:ext>
              </a:extLst>
            </p:cNvPr>
            <p:cNvGrpSpPr>
              <a:grpSpLocks noChangeAspect="1"/>
            </p:cNvGrpSpPr>
            <p:nvPr/>
          </p:nvGrpSpPr>
          <p:grpSpPr bwMode="auto">
            <a:xfrm>
              <a:off x="6817114" y="1983958"/>
              <a:ext cx="1113080" cy="790509"/>
              <a:chOff x="3794" y="2083"/>
              <a:chExt cx="245" cy="174"/>
            </a:xfrm>
          </p:grpSpPr>
          <p:sp>
            <p:nvSpPr>
              <p:cNvPr id="21" name="Rectangle 20">
                <a:extLst>
                  <a:ext uri="{FF2B5EF4-FFF2-40B4-BE49-F238E27FC236}">
                    <a16:creationId xmlns:a16="http://schemas.microsoft.com/office/drawing/2014/main" id="{C5544B39-6123-42EC-9637-A53D705EC048}"/>
                  </a:ext>
                </a:extLst>
              </p:cNvPr>
              <p:cNvSpPr>
                <a:spLocks noChangeArrowheads="1"/>
              </p:cNvSpPr>
              <p:nvPr/>
            </p:nvSpPr>
            <p:spPr bwMode="auto">
              <a:xfrm>
                <a:off x="3794" y="2083"/>
                <a:ext cx="245" cy="138"/>
              </a:xfrm>
              <a:prstGeom prst="rect">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2" name="Line 7">
                <a:extLst>
                  <a:ext uri="{FF2B5EF4-FFF2-40B4-BE49-F238E27FC236}">
                    <a16:creationId xmlns:a16="http://schemas.microsoft.com/office/drawing/2014/main" id="{1D19CE19-F39D-446A-AD14-E5DA011DAD43}"/>
                  </a:ext>
                </a:extLst>
              </p:cNvPr>
              <p:cNvSpPr>
                <a:spLocks noChangeShapeType="1"/>
              </p:cNvSpPr>
              <p:nvPr/>
            </p:nvSpPr>
            <p:spPr bwMode="auto">
              <a:xfrm>
                <a:off x="3916" y="2221"/>
                <a:ext cx="0" cy="3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3" name="Line 8">
                <a:extLst>
                  <a:ext uri="{FF2B5EF4-FFF2-40B4-BE49-F238E27FC236}">
                    <a16:creationId xmlns:a16="http://schemas.microsoft.com/office/drawing/2014/main" id="{77AC0C4D-DEF1-49CB-AA5A-1A2BCBDF25A7}"/>
                  </a:ext>
                </a:extLst>
              </p:cNvPr>
              <p:cNvSpPr>
                <a:spLocks noChangeShapeType="1"/>
              </p:cNvSpPr>
              <p:nvPr/>
            </p:nvSpPr>
            <p:spPr bwMode="auto">
              <a:xfrm>
                <a:off x="3874" y="2257"/>
                <a:ext cx="86" cy="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grpSp>
        <p:cxnSp>
          <p:nvCxnSpPr>
            <p:cNvPr id="20" name="Straight Connector 19">
              <a:extLst>
                <a:ext uri="{FF2B5EF4-FFF2-40B4-BE49-F238E27FC236}">
                  <a16:creationId xmlns:a16="http://schemas.microsoft.com/office/drawing/2014/main" id="{56E45AA9-E1C5-4696-8CC0-2F0B2189F756}"/>
                </a:ext>
              </a:extLst>
            </p:cNvPr>
            <p:cNvCxnSpPr/>
            <p:nvPr/>
          </p:nvCxnSpPr>
          <p:spPr>
            <a:xfrm flipV="1">
              <a:off x="7226188" y="2120112"/>
              <a:ext cx="339866" cy="339866"/>
            </a:xfrm>
            <a:prstGeom prst="line">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4" name="Freeform 57">
            <a:extLst>
              <a:ext uri="{FF2B5EF4-FFF2-40B4-BE49-F238E27FC236}">
                <a16:creationId xmlns:a16="http://schemas.microsoft.com/office/drawing/2014/main" id="{7181E347-CDB8-4009-8880-22726047A985}"/>
              </a:ext>
            </a:extLst>
          </p:cNvPr>
          <p:cNvSpPr/>
          <p:nvPr/>
        </p:nvSpPr>
        <p:spPr bwMode="auto">
          <a:xfrm>
            <a:off x="7058619"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8">
            <a:extLst>
              <a:ext uri="{FF2B5EF4-FFF2-40B4-BE49-F238E27FC236}">
                <a16:creationId xmlns:a16="http://schemas.microsoft.com/office/drawing/2014/main" id="{2630E2AB-0729-429C-8965-CD927DD702FE}"/>
              </a:ext>
            </a:extLst>
          </p:cNvPr>
          <p:cNvSpPr/>
          <p:nvPr/>
        </p:nvSpPr>
        <p:spPr bwMode="auto">
          <a:xfrm>
            <a:off x="10255127"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9">
            <a:extLst>
              <a:ext uri="{FF2B5EF4-FFF2-40B4-BE49-F238E27FC236}">
                <a16:creationId xmlns:a16="http://schemas.microsoft.com/office/drawing/2014/main" id="{E5256791-05C4-4554-B9C1-8BFD08B4DD53}"/>
              </a:ext>
            </a:extLst>
          </p:cNvPr>
          <p:cNvSpPr/>
          <p:nvPr/>
        </p:nvSpPr>
        <p:spPr bwMode="auto">
          <a:xfrm>
            <a:off x="10255127" y="4136807"/>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325571" y="170854"/>
            <a:ext cx="4596715" cy="1431627"/>
          </a:xfrm>
        </p:spPr>
        <p:txBody>
          <a:bodyPr/>
          <a:lstStyle/>
          <a:p>
            <a:r>
              <a:rPr lang="en-US" i="1" dirty="0"/>
              <a:t>Clusterless</a:t>
            </a:r>
            <a:r>
              <a:rPr lang="en-US" dirty="0"/>
              <a:t> Availability Groups</a:t>
            </a:r>
          </a:p>
        </p:txBody>
      </p:sp>
      <p:sp>
        <p:nvSpPr>
          <p:cNvPr id="27" name="Text Placeholder 2">
            <a:extLst>
              <a:ext uri="{FF2B5EF4-FFF2-40B4-BE49-F238E27FC236}">
                <a16:creationId xmlns:a16="http://schemas.microsoft.com/office/drawing/2014/main" id="{4BAA8ED1-E53B-452E-85E8-C88F13A6C497}"/>
              </a:ext>
            </a:extLst>
          </p:cNvPr>
          <p:cNvSpPr txBox="1">
            <a:spLocks/>
          </p:cNvSpPr>
          <p:nvPr/>
        </p:nvSpPr>
        <p:spPr>
          <a:xfrm>
            <a:off x="307473" y="1527304"/>
            <a:ext cx="4873591"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replica copies of the data but don’t want to install clustering software and don’t need automatic failover</a:t>
            </a:r>
          </a:p>
        </p:txBody>
      </p:sp>
    </p:spTree>
    <p:extLst>
      <p:ext uri="{BB962C8B-B14F-4D97-AF65-F5344CB8AC3E}">
        <p14:creationId xmlns:p14="http://schemas.microsoft.com/office/powerpoint/2010/main" val="3559102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4" grpId="0"/>
      <p:bldP spid="15" grpId="0"/>
      <p:bldP spid="16" grpId="0"/>
      <p:bldP spid="17" grpId="0"/>
      <p:bldP spid="24" grpId="0" animBg="1"/>
      <p:bldP spid="25" grpId="0" animBg="1"/>
      <p:bldP spid="2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480687" y="154911"/>
            <a:ext cx="11018520" cy="553998"/>
          </a:xfrm>
        </p:spPr>
        <p:txBody>
          <a:bodyPr/>
          <a:lstStyle/>
          <a:p>
            <a:r>
              <a:rPr lang="en-US" dirty="0"/>
              <a:t>SQL Server Recovery and rollback</a:t>
            </a:r>
          </a:p>
        </p:txBody>
      </p:sp>
      <p:pic>
        <p:nvPicPr>
          <p:cNvPr id="3076" name="Picture 4" descr="current recovery process">
            <a:extLst>
              <a:ext uri="{FF2B5EF4-FFF2-40B4-BE49-F238E27FC236}">
                <a16:creationId xmlns:a16="http://schemas.microsoft.com/office/drawing/2014/main" id="{CE12F756-5C03-49B9-9178-D6DE3A31F2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47" y="2786778"/>
            <a:ext cx="7297449" cy="380455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4C01E803-3DFF-47DD-9C0A-331EC4DCCC32}"/>
              </a:ext>
            </a:extLst>
          </p:cNvPr>
          <p:cNvGraphicFramePr/>
          <p:nvPr>
            <p:extLst>
              <p:ext uri="{D42A27DB-BD31-4B8C-83A1-F6EECF244321}">
                <p14:modId xmlns:p14="http://schemas.microsoft.com/office/powerpoint/2010/main" val="1558969039"/>
              </p:ext>
            </p:extLst>
          </p:nvPr>
        </p:nvGraphicFramePr>
        <p:xfrm>
          <a:off x="9563968" y="1489934"/>
          <a:ext cx="2190376" cy="46591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2">
            <a:extLst>
              <a:ext uri="{FF2B5EF4-FFF2-40B4-BE49-F238E27FC236}">
                <a16:creationId xmlns:a16="http://schemas.microsoft.com/office/drawing/2014/main" id="{73F37F6F-4A4F-4B1B-80D8-6B6562191821}"/>
              </a:ext>
            </a:extLst>
          </p:cNvPr>
          <p:cNvSpPr txBox="1">
            <a:spLocks/>
          </p:cNvSpPr>
          <p:nvPr/>
        </p:nvSpPr>
        <p:spPr>
          <a:xfrm>
            <a:off x="480687" y="955319"/>
            <a:ext cx="8403596" cy="15850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s)</a:t>
            </a:r>
          </a:p>
          <a:p>
            <a:pPr marL="0" indent="0">
              <a:buFont typeface="Wingdings" panose="05000000000000000000" pitchFamily="2" charset="2"/>
              <a:buNone/>
            </a:pPr>
            <a:r>
              <a:rPr lang="en-US" sz="1800" dirty="0"/>
              <a:t>Long running transactions affect recovery time</a:t>
            </a:r>
          </a:p>
          <a:p>
            <a:pPr marL="0" indent="0">
              <a:buFont typeface="Wingdings" panose="05000000000000000000" pitchFamily="2" charset="2"/>
              <a:buNone/>
            </a:pPr>
            <a:r>
              <a:rPr lang="en-US" sz="1800" dirty="0"/>
              <a:t>Rollback can take a long time for long transaction</a:t>
            </a:r>
          </a:p>
          <a:p>
            <a:pPr marL="0" indent="0">
              <a:buFont typeface="Wingdings" panose="05000000000000000000" pitchFamily="2" charset="2"/>
              <a:buNone/>
            </a:pPr>
            <a:r>
              <a:rPr lang="en-US" sz="1800" dirty="0"/>
              <a:t>Log grows out of control due to old active transactions</a:t>
            </a:r>
          </a:p>
        </p:txBody>
      </p:sp>
    </p:spTree>
    <p:extLst>
      <p:ext uri="{BB962C8B-B14F-4D97-AF65-F5344CB8AC3E}">
        <p14:creationId xmlns:p14="http://schemas.microsoft.com/office/powerpoint/2010/main" val="4041737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 Why SQL Server 2019?</a:t>
            </a:r>
          </a:p>
        </p:txBody>
      </p:sp>
    </p:spTree>
    <p:extLst>
      <p:ext uri="{BB962C8B-B14F-4D97-AF65-F5344CB8AC3E}">
        <p14:creationId xmlns:p14="http://schemas.microsoft.com/office/powerpoint/2010/main" val="3986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586740" y="242048"/>
            <a:ext cx="11018520" cy="553998"/>
          </a:xfrm>
        </p:spPr>
        <p:txBody>
          <a:bodyPr/>
          <a:lstStyle/>
          <a:p>
            <a:r>
              <a:rPr lang="en-US" dirty="0"/>
              <a:t>Transactions accelerated</a:t>
            </a:r>
          </a:p>
        </p:txBody>
      </p:sp>
      <p:pic>
        <p:nvPicPr>
          <p:cNvPr id="5122" name="Picture 2" descr="ADR recovery process">
            <a:extLst>
              <a:ext uri="{FF2B5EF4-FFF2-40B4-BE49-F238E27FC236}">
                <a16:creationId xmlns:a16="http://schemas.microsoft.com/office/drawing/2014/main" id="{EC77D15C-D57A-4836-81D6-CDE03B49A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552" y="1215234"/>
            <a:ext cx="9100955" cy="523935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60D032D2-8571-4E52-A3AC-BBE604A7760B}"/>
              </a:ext>
            </a:extLst>
          </p:cNvPr>
          <p:cNvGraphicFramePr/>
          <p:nvPr>
            <p:extLst>
              <p:ext uri="{D42A27DB-BD31-4B8C-83A1-F6EECF244321}">
                <p14:modId xmlns:p14="http://schemas.microsoft.com/office/powerpoint/2010/main" val="228137725"/>
              </p:ext>
            </p:extLst>
          </p:nvPr>
        </p:nvGraphicFramePr>
        <p:xfrm>
          <a:off x="9708776" y="1215234"/>
          <a:ext cx="2360706" cy="49998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5055395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4 Activity: Mission Critical Availability</a:t>
            </a:r>
          </a:p>
        </p:txBody>
      </p:sp>
      <p:sp>
        <p:nvSpPr>
          <p:cNvPr id="4" name="Text Placeholder 3"/>
          <p:cNvSpPr>
            <a:spLocks noGrp="1"/>
          </p:cNvSpPr>
          <p:nvPr>
            <p:ph type="body" sz="quarter" idx="12"/>
          </p:nvPr>
        </p:nvSpPr>
        <p:spPr>
          <a:xfrm>
            <a:off x="585216" y="3977319"/>
            <a:ext cx="6400800" cy="307777"/>
          </a:xfrm>
        </p:spPr>
        <p:txBody>
          <a:bodyPr/>
          <a:lstStyle/>
          <a:p>
            <a:r>
              <a:rPr lang="en-US" dirty="0"/>
              <a:t>Accelerated Database Recovery</a:t>
            </a:r>
          </a:p>
        </p:txBody>
      </p:sp>
    </p:spTree>
    <p:extLst>
      <p:ext uri="{BB962C8B-B14F-4D97-AF65-F5344CB8AC3E}">
        <p14:creationId xmlns:p14="http://schemas.microsoft.com/office/powerpoint/2010/main" val="3844499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5: The Modern Development Platform</a:t>
            </a:r>
          </a:p>
        </p:txBody>
      </p:sp>
    </p:spTree>
    <p:extLst>
      <p:ext uri="{BB962C8B-B14F-4D97-AF65-F5344CB8AC3E}">
        <p14:creationId xmlns:p14="http://schemas.microsoft.com/office/powerpoint/2010/main" val="313990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45F1D3A-1F99-034C-9D90-7D7F3784503F}"/>
              </a:ext>
            </a:extLst>
          </p:cNvPr>
          <p:cNvGrpSpPr/>
          <p:nvPr/>
        </p:nvGrpSpPr>
        <p:grpSpPr>
          <a:xfrm>
            <a:off x="8099158" y="2650987"/>
            <a:ext cx="1661765" cy="1285655"/>
            <a:chOff x="7157552" y="1735934"/>
            <a:chExt cx="497690" cy="398542"/>
          </a:xfrm>
        </p:grpSpPr>
        <p:grpSp>
          <p:nvGrpSpPr>
            <p:cNvPr id="89" name="Group 88">
              <a:extLst>
                <a:ext uri="{FF2B5EF4-FFF2-40B4-BE49-F238E27FC236}">
                  <a16:creationId xmlns:a16="http://schemas.microsoft.com/office/drawing/2014/main" id="{613081AF-62AC-8447-A5F9-282900B2DEC5}"/>
                </a:ext>
              </a:extLst>
            </p:cNvPr>
            <p:cNvGrpSpPr/>
            <p:nvPr/>
          </p:nvGrpSpPr>
          <p:grpSpPr>
            <a:xfrm>
              <a:off x="7157552" y="1735934"/>
              <a:ext cx="497690" cy="398542"/>
              <a:chOff x="2107241" y="1575258"/>
              <a:chExt cx="389454" cy="264555"/>
            </a:xfrm>
            <a:solidFill>
              <a:srgbClr val="0078D7"/>
            </a:solidFill>
          </p:grpSpPr>
          <p:sp>
            <p:nvSpPr>
              <p:cNvPr id="94" name="Rectangle 9">
                <a:extLst>
                  <a:ext uri="{FF2B5EF4-FFF2-40B4-BE49-F238E27FC236}">
                    <a16:creationId xmlns:a16="http://schemas.microsoft.com/office/drawing/2014/main" id="{D66DB734-5451-8043-99C5-28200E93F67E}"/>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95" name="Line 10">
                <a:extLst>
                  <a:ext uri="{FF2B5EF4-FFF2-40B4-BE49-F238E27FC236}">
                    <a16:creationId xmlns:a16="http://schemas.microsoft.com/office/drawing/2014/main" id="{38A5A22C-3F42-C64F-A2A3-3D1F2743351B}"/>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91" name="Oval 90">
              <a:extLst>
                <a:ext uri="{FF2B5EF4-FFF2-40B4-BE49-F238E27FC236}">
                  <a16:creationId xmlns:a16="http://schemas.microsoft.com/office/drawing/2014/main" id="{AC0D0FCB-B378-A848-B10A-E214F2DBA2A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 name="Title 1">
            <a:extLst>
              <a:ext uri="{FF2B5EF4-FFF2-40B4-BE49-F238E27FC236}">
                <a16:creationId xmlns:a16="http://schemas.microsoft.com/office/drawing/2014/main" id="{D5059136-E2D9-49E7-B917-8BFA9B01500E}"/>
              </a:ext>
            </a:extLst>
          </p:cNvPr>
          <p:cNvSpPr>
            <a:spLocks noGrp="1"/>
          </p:cNvSpPr>
          <p:nvPr>
            <p:ph type="title"/>
          </p:nvPr>
        </p:nvSpPr>
        <p:spPr/>
        <p:txBody>
          <a:bodyPr/>
          <a:lstStyle/>
          <a:p>
            <a:pPr algn="ctr"/>
            <a:r>
              <a:rPr lang="en-US" dirty="0"/>
              <a:t>The modern development platform </a:t>
            </a:r>
          </a:p>
        </p:txBody>
      </p:sp>
      <p:sp>
        <p:nvSpPr>
          <p:cNvPr id="4" name="TextBox 3">
            <a:extLst>
              <a:ext uri="{FF2B5EF4-FFF2-40B4-BE49-F238E27FC236}">
                <a16:creationId xmlns:a16="http://schemas.microsoft.com/office/drawing/2014/main" id="{5E471F12-A5DB-4515-B13A-D962D518CDBA}"/>
              </a:ext>
            </a:extLst>
          </p:cNvPr>
          <p:cNvSpPr txBox="1"/>
          <p:nvPr/>
        </p:nvSpPr>
        <p:spPr>
          <a:xfrm>
            <a:off x="1973595" y="4477601"/>
            <a:ext cx="3062231"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Speed app development and admin with new enhancements </a:t>
            </a:r>
          </a:p>
        </p:txBody>
      </p:sp>
      <p:sp>
        <p:nvSpPr>
          <p:cNvPr id="6" name="TextBox 5">
            <a:extLst>
              <a:ext uri="{FF2B5EF4-FFF2-40B4-BE49-F238E27FC236}">
                <a16:creationId xmlns:a16="http://schemas.microsoft.com/office/drawing/2014/main" id="{0A78A6D0-BB31-4DDD-B9A9-EC8FAF466AB0}"/>
              </a:ext>
            </a:extLst>
          </p:cNvPr>
          <p:cNvSpPr txBox="1"/>
          <p:nvPr/>
        </p:nvSpPr>
        <p:spPr>
          <a:xfrm>
            <a:off x="7748310" y="4477601"/>
            <a:ext cx="236344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Develop on your choice of language and tooling </a:t>
            </a:r>
          </a:p>
        </p:txBody>
      </p:sp>
      <p:grpSp>
        <p:nvGrpSpPr>
          <p:cNvPr id="35" name="Group 34">
            <a:extLst>
              <a:ext uri="{FF2B5EF4-FFF2-40B4-BE49-F238E27FC236}">
                <a16:creationId xmlns:a16="http://schemas.microsoft.com/office/drawing/2014/main" id="{C953BFF5-08BD-BB4F-9B79-F70B205B1FF5}"/>
              </a:ext>
            </a:extLst>
          </p:cNvPr>
          <p:cNvGrpSpPr/>
          <p:nvPr/>
        </p:nvGrpSpPr>
        <p:grpSpPr>
          <a:xfrm>
            <a:off x="2683734" y="2650987"/>
            <a:ext cx="1661765" cy="1285655"/>
            <a:chOff x="7157552" y="1735934"/>
            <a:chExt cx="497690" cy="398542"/>
          </a:xfrm>
        </p:grpSpPr>
        <p:grpSp>
          <p:nvGrpSpPr>
            <p:cNvPr id="36" name="Group 35">
              <a:extLst>
                <a:ext uri="{FF2B5EF4-FFF2-40B4-BE49-F238E27FC236}">
                  <a16:creationId xmlns:a16="http://schemas.microsoft.com/office/drawing/2014/main" id="{D61F7347-25B5-7C4E-B535-8D8275305A80}"/>
                </a:ext>
              </a:extLst>
            </p:cNvPr>
            <p:cNvGrpSpPr/>
            <p:nvPr/>
          </p:nvGrpSpPr>
          <p:grpSpPr>
            <a:xfrm>
              <a:off x="7157552" y="1735934"/>
              <a:ext cx="497690" cy="398542"/>
              <a:chOff x="2107241" y="1575258"/>
              <a:chExt cx="389454" cy="264555"/>
            </a:xfrm>
            <a:solidFill>
              <a:srgbClr val="0078D7"/>
            </a:solidFill>
          </p:grpSpPr>
          <p:sp>
            <p:nvSpPr>
              <p:cNvPr id="41" name="Rectangle 9">
                <a:extLst>
                  <a:ext uri="{FF2B5EF4-FFF2-40B4-BE49-F238E27FC236}">
                    <a16:creationId xmlns:a16="http://schemas.microsoft.com/office/drawing/2014/main" id="{3241A18B-D149-EE40-86DC-A7AC24193231}"/>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42" name="Line 10">
                <a:extLst>
                  <a:ext uri="{FF2B5EF4-FFF2-40B4-BE49-F238E27FC236}">
                    <a16:creationId xmlns:a16="http://schemas.microsoft.com/office/drawing/2014/main" id="{A173672D-C850-BA45-ADB0-D3E0EA518F59}"/>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B007C3D3-ECBE-CA4D-B16E-92EE5C74153D}"/>
                </a:ext>
              </a:extLst>
            </p:cNvPr>
            <p:cNvGrpSpPr/>
            <p:nvPr/>
          </p:nvGrpSpPr>
          <p:grpSpPr>
            <a:xfrm>
              <a:off x="7311048" y="1903738"/>
              <a:ext cx="191394" cy="180132"/>
              <a:chOff x="2226076" y="1701907"/>
              <a:chExt cx="95690" cy="90061"/>
            </a:xfrm>
            <a:solidFill>
              <a:srgbClr val="50E6FF"/>
            </a:solidFill>
          </p:grpSpPr>
          <p:sp>
            <p:nvSpPr>
              <p:cNvPr id="39" name="Freeform 14">
                <a:extLst>
                  <a:ext uri="{FF2B5EF4-FFF2-40B4-BE49-F238E27FC236}">
                    <a16:creationId xmlns:a16="http://schemas.microsoft.com/office/drawing/2014/main" id="{D91C4C32-415C-3247-BA69-4B726AC6DAFA}"/>
                  </a:ext>
                </a:extLst>
              </p:cNvPr>
              <p:cNvSpPr>
                <a:spLocks/>
              </p:cNvSpPr>
              <p:nvPr/>
            </p:nvSpPr>
            <p:spPr bwMode="auto">
              <a:xfrm>
                <a:off x="2226076"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40" name="Line 15">
                <a:extLst>
                  <a:ext uri="{FF2B5EF4-FFF2-40B4-BE49-F238E27FC236}">
                    <a16:creationId xmlns:a16="http://schemas.microsoft.com/office/drawing/2014/main" id="{10D59CB8-4BD7-7044-8B0F-F71D15B9D430}"/>
                  </a:ext>
                </a:extLst>
              </p:cNvPr>
              <p:cNvSpPr>
                <a:spLocks noChangeShapeType="1"/>
              </p:cNvSpPr>
              <p:nvPr/>
            </p:nvSpPr>
            <p:spPr bwMode="auto">
              <a:xfrm>
                <a:off x="227547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38" name="Oval 37">
              <a:extLst>
                <a:ext uri="{FF2B5EF4-FFF2-40B4-BE49-F238E27FC236}">
                  <a16:creationId xmlns:a16="http://schemas.microsoft.com/office/drawing/2014/main" id="{A54A435E-FCC4-4746-AB2B-7430084602B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50" name="gear_3">
            <a:extLst>
              <a:ext uri="{FF2B5EF4-FFF2-40B4-BE49-F238E27FC236}">
                <a16:creationId xmlns:a16="http://schemas.microsoft.com/office/drawing/2014/main" id="{9E0A1276-67D3-44A8-B3C7-8FCB397AE1A7}"/>
              </a:ext>
            </a:extLst>
          </p:cNvPr>
          <p:cNvSpPr>
            <a:spLocks noChangeAspect="1" noEditPoints="1"/>
          </p:cNvSpPr>
          <p:nvPr/>
        </p:nvSpPr>
        <p:spPr bwMode="auto">
          <a:xfrm>
            <a:off x="4006485" y="3537327"/>
            <a:ext cx="730580" cy="73676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rgbClr val="50E6FF"/>
          </a:solidFill>
          <a:ln w="12700">
            <a:no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1549BF2F-F0F9-4689-A1AF-072289338C4A}"/>
              </a:ext>
            </a:extLst>
          </p:cNvPr>
          <p:cNvGrpSpPr/>
          <p:nvPr/>
        </p:nvGrpSpPr>
        <p:grpSpPr>
          <a:xfrm>
            <a:off x="8287410" y="3261012"/>
            <a:ext cx="1282078" cy="410714"/>
            <a:chOff x="8287410" y="3261012"/>
            <a:chExt cx="1282078" cy="410714"/>
          </a:xfrm>
        </p:grpSpPr>
        <p:sp>
          <p:nvSpPr>
            <p:cNvPr id="10" name="Freeform 160">
              <a:extLst>
                <a:ext uri="{FF2B5EF4-FFF2-40B4-BE49-F238E27FC236}">
                  <a16:creationId xmlns:a16="http://schemas.microsoft.com/office/drawing/2014/main" id="{24A23C94-CB16-4786-836E-2EFC04494D19}"/>
                </a:ext>
              </a:extLst>
            </p:cNvPr>
            <p:cNvSpPr>
              <a:spLocks/>
            </p:cNvSpPr>
            <p:nvPr/>
          </p:nvSpPr>
          <p:spPr bwMode="auto">
            <a:xfrm>
              <a:off x="9276291" y="3299154"/>
              <a:ext cx="293197" cy="362028"/>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50E6FF"/>
            </a:solidFill>
            <a:ln w="12700">
              <a:noFill/>
              <a:miter lim="800000"/>
              <a:headEnd/>
              <a:tailEnd/>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a:ea typeface="+mn-ea"/>
                <a:cs typeface="+mn-cs"/>
              </a:endParaRPr>
            </a:p>
          </p:txBody>
        </p:sp>
        <p:sp>
          <p:nvSpPr>
            <p:cNvPr id="11" name="Freeform 130">
              <a:extLst>
                <a:ext uri="{FF2B5EF4-FFF2-40B4-BE49-F238E27FC236}">
                  <a16:creationId xmlns:a16="http://schemas.microsoft.com/office/drawing/2014/main" id="{9E6279ED-C113-4C5F-8F0A-A76709697177}"/>
                </a:ext>
              </a:extLst>
            </p:cNvPr>
            <p:cNvSpPr>
              <a:spLocks noChangeAspect="1" noEditPoints="1"/>
            </p:cNvSpPr>
            <p:nvPr/>
          </p:nvSpPr>
          <p:spPr bwMode="black">
            <a:xfrm>
              <a:off x="8287410" y="3312243"/>
              <a:ext cx="360948" cy="359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50E6FF"/>
            </a:solidFill>
            <a:ln w="12700">
              <a:noFill/>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3" name="Group 4">
              <a:extLst>
                <a:ext uri="{FF2B5EF4-FFF2-40B4-BE49-F238E27FC236}">
                  <a16:creationId xmlns:a16="http://schemas.microsoft.com/office/drawing/2014/main" id="{BE2269D6-5C5E-4D00-A9DD-BF247B26B417}"/>
                </a:ext>
              </a:extLst>
            </p:cNvPr>
            <p:cNvGrpSpPr>
              <a:grpSpLocks noChangeAspect="1"/>
            </p:cNvGrpSpPr>
            <p:nvPr/>
          </p:nvGrpSpPr>
          <p:grpSpPr bwMode="auto">
            <a:xfrm>
              <a:off x="8786099" y="3261012"/>
              <a:ext cx="352451" cy="410714"/>
              <a:chOff x="2115" y="3208"/>
              <a:chExt cx="490" cy="571"/>
            </a:xfrm>
            <a:solidFill>
              <a:srgbClr val="50E6FF"/>
            </a:solidFill>
          </p:grpSpPr>
          <p:sp>
            <p:nvSpPr>
              <p:cNvPr id="24" name="Freeform 5">
                <a:extLst>
                  <a:ext uri="{FF2B5EF4-FFF2-40B4-BE49-F238E27FC236}">
                    <a16:creationId xmlns:a16="http://schemas.microsoft.com/office/drawing/2014/main" id="{76BE3FB4-5CD7-4731-8CDA-D484AE70545B}"/>
                  </a:ext>
                </a:extLst>
              </p:cNvPr>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C190385E-5FBB-4CD6-A37F-65C1CFD70BDA}"/>
                  </a:ext>
                </a:extLst>
              </p:cNvPr>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a:extLst>
                  <a:ext uri="{FF2B5EF4-FFF2-40B4-BE49-F238E27FC236}">
                    <a16:creationId xmlns:a16="http://schemas.microsoft.com/office/drawing/2014/main" id="{58552537-EC15-4E65-AF59-F2351395B55C}"/>
                  </a:ext>
                </a:extLst>
              </p:cNvPr>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a:extLst>
                  <a:ext uri="{FF2B5EF4-FFF2-40B4-BE49-F238E27FC236}">
                    <a16:creationId xmlns:a16="http://schemas.microsoft.com/office/drawing/2014/main" id="{845D6141-2C98-4040-A706-DA173828B119}"/>
                  </a:ext>
                </a:extLst>
              </p:cNvPr>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a:extLst>
                  <a:ext uri="{FF2B5EF4-FFF2-40B4-BE49-F238E27FC236}">
                    <a16:creationId xmlns:a16="http://schemas.microsoft.com/office/drawing/2014/main" id="{4A310185-136F-497B-8F5B-E169A1638DFA}"/>
                  </a:ext>
                </a:extLst>
              </p:cNvPr>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5B008EC4-0586-4F5E-9CA2-CF65F43AEB84}"/>
                  </a:ext>
                </a:extLst>
              </p:cNvPr>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734C1F3A-5CCD-4299-86D5-16E1AF0EF685}"/>
                  </a:ext>
                </a:extLst>
              </p:cNvPr>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15E0501D-B7D0-4E3E-A3B8-C1ACEE6ED0F5}"/>
                  </a:ext>
                </a:extLst>
              </p:cNvPr>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87004056-AD56-4266-BB84-6085314EBA2F}"/>
                  </a:ext>
                </a:extLst>
              </p:cNvPr>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4">
                <a:extLst>
                  <a:ext uri="{FF2B5EF4-FFF2-40B4-BE49-F238E27FC236}">
                    <a16:creationId xmlns:a16="http://schemas.microsoft.com/office/drawing/2014/main" id="{81E1E627-9AB7-414E-9A12-C7D3E97F43E5}"/>
                  </a:ext>
                </a:extLst>
              </p:cNvPr>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51DA139F-AE23-4BBA-8C6A-423F8D3C108F}"/>
                  </a:ext>
                </a:extLst>
              </p:cNvPr>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D4B21403-A370-41D3-B040-8B7E49B89D35}"/>
                  </a:ext>
                </a:extLst>
              </p:cNvPr>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200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83EC31A-BEC3-A24F-A97F-7153ABBB815F}"/>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4295022" cy="553998"/>
          </a:xfrm>
        </p:spPr>
        <p:txBody>
          <a:bodyPr/>
          <a:lstStyle/>
          <a:p>
            <a:r>
              <a:rPr lang="en-US" dirty="0"/>
              <a:t>Enhancing the developer experience</a:t>
            </a:r>
          </a:p>
        </p:txBody>
      </p:sp>
      <p:sp>
        <p:nvSpPr>
          <p:cNvPr id="6" name="Text Placeholder 5"/>
          <p:cNvSpPr>
            <a:spLocks noGrp="1"/>
          </p:cNvSpPr>
          <p:nvPr>
            <p:ph type="body" sz="quarter" idx="10"/>
          </p:nvPr>
        </p:nvSpPr>
        <p:spPr>
          <a:xfrm>
            <a:off x="584201" y="2486084"/>
            <a:ext cx="4279630" cy="1923604"/>
          </a:xfrm>
        </p:spPr>
        <p:txBody>
          <a:bodyPr/>
          <a:lstStyle/>
          <a:p>
            <a:pPr marL="0" indent="0">
              <a:spcBef>
                <a:spcPts val="1000"/>
              </a:spcBef>
              <a:buNone/>
            </a:pPr>
            <a:r>
              <a:rPr lang="en-US" sz="2000" dirty="0"/>
              <a:t>SQL Graph enhancements</a:t>
            </a:r>
          </a:p>
          <a:p>
            <a:pPr marL="0" indent="0">
              <a:spcBef>
                <a:spcPts val="1000"/>
              </a:spcBef>
              <a:buNone/>
            </a:pPr>
            <a:r>
              <a:rPr lang="en-US" sz="2000" dirty="0"/>
              <a:t>UTF-8 support</a:t>
            </a:r>
          </a:p>
          <a:p>
            <a:pPr marL="0" indent="0">
              <a:spcBef>
                <a:spcPts val="1000"/>
              </a:spcBef>
              <a:buNone/>
            </a:pPr>
            <a:r>
              <a:rPr lang="en-US" sz="2000" dirty="0"/>
              <a:t>Machine Learning Services enhancements</a:t>
            </a:r>
          </a:p>
          <a:p>
            <a:pPr marL="0" indent="0">
              <a:spcBef>
                <a:spcPts val="1000"/>
              </a:spcBef>
              <a:buNone/>
            </a:pPr>
            <a:r>
              <a:rPr lang="en-US" sz="2000" dirty="0"/>
              <a:t>SQL Server Java extension</a:t>
            </a:r>
          </a:p>
        </p:txBody>
      </p:sp>
      <p:cxnSp>
        <p:nvCxnSpPr>
          <p:cNvPr id="7" name="Connector: Elbow 6">
            <a:extLst>
              <a:ext uri="{FF2B5EF4-FFF2-40B4-BE49-F238E27FC236}">
                <a16:creationId xmlns:a16="http://schemas.microsoft.com/office/drawing/2014/main" id="{588D7C60-10B6-4ECA-A06C-33D6B2C57609}"/>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5DE9E0-4A09-465D-97A0-1BE2CAA3AFBD}"/>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18" name="TextBox 17">
            <a:extLst>
              <a:ext uri="{FF2B5EF4-FFF2-40B4-BE49-F238E27FC236}">
                <a16:creationId xmlns:a16="http://schemas.microsoft.com/office/drawing/2014/main" id="{22237CE7-3C58-4C12-B01D-9333E6F6B996}"/>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19" name="TextBox 18">
            <a:extLst>
              <a:ext uri="{FF2B5EF4-FFF2-40B4-BE49-F238E27FC236}">
                <a16:creationId xmlns:a16="http://schemas.microsoft.com/office/drawing/2014/main" id="{FC79762F-057A-4E66-85E0-B7B8A5FAFD02}"/>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21" name="Connector: Elbow 20">
            <a:extLst>
              <a:ext uri="{FF2B5EF4-FFF2-40B4-BE49-F238E27FC236}">
                <a16:creationId xmlns:a16="http://schemas.microsoft.com/office/drawing/2014/main" id="{D75625B4-8397-4336-A3B6-B7EB8627D6DF}"/>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570D4CC-4359-4202-B734-D47DAF50D064}"/>
              </a:ext>
            </a:extLst>
          </p:cNvPr>
          <p:cNvCxnSpPr>
            <a:cxnSpLocks/>
            <a:endCxn id="9"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0D3B179-7CDA-404D-9BAD-FA4864924865}"/>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27" name="Freeform: Shape 829">
            <a:extLst>
              <a:ext uri="{FF2B5EF4-FFF2-40B4-BE49-F238E27FC236}">
                <a16:creationId xmlns:a16="http://schemas.microsoft.com/office/drawing/2014/main" id="{746D3B5F-1D00-9342-852F-51EB217A59D6}"/>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24" name="Group 23">
            <a:extLst>
              <a:ext uri="{FF2B5EF4-FFF2-40B4-BE49-F238E27FC236}">
                <a16:creationId xmlns:a16="http://schemas.microsoft.com/office/drawing/2014/main" id="{06D11017-CDE4-D141-A482-C9FFB6AA82F8}"/>
              </a:ext>
            </a:extLst>
          </p:cNvPr>
          <p:cNvGrpSpPr/>
          <p:nvPr/>
        </p:nvGrpSpPr>
        <p:grpSpPr>
          <a:xfrm>
            <a:off x="5942460" y="2496065"/>
            <a:ext cx="650980" cy="630708"/>
            <a:chOff x="7157554" y="1735934"/>
            <a:chExt cx="397423" cy="398542"/>
          </a:xfrm>
        </p:grpSpPr>
        <p:grpSp>
          <p:nvGrpSpPr>
            <p:cNvPr id="25" name="Group 24">
              <a:extLst>
                <a:ext uri="{FF2B5EF4-FFF2-40B4-BE49-F238E27FC236}">
                  <a16:creationId xmlns:a16="http://schemas.microsoft.com/office/drawing/2014/main" id="{86249C5D-21F1-404A-B435-C2BFD6EFBC3B}"/>
                </a:ext>
              </a:extLst>
            </p:cNvPr>
            <p:cNvGrpSpPr/>
            <p:nvPr/>
          </p:nvGrpSpPr>
          <p:grpSpPr>
            <a:xfrm>
              <a:off x="7157554" y="1735934"/>
              <a:ext cx="397423" cy="398542"/>
              <a:chOff x="2107244" y="1575258"/>
              <a:chExt cx="310993" cy="264555"/>
            </a:xfrm>
            <a:solidFill>
              <a:srgbClr val="0078D7"/>
            </a:solidFill>
          </p:grpSpPr>
          <p:sp>
            <p:nvSpPr>
              <p:cNvPr id="32" name="Rectangle 9">
                <a:extLst>
                  <a:ext uri="{FF2B5EF4-FFF2-40B4-BE49-F238E27FC236}">
                    <a16:creationId xmlns:a16="http://schemas.microsoft.com/office/drawing/2014/main" id="{0FB9C916-E911-3540-BB67-FCD6F7944462}"/>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33" name="Line 10">
                <a:extLst>
                  <a:ext uri="{FF2B5EF4-FFF2-40B4-BE49-F238E27FC236}">
                    <a16:creationId xmlns:a16="http://schemas.microsoft.com/office/drawing/2014/main" id="{65F8A54F-11C1-FC42-A665-3113ED3CC25E}"/>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28" name="Group 27">
              <a:extLst>
                <a:ext uri="{FF2B5EF4-FFF2-40B4-BE49-F238E27FC236}">
                  <a16:creationId xmlns:a16="http://schemas.microsoft.com/office/drawing/2014/main" id="{5F7ACF43-4BCA-8C40-8EBD-932BDEC723FF}"/>
                </a:ext>
              </a:extLst>
            </p:cNvPr>
            <p:cNvGrpSpPr/>
            <p:nvPr/>
          </p:nvGrpSpPr>
          <p:grpSpPr>
            <a:xfrm>
              <a:off x="7264761" y="1903738"/>
              <a:ext cx="191394" cy="180132"/>
              <a:chOff x="2202934" y="1701907"/>
              <a:chExt cx="95690" cy="90061"/>
            </a:xfrm>
            <a:solidFill>
              <a:srgbClr val="50E6FF"/>
            </a:solidFill>
          </p:grpSpPr>
          <p:sp>
            <p:nvSpPr>
              <p:cNvPr id="30" name="Freeform 14">
                <a:extLst>
                  <a:ext uri="{FF2B5EF4-FFF2-40B4-BE49-F238E27FC236}">
                    <a16:creationId xmlns:a16="http://schemas.microsoft.com/office/drawing/2014/main" id="{72E93978-3D6C-D540-9470-AB9367A9BE7F}"/>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31" name="Line 15">
                <a:extLst>
                  <a:ext uri="{FF2B5EF4-FFF2-40B4-BE49-F238E27FC236}">
                    <a16:creationId xmlns:a16="http://schemas.microsoft.com/office/drawing/2014/main" id="{73BF02FE-8052-1745-B9B5-7859D3C786CD}"/>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29" name="Oval 28">
              <a:extLst>
                <a:ext uri="{FF2B5EF4-FFF2-40B4-BE49-F238E27FC236}">
                  <a16:creationId xmlns:a16="http://schemas.microsoft.com/office/drawing/2014/main" id="{FC900D63-64E8-C04A-A24F-7FB6786D0FB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 name="Straight Connector 2">
            <a:extLst>
              <a:ext uri="{FF2B5EF4-FFF2-40B4-BE49-F238E27FC236}">
                <a16:creationId xmlns:a16="http://schemas.microsoft.com/office/drawing/2014/main" id="{96BCE4A6-4430-1E43-95B2-8C6F3C6A5C31}"/>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34C26D-E87C-7F40-BAF7-6BE7332C373D}"/>
              </a:ext>
            </a:extLst>
          </p:cNvPr>
          <p:cNvGrpSpPr/>
          <p:nvPr/>
        </p:nvGrpSpPr>
        <p:grpSpPr>
          <a:xfrm>
            <a:off x="8734730" y="4670327"/>
            <a:ext cx="608721" cy="615212"/>
            <a:chOff x="7632206" y="4181475"/>
            <a:chExt cx="1932899" cy="1953509"/>
          </a:xfrm>
        </p:grpSpPr>
        <p:sp>
          <p:nvSpPr>
            <p:cNvPr id="35" name="Rectangle 34">
              <a:extLst>
                <a:ext uri="{FF2B5EF4-FFF2-40B4-BE49-F238E27FC236}">
                  <a16:creationId xmlns:a16="http://schemas.microsoft.com/office/drawing/2014/main" id="{C70F2D69-9870-4F45-8AC6-7CD4C608F641}"/>
                </a:ext>
              </a:extLst>
            </p:cNvPr>
            <p:cNvSpPr/>
            <p:nvPr/>
          </p:nvSpPr>
          <p:spPr bwMode="auto">
            <a:xfrm>
              <a:off x="7632206" y="5983357"/>
              <a:ext cx="1932899" cy="151627"/>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6" name="Triangle 35">
              <a:extLst>
                <a:ext uri="{FF2B5EF4-FFF2-40B4-BE49-F238E27FC236}">
                  <a16:creationId xmlns:a16="http://schemas.microsoft.com/office/drawing/2014/main" id="{D4709E32-4734-D143-9532-F8AB45AAE431}"/>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7" name="Triangle 36">
              <a:extLst>
                <a:ext uri="{FF2B5EF4-FFF2-40B4-BE49-F238E27FC236}">
                  <a16:creationId xmlns:a16="http://schemas.microsoft.com/office/drawing/2014/main" id="{5D7A721C-2F86-0F4A-98F1-8BB6C3233276}"/>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F5A370A-0683-C343-B26C-DE61FF613399}"/>
                </a:ext>
              </a:extLst>
            </p:cNvPr>
            <p:cNvSpPr/>
            <p:nvPr/>
          </p:nvSpPr>
          <p:spPr bwMode="auto">
            <a:xfrm>
              <a:off x="7990551" y="4790662"/>
              <a:ext cx="548031" cy="1192695"/>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 name="Oval 38">
              <a:extLst>
                <a:ext uri="{FF2B5EF4-FFF2-40B4-BE49-F238E27FC236}">
                  <a16:creationId xmlns:a16="http://schemas.microsoft.com/office/drawing/2014/main" id="{CC9E2120-5A00-A049-8650-3BF2F6F8AD65}"/>
                </a:ext>
              </a:extLst>
            </p:cNvPr>
            <p:cNvSpPr/>
            <p:nvPr/>
          </p:nvSpPr>
          <p:spPr bwMode="auto">
            <a:xfrm>
              <a:off x="8195814" y="492877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0" name="Oval 39">
              <a:extLst>
                <a:ext uri="{FF2B5EF4-FFF2-40B4-BE49-F238E27FC236}">
                  <a16:creationId xmlns:a16="http://schemas.microsoft.com/office/drawing/2014/main" id="{38801540-DC47-AA4B-B979-BAA1AACAD839}"/>
                </a:ext>
              </a:extLst>
            </p:cNvPr>
            <p:cNvSpPr/>
            <p:nvPr/>
          </p:nvSpPr>
          <p:spPr bwMode="auto">
            <a:xfrm>
              <a:off x="8206905" y="514915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0671AC8A-4D54-EC4E-85D3-8706AFA7E8BD}"/>
                </a:ext>
              </a:extLst>
            </p:cNvPr>
            <p:cNvSpPr/>
            <p:nvPr/>
          </p:nvSpPr>
          <p:spPr bwMode="auto">
            <a:xfrm>
              <a:off x="8249516" y="5600630"/>
              <a:ext cx="45719" cy="382727"/>
            </a:xfrm>
            <a:prstGeom prst="rect">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A6A54105-E279-044E-864B-F8EA2E89BC41}"/>
                </a:ext>
              </a:extLst>
            </p:cNvPr>
            <p:cNvSpPr/>
            <p:nvPr/>
          </p:nvSpPr>
          <p:spPr bwMode="auto">
            <a:xfrm>
              <a:off x="8975558" y="4181475"/>
              <a:ext cx="360947" cy="1801881"/>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EF56AC7E-41DC-B14B-9F25-D978083179A2}"/>
                </a:ext>
              </a:extLst>
            </p:cNvPr>
            <p:cNvSpPr/>
            <p:nvPr/>
          </p:nvSpPr>
          <p:spPr bwMode="auto">
            <a:xfrm>
              <a:off x="8538581" y="4873539"/>
              <a:ext cx="436977" cy="55232"/>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45" name="TextBox 44">
            <a:extLst>
              <a:ext uri="{FF2B5EF4-FFF2-40B4-BE49-F238E27FC236}">
                <a16:creationId xmlns:a16="http://schemas.microsoft.com/office/drawing/2014/main" id="{EE4FF7DD-8A8A-CA4C-A4D2-5FA9E3BCB96E}"/>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2" name="Rectangle 1">
            <a:extLst>
              <a:ext uri="{FF2B5EF4-FFF2-40B4-BE49-F238E27FC236}">
                <a16:creationId xmlns:a16="http://schemas.microsoft.com/office/drawing/2014/main" id="{7E463AB3-8DC6-45D1-BCC9-F7DE90E8743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20" name="Group 19">
            <a:extLst>
              <a:ext uri="{FF2B5EF4-FFF2-40B4-BE49-F238E27FC236}">
                <a16:creationId xmlns:a16="http://schemas.microsoft.com/office/drawing/2014/main" id="{5E9C4124-A8B3-49E5-A23B-6560414880A4}"/>
              </a:ext>
            </a:extLst>
          </p:cNvPr>
          <p:cNvGrpSpPr/>
          <p:nvPr/>
        </p:nvGrpSpPr>
        <p:grpSpPr>
          <a:xfrm>
            <a:off x="10177356" y="2171181"/>
            <a:ext cx="1099140" cy="2499146"/>
            <a:chOff x="10177356" y="2171181"/>
            <a:chExt cx="1099140" cy="2499146"/>
          </a:xfrm>
        </p:grpSpPr>
        <p:sp>
          <p:nvSpPr>
            <p:cNvPr id="9" name="Rectangle 8">
              <a:extLst>
                <a:ext uri="{FF2B5EF4-FFF2-40B4-BE49-F238E27FC236}">
                  <a16:creationId xmlns:a16="http://schemas.microsoft.com/office/drawing/2014/main" id="{90A20F47-51B7-47F1-AB39-1EB2DE33F721}"/>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EBD14818-7AD6-4059-AC5A-E2E826820862}"/>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321B6EDF-43A1-4C24-AF45-DCD9307D9B15}"/>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13" name="Freeform 5">
                <a:extLst>
                  <a:ext uri="{FF2B5EF4-FFF2-40B4-BE49-F238E27FC236}">
                    <a16:creationId xmlns:a16="http://schemas.microsoft.com/office/drawing/2014/main" id="{07E33A7A-913D-4CCA-9CA6-4904B96A6A07}"/>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A95278E2-AD58-489F-BE01-B25EC6F038A5}"/>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958BFF54-CE8C-489C-96E5-F9FF31CB4EC9}"/>
                </a:ext>
              </a:extLst>
            </p:cNvPr>
            <p:cNvGrpSpPr/>
            <p:nvPr/>
          </p:nvGrpSpPr>
          <p:grpSpPr>
            <a:xfrm>
              <a:off x="10492326" y="3637189"/>
              <a:ext cx="469199" cy="808027"/>
              <a:chOff x="10695214" y="4270043"/>
              <a:chExt cx="860430" cy="1481780"/>
            </a:xfrm>
          </p:grpSpPr>
          <p:pic>
            <p:nvPicPr>
              <p:cNvPr id="5" name="Picture 4">
                <a:extLst>
                  <a:ext uri="{FF2B5EF4-FFF2-40B4-BE49-F238E27FC236}">
                    <a16:creationId xmlns:a16="http://schemas.microsoft.com/office/drawing/2014/main" id="{7C537541-FC1D-4741-989E-BF00F92DF89B}"/>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4" name="Picture 43">
                <a:extLst>
                  <a:ext uri="{FF2B5EF4-FFF2-40B4-BE49-F238E27FC236}">
                    <a16:creationId xmlns:a16="http://schemas.microsoft.com/office/drawing/2014/main" id="{26B7F982-7642-451E-9942-2AD8CB7F915E}"/>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6" name="Group 45">
            <a:extLst>
              <a:ext uri="{FF2B5EF4-FFF2-40B4-BE49-F238E27FC236}">
                <a16:creationId xmlns:a16="http://schemas.microsoft.com/office/drawing/2014/main" id="{FCD63DA7-FF0A-4EBD-A9B8-4C4557C7BAD4}"/>
              </a:ext>
            </a:extLst>
          </p:cNvPr>
          <p:cNvGrpSpPr/>
          <p:nvPr/>
        </p:nvGrpSpPr>
        <p:grpSpPr>
          <a:xfrm>
            <a:off x="11075449" y="5347093"/>
            <a:ext cx="574377" cy="568183"/>
            <a:chOff x="6712956" y="9045673"/>
            <a:chExt cx="464984" cy="459971"/>
          </a:xfrm>
        </p:grpSpPr>
        <p:sp>
          <p:nvSpPr>
            <p:cNvPr id="47" name="Rectangle 46">
              <a:extLst>
                <a:ext uri="{FF2B5EF4-FFF2-40B4-BE49-F238E27FC236}">
                  <a16:creationId xmlns:a16="http://schemas.microsoft.com/office/drawing/2014/main" id="{97B3D61D-7468-4F42-94F5-CDE2BDF39047}"/>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226EC24-FD8B-4D7C-BC3D-548FBC1E612E}"/>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BA642318-226B-4B8B-9CE4-D90646318725}"/>
                </a:ext>
              </a:extLst>
            </p:cNvPr>
            <p:cNvGrpSpPr/>
            <p:nvPr/>
          </p:nvGrpSpPr>
          <p:grpSpPr>
            <a:xfrm>
              <a:off x="6712956" y="9045673"/>
              <a:ext cx="464984" cy="138505"/>
              <a:chOff x="551886" y="4922823"/>
              <a:chExt cx="508602" cy="151498"/>
            </a:xfrm>
          </p:grpSpPr>
          <p:sp>
            <p:nvSpPr>
              <p:cNvPr id="58" name="Rectangle 57">
                <a:extLst>
                  <a:ext uri="{FF2B5EF4-FFF2-40B4-BE49-F238E27FC236}">
                    <a16:creationId xmlns:a16="http://schemas.microsoft.com/office/drawing/2014/main" id="{CCD72AF7-51C2-4D0E-8996-B45B0E6D9620}"/>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87BADBAF-2023-4223-85B1-704531063CF2}"/>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1E7C6418-1F8C-4D75-A761-9D91D3B184A1}"/>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50" name="Straight Connector 49">
              <a:extLst>
                <a:ext uri="{FF2B5EF4-FFF2-40B4-BE49-F238E27FC236}">
                  <a16:creationId xmlns:a16="http://schemas.microsoft.com/office/drawing/2014/main" id="{CBE422ED-68AA-4994-9B04-7EAA9CE39424}"/>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A7394915-7F1A-4350-9E07-3AB522BD9001}"/>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86F4121A-DC27-4ADC-907F-18BF778C3D29}"/>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D7515146-7F4D-4449-8DA8-9EB2123A1CBE}"/>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DB13274C-3280-4DAD-83AD-11C78A38AACE}"/>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5E8797E8-E745-4FF6-A0E1-F7508C838D59}"/>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6" name="Straight Connector 55">
              <a:extLst>
                <a:ext uri="{FF2B5EF4-FFF2-40B4-BE49-F238E27FC236}">
                  <a16:creationId xmlns:a16="http://schemas.microsoft.com/office/drawing/2014/main" id="{3EB46D21-FA74-4270-9B1A-1CA243E1742E}"/>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7" name="Straight Connector 56">
              <a:extLst>
                <a:ext uri="{FF2B5EF4-FFF2-40B4-BE49-F238E27FC236}">
                  <a16:creationId xmlns:a16="http://schemas.microsoft.com/office/drawing/2014/main" id="{BA311CE3-40E2-422C-981B-ED363F0A85AC}"/>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61" name="Freeform 130">
            <a:extLst>
              <a:ext uri="{FF2B5EF4-FFF2-40B4-BE49-F238E27FC236}">
                <a16:creationId xmlns:a16="http://schemas.microsoft.com/office/drawing/2014/main" id="{FDE8F9E0-1BB5-4898-90D4-07D4810740B9}"/>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2" name="Picture 61">
            <a:extLst>
              <a:ext uri="{FF2B5EF4-FFF2-40B4-BE49-F238E27FC236}">
                <a16:creationId xmlns:a16="http://schemas.microsoft.com/office/drawing/2014/main" id="{17A4A74C-DC6F-49AA-A526-8754DE0909BB}"/>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spTree>
    <p:extLst>
      <p:ext uri="{BB962C8B-B14F-4D97-AF65-F5344CB8AC3E}">
        <p14:creationId xmlns:p14="http://schemas.microsoft.com/office/powerpoint/2010/main" val="108700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417933" y="264339"/>
            <a:ext cx="11018520" cy="553998"/>
          </a:xfrm>
        </p:spPr>
        <p:txBody>
          <a:bodyPr/>
          <a:lstStyle/>
          <a:p>
            <a:r>
              <a:rPr lang="en-US" dirty="0"/>
              <a:t>SQL Server Graph Database</a:t>
            </a:r>
          </a:p>
        </p:txBody>
      </p:sp>
      <p:pic>
        <p:nvPicPr>
          <p:cNvPr id="4" name="Picture 2" descr="person-cities-restaurants-tables">
            <a:extLst>
              <a:ext uri="{FF2B5EF4-FFF2-40B4-BE49-F238E27FC236}">
                <a16:creationId xmlns:a16="http://schemas.microsoft.com/office/drawing/2014/main" id="{49E96EBB-8B77-46E1-8301-CD1824E1E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7037" y="194959"/>
            <a:ext cx="3990974" cy="32203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AC19318C-61DD-404D-B294-F6A10C6CE440}"/>
              </a:ext>
            </a:extLst>
          </p:cNvPr>
          <p:cNvGraphicFramePr>
            <a:graphicFrameLocks noGrp="1"/>
          </p:cNvGraphicFramePr>
          <p:nvPr>
            <p:extLst>
              <p:ext uri="{D42A27DB-BD31-4B8C-83A1-F6EECF244321}">
                <p14:modId xmlns:p14="http://schemas.microsoft.com/office/powerpoint/2010/main" val="796778415"/>
              </p:ext>
            </p:extLst>
          </p:nvPr>
        </p:nvGraphicFramePr>
        <p:xfrm>
          <a:off x="460113" y="2257555"/>
          <a:ext cx="3275012" cy="2971483"/>
        </p:xfrm>
        <a:graphic>
          <a:graphicData uri="http://schemas.openxmlformats.org/drawingml/2006/table">
            <a:tbl>
              <a:tblPr firstRow="1" bandRow="1">
                <a:tableStyleId>{5C22544A-7EE6-4342-B048-85BDC9FD1C3A}</a:tableStyleId>
              </a:tblPr>
              <a:tblGrid>
                <a:gridCol w="1637506">
                  <a:extLst>
                    <a:ext uri="{9D8B030D-6E8A-4147-A177-3AD203B41FA5}">
                      <a16:colId xmlns:a16="http://schemas.microsoft.com/office/drawing/2014/main" val="876674372"/>
                    </a:ext>
                  </a:extLst>
                </a:gridCol>
                <a:gridCol w="1637506">
                  <a:extLst>
                    <a:ext uri="{9D8B030D-6E8A-4147-A177-3AD203B41FA5}">
                      <a16:colId xmlns:a16="http://schemas.microsoft.com/office/drawing/2014/main" val="2275974805"/>
                    </a:ext>
                  </a:extLst>
                </a:gridCol>
              </a:tblGrid>
              <a:tr h="411163">
                <a:tc>
                  <a:txBody>
                    <a:bodyPr/>
                    <a:lstStyle/>
                    <a:p>
                      <a:r>
                        <a:rPr lang="en-US" dirty="0"/>
                        <a:t>Table</a:t>
                      </a:r>
                    </a:p>
                  </a:txBody>
                  <a:tcPr/>
                </a:tc>
                <a:tc>
                  <a:txBody>
                    <a:bodyPr/>
                    <a:lstStyle/>
                    <a:p>
                      <a:r>
                        <a:rPr lang="en-US" dirty="0"/>
                        <a:t>Table Type</a:t>
                      </a:r>
                    </a:p>
                  </a:txBody>
                  <a:tcPr/>
                </a:tc>
                <a:extLst>
                  <a:ext uri="{0D108BD9-81ED-4DB2-BD59-A6C34878D82A}">
                    <a16:rowId xmlns:a16="http://schemas.microsoft.com/office/drawing/2014/main" val="1999477664"/>
                  </a:ext>
                </a:extLst>
              </a:tr>
              <a:tr h="352000">
                <a:tc>
                  <a:txBody>
                    <a:bodyPr/>
                    <a:lstStyle/>
                    <a:p>
                      <a:r>
                        <a:rPr lang="en-US" dirty="0"/>
                        <a:t>Person</a:t>
                      </a:r>
                    </a:p>
                  </a:txBody>
                  <a:tcPr/>
                </a:tc>
                <a:tc>
                  <a:txBody>
                    <a:bodyPr/>
                    <a:lstStyle/>
                    <a:p>
                      <a:r>
                        <a:rPr lang="en-US" dirty="0"/>
                        <a:t>NODE</a:t>
                      </a:r>
                    </a:p>
                  </a:txBody>
                  <a:tcPr/>
                </a:tc>
                <a:extLst>
                  <a:ext uri="{0D108BD9-81ED-4DB2-BD59-A6C34878D82A}">
                    <a16:rowId xmlns:a16="http://schemas.microsoft.com/office/drawing/2014/main" val="1830788281"/>
                  </a:ext>
                </a:extLst>
              </a:tr>
              <a:tr h="352000">
                <a:tc>
                  <a:txBody>
                    <a:bodyPr/>
                    <a:lstStyle/>
                    <a:p>
                      <a:r>
                        <a:rPr lang="en-US" dirty="0"/>
                        <a:t>Restaurant</a:t>
                      </a:r>
                    </a:p>
                  </a:txBody>
                  <a:tcPr/>
                </a:tc>
                <a:tc>
                  <a:txBody>
                    <a:bodyPr/>
                    <a:lstStyle/>
                    <a:p>
                      <a:r>
                        <a:rPr lang="en-US" dirty="0"/>
                        <a:t>NODE</a:t>
                      </a:r>
                    </a:p>
                  </a:txBody>
                  <a:tcPr/>
                </a:tc>
                <a:extLst>
                  <a:ext uri="{0D108BD9-81ED-4DB2-BD59-A6C34878D82A}">
                    <a16:rowId xmlns:a16="http://schemas.microsoft.com/office/drawing/2014/main" val="3681059420"/>
                  </a:ext>
                </a:extLst>
              </a:tr>
              <a:tr h="352000">
                <a:tc>
                  <a:txBody>
                    <a:bodyPr/>
                    <a:lstStyle/>
                    <a:p>
                      <a:r>
                        <a:rPr lang="en-US" dirty="0"/>
                        <a:t>City</a:t>
                      </a:r>
                    </a:p>
                  </a:txBody>
                  <a:tcPr/>
                </a:tc>
                <a:tc>
                  <a:txBody>
                    <a:bodyPr/>
                    <a:lstStyle/>
                    <a:p>
                      <a:r>
                        <a:rPr lang="en-US" dirty="0"/>
                        <a:t>NODE</a:t>
                      </a:r>
                    </a:p>
                  </a:txBody>
                  <a:tcPr/>
                </a:tc>
                <a:extLst>
                  <a:ext uri="{0D108BD9-81ED-4DB2-BD59-A6C34878D82A}">
                    <a16:rowId xmlns:a16="http://schemas.microsoft.com/office/drawing/2014/main" val="530156747"/>
                  </a:ext>
                </a:extLst>
              </a:tr>
              <a:tr h="352000">
                <a:tc>
                  <a:txBody>
                    <a:bodyPr/>
                    <a:lstStyle/>
                    <a:p>
                      <a:r>
                        <a:rPr lang="en-US" dirty="0"/>
                        <a:t>Likes (rating)</a:t>
                      </a:r>
                    </a:p>
                  </a:txBody>
                  <a:tcPr/>
                </a:tc>
                <a:tc>
                  <a:txBody>
                    <a:bodyPr/>
                    <a:lstStyle/>
                    <a:p>
                      <a:r>
                        <a:rPr lang="en-US" dirty="0"/>
                        <a:t>EDGE</a:t>
                      </a:r>
                    </a:p>
                  </a:txBody>
                  <a:tcPr/>
                </a:tc>
                <a:extLst>
                  <a:ext uri="{0D108BD9-81ED-4DB2-BD59-A6C34878D82A}">
                    <a16:rowId xmlns:a16="http://schemas.microsoft.com/office/drawing/2014/main" val="395619739"/>
                  </a:ext>
                </a:extLst>
              </a:tr>
              <a:tr h="352000">
                <a:tc>
                  <a:txBody>
                    <a:bodyPr/>
                    <a:lstStyle/>
                    <a:p>
                      <a:r>
                        <a:rPr lang="en-US" dirty="0"/>
                        <a:t>friendOf</a:t>
                      </a:r>
                    </a:p>
                  </a:txBody>
                  <a:tcPr/>
                </a:tc>
                <a:tc>
                  <a:txBody>
                    <a:bodyPr/>
                    <a:lstStyle/>
                    <a:p>
                      <a:r>
                        <a:rPr lang="en-US" dirty="0"/>
                        <a:t>EDGE</a:t>
                      </a:r>
                    </a:p>
                  </a:txBody>
                  <a:tcPr/>
                </a:tc>
                <a:extLst>
                  <a:ext uri="{0D108BD9-81ED-4DB2-BD59-A6C34878D82A}">
                    <a16:rowId xmlns:a16="http://schemas.microsoft.com/office/drawing/2014/main" val="2318118122"/>
                  </a:ext>
                </a:extLst>
              </a:tr>
              <a:tr h="352000">
                <a:tc>
                  <a:txBody>
                    <a:bodyPr/>
                    <a:lstStyle/>
                    <a:p>
                      <a:r>
                        <a:rPr lang="en-US" dirty="0"/>
                        <a:t>livesIn</a:t>
                      </a:r>
                    </a:p>
                  </a:txBody>
                  <a:tcPr/>
                </a:tc>
                <a:tc>
                  <a:txBody>
                    <a:bodyPr/>
                    <a:lstStyle/>
                    <a:p>
                      <a:r>
                        <a:rPr lang="en-US" dirty="0"/>
                        <a:t>EDGE</a:t>
                      </a:r>
                    </a:p>
                  </a:txBody>
                  <a:tcPr/>
                </a:tc>
                <a:extLst>
                  <a:ext uri="{0D108BD9-81ED-4DB2-BD59-A6C34878D82A}">
                    <a16:rowId xmlns:a16="http://schemas.microsoft.com/office/drawing/2014/main" val="3833041407"/>
                  </a:ext>
                </a:extLst>
              </a:tr>
              <a:tr h="352000">
                <a:tc>
                  <a:txBody>
                    <a:bodyPr/>
                    <a:lstStyle/>
                    <a:p>
                      <a:r>
                        <a:rPr lang="en-US" dirty="0"/>
                        <a:t>LocatedIn</a:t>
                      </a:r>
                    </a:p>
                  </a:txBody>
                  <a:tcPr/>
                </a:tc>
                <a:tc>
                  <a:txBody>
                    <a:bodyPr/>
                    <a:lstStyle/>
                    <a:p>
                      <a:r>
                        <a:rPr lang="en-US" dirty="0"/>
                        <a:t>EDGE</a:t>
                      </a:r>
                    </a:p>
                  </a:txBody>
                  <a:tcPr/>
                </a:tc>
                <a:extLst>
                  <a:ext uri="{0D108BD9-81ED-4DB2-BD59-A6C34878D82A}">
                    <a16:rowId xmlns:a16="http://schemas.microsoft.com/office/drawing/2014/main" val="3414480566"/>
                  </a:ext>
                </a:extLst>
              </a:tr>
            </a:tbl>
          </a:graphicData>
        </a:graphic>
      </p:graphicFrame>
      <p:sp>
        <p:nvSpPr>
          <p:cNvPr id="6" name="Rectangle 5">
            <a:extLst>
              <a:ext uri="{FF2B5EF4-FFF2-40B4-BE49-F238E27FC236}">
                <a16:creationId xmlns:a16="http://schemas.microsoft.com/office/drawing/2014/main" id="{4B04D43F-34FC-4BBA-BB68-20DBB3818B8E}"/>
              </a:ext>
            </a:extLst>
          </p:cNvPr>
          <p:cNvSpPr/>
          <p:nvPr/>
        </p:nvSpPr>
        <p:spPr>
          <a:xfrm>
            <a:off x="5358734" y="5022464"/>
            <a:ext cx="6937744" cy="1815882"/>
          </a:xfrm>
          <a:prstGeom prst="rect">
            <a:avLst/>
          </a:prstGeom>
        </p:spPr>
        <p:txBody>
          <a:bodyPr wrap="square">
            <a:spAutoFit/>
          </a:bodyPr>
          <a:lstStyle/>
          <a:p>
            <a:r>
              <a:rPr lang="en-US" sz="1600" dirty="0">
                <a:latin typeface="Consolas" panose="020B0609020204030204" pitchFamily="49" charset="0"/>
              </a:rPr>
              <a:t>-- Find Restaurants that John's friends like</a:t>
            </a:r>
          </a:p>
          <a:p>
            <a:r>
              <a:rPr lang="en-US" sz="1600" dirty="0">
                <a:latin typeface="Consolas" panose="020B0609020204030204" pitchFamily="49" charset="0"/>
              </a:rPr>
              <a:t>SELECT Restaurant.name </a:t>
            </a:r>
          </a:p>
          <a:p>
            <a:r>
              <a:rPr lang="en-US" sz="1600" dirty="0">
                <a:latin typeface="Consolas" panose="020B0609020204030204" pitchFamily="49" charset="0"/>
              </a:rPr>
              <a:t>FROM Person person1, Person person2, likes, friendOf, Restaurant </a:t>
            </a:r>
          </a:p>
          <a:p>
            <a:r>
              <a:rPr lang="en-US" sz="1600" dirty="0">
                <a:latin typeface="Consolas" panose="020B0609020204030204" pitchFamily="49" charset="0"/>
              </a:rPr>
              <a:t>WHERE MATCH(person1-(friendOf)-&gt;person2-(likes)-&gt;Restaurant) </a:t>
            </a:r>
          </a:p>
          <a:p>
            <a:r>
              <a:rPr lang="en-US" sz="1600" dirty="0">
                <a:latin typeface="Consolas" panose="020B0609020204030204" pitchFamily="49" charset="0"/>
              </a:rPr>
              <a:t>AND person1.name='John'; </a:t>
            </a:r>
            <a:br>
              <a:rPr lang="en-US" sz="1600" dirty="0"/>
            </a:br>
            <a:endParaRPr lang="en-US" sz="1600" dirty="0"/>
          </a:p>
        </p:txBody>
      </p:sp>
      <p:sp>
        <p:nvSpPr>
          <p:cNvPr id="7" name="Thought Bubble: Cloud 6">
            <a:extLst>
              <a:ext uri="{FF2B5EF4-FFF2-40B4-BE49-F238E27FC236}">
                <a16:creationId xmlns:a16="http://schemas.microsoft.com/office/drawing/2014/main" id="{658EF6B3-37F2-4519-870E-729A0F35E41C}"/>
              </a:ext>
            </a:extLst>
          </p:cNvPr>
          <p:cNvSpPr/>
          <p:nvPr/>
        </p:nvSpPr>
        <p:spPr bwMode="auto">
          <a:xfrm>
            <a:off x="5680882" y="1325119"/>
            <a:ext cx="2209800" cy="1371600"/>
          </a:xfrm>
          <a:prstGeom prst="cloudCallout">
            <a:avLst>
              <a:gd name="adj1" fmla="val 63850"/>
              <a:gd name="adj2" fmla="val -46802"/>
            </a:avLst>
          </a:prstGeom>
          <a:solidFill>
            <a:schemeClr val="accent1">
              <a:lumMod val="50000"/>
            </a:schemeClr>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ry the </a:t>
            </a:r>
            <a:r>
              <a:rPr lang="en-US" sz="2400" dirty="0">
                <a:gradFill>
                  <a:gsLst>
                    <a:gs pos="0">
                      <a:srgbClr val="FFFFFF"/>
                    </a:gs>
                    <a:gs pos="100000">
                      <a:srgbClr val="FFFFFF"/>
                    </a:gs>
                  </a:gsLst>
                  <a:lin ang="5400000" scaled="0"/>
                </a:gradFill>
                <a:ea typeface="Segoe UI" pitchFamily="34" charset="0"/>
                <a:cs typeface="Segoe UI" pitchFamily="34" charset="0"/>
                <a:hlinkClick r:id="rId3"/>
              </a:rPr>
              <a:t>sampl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32A63A4-2E3E-4DCC-95EE-FAC836A429ED}"/>
              </a:ext>
            </a:extLst>
          </p:cNvPr>
          <p:cNvSpPr/>
          <p:nvPr/>
        </p:nvSpPr>
        <p:spPr>
          <a:xfrm>
            <a:off x="5358734" y="3836471"/>
            <a:ext cx="4224233" cy="338554"/>
          </a:xfrm>
          <a:prstGeom prst="rect">
            <a:avLst/>
          </a:prstGeom>
        </p:spPr>
        <p:txBody>
          <a:bodyPr wrap="none">
            <a:spAutoFit/>
          </a:bodyPr>
          <a:lstStyle/>
          <a:p>
            <a:r>
              <a:rPr lang="en-US" sz="1600" dirty="0">
                <a:latin typeface="Consolas" panose="020B0609020204030204" pitchFamily="49" charset="0"/>
              </a:rPr>
              <a:t>INSERT INTO Person VALUES (1,'John')</a:t>
            </a:r>
            <a:endParaRPr lang="en-US" sz="1600" dirty="0"/>
          </a:p>
        </p:txBody>
      </p:sp>
      <p:sp>
        <p:nvSpPr>
          <p:cNvPr id="9" name="Rectangle 8">
            <a:extLst>
              <a:ext uri="{FF2B5EF4-FFF2-40B4-BE49-F238E27FC236}">
                <a16:creationId xmlns:a16="http://schemas.microsoft.com/office/drawing/2014/main" id="{D406E5CB-7134-4797-9FE1-BAB6E8E852AE}"/>
              </a:ext>
            </a:extLst>
          </p:cNvPr>
          <p:cNvSpPr/>
          <p:nvPr/>
        </p:nvSpPr>
        <p:spPr>
          <a:xfrm>
            <a:off x="5333704" y="4224081"/>
            <a:ext cx="6962774" cy="584775"/>
          </a:xfrm>
          <a:prstGeom prst="rect">
            <a:avLst/>
          </a:prstGeom>
        </p:spPr>
        <p:txBody>
          <a:bodyPr wrap="square">
            <a:spAutoFit/>
          </a:bodyPr>
          <a:lstStyle/>
          <a:p>
            <a:r>
              <a:rPr lang="en-US" sz="1600" dirty="0">
                <a:latin typeface="Consolas" panose="020B0609020204030204" pitchFamily="49" charset="0"/>
              </a:rPr>
              <a:t>INSERT INTO likes VALUES ((SELECT $node_id FROM Person WHERE id = 1), (SELECT $node_id FROM Restaurant WHERE id = 1),9);</a:t>
            </a:r>
            <a:endParaRPr lang="en-US" sz="1600" dirty="0"/>
          </a:p>
        </p:txBody>
      </p:sp>
      <p:sp>
        <p:nvSpPr>
          <p:cNvPr id="10" name="Rectangle 9">
            <a:extLst>
              <a:ext uri="{FF2B5EF4-FFF2-40B4-BE49-F238E27FC236}">
                <a16:creationId xmlns:a16="http://schemas.microsoft.com/office/drawing/2014/main" id="{331FF703-5649-4484-9A01-F8728ABA9618}"/>
              </a:ext>
            </a:extLst>
          </p:cNvPr>
          <p:cNvSpPr/>
          <p:nvPr/>
        </p:nvSpPr>
        <p:spPr bwMode="auto">
          <a:xfrm>
            <a:off x="6094539" y="6069238"/>
            <a:ext cx="6069664" cy="24742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C8AAF447-092F-4489-823C-B797B4BA7192}"/>
              </a:ext>
            </a:extLst>
          </p:cNvPr>
          <p:cNvSpPr txBox="1"/>
          <p:nvPr/>
        </p:nvSpPr>
        <p:spPr>
          <a:xfrm>
            <a:off x="557211" y="5399475"/>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a:t>
            </a:r>
          </a:p>
        </p:txBody>
      </p:sp>
      <p:sp>
        <p:nvSpPr>
          <p:cNvPr id="12" name="TextBox 11">
            <a:extLst>
              <a:ext uri="{FF2B5EF4-FFF2-40B4-BE49-F238E27FC236}">
                <a16:creationId xmlns:a16="http://schemas.microsoft.com/office/drawing/2014/main" id="{5FEFF80A-F35E-4FAE-85F1-66F84E9F430F}"/>
              </a:ext>
            </a:extLst>
          </p:cNvPr>
          <p:cNvSpPr txBox="1"/>
          <p:nvPr/>
        </p:nvSpPr>
        <p:spPr>
          <a:xfrm>
            <a:off x="573741" y="5800078"/>
            <a:ext cx="3391458" cy="923330"/>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Derived tables and views</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Match support for MERGE</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Edge Constraints</a:t>
            </a:r>
          </a:p>
        </p:txBody>
      </p:sp>
      <p:sp>
        <p:nvSpPr>
          <p:cNvPr id="13" name="Text Placeholder 2">
            <a:extLst>
              <a:ext uri="{FF2B5EF4-FFF2-40B4-BE49-F238E27FC236}">
                <a16:creationId xmlns:a16="http://schemas.microsoft.com/office/drawing/2014/main" id="{38614559-E1E3-4AD6-BF8B-60491B08DCDA}"/>
              </a:ext>
            </a:extLst>
          </p:cNvPr>
          <p:cNvSpPr txBox="1">
            <a:spLocks/>
          </p:cNvSpPr>
          <p:nvPr/>
        </p:nvSpPr>
        <p:spPr>
          <a:xfrm>
            <a:off x="460113" y="973994"/>
            <a:ext cx="4873591" cy="1113125"/>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My data is modeled like a graph but T-SQL doesn’t naturally support that</a:t>
            </a:r>
          </a:p>
        </p:txBody>
      </p:sp>
    </p:spTree>
    <p:extLst>
      <p:ext uri="{BB962C8B-B14F-4D97-AF65-F5344CB8AC3E}">
        <p14:creationId xmlns:p14="http://schemas.microsoft.com/office/powerpoint/2010/main" val="34772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p:bldP spid="9" grpId="0"/>
      <p:bldP spid="10" grpId="0" animBg="1"/>
      <p:bldP spid="11" grpId="0"/>
      <p:bldP spid="1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171679" y="229799"/>
            <a:ext cx="4812915" cy="553998"/>
          </a:xfrm>
        </p:spPr>
        <p:txBody>
          <a:bodyPr/>
          <a:lstStyle/>
          <a:p>
            <a:r>
              <a:rPr lang="en-US" dirty="0"/>
              <a:t>SQL Server Extensibility</a:t>
            </a:r>
          </a:p>
        </p:txBody>
      </p:sp>
      <p:sp>
        <p:nvSpPr>
          <p:cNvPr id="5" name="Rectangle 4">
            <a:extLst>
              <a:ext uri="{FF2B5EF4-FFF2-40B4-BE49-F238E27FC236}">
                <a16:creationId xmlns:a16="http://schemas.microsoft.com/office/drawing/2014/main" id="{DC8C3A60-7C7A-4039-A048-48502A1C52E1}"/>
              </a:ext>
            </a:extLst>
          </p:cNvPr>
          <p:cNvSpPr/>
          <p:nvPr/>
        </p:nvSpPr>
        <p:spPr>
          <a:xfrm>
            <a:off x="5659395" y="316866"/>
            <a:ext cx="6227804" cy="619102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cxnSp>
        <p:nvCxnSpPr>
          <p:cNvPr id="6" name="Connector: Elbow 5">
            <a:extLst>
              <a:ext uri="{FF2B5EF4-FFF2-40B4-BE49-F238E27FC236}">
                <a16:creationId xmlns:a16="http://schemas.microsoft.com/office/drawing/2014/main" id="{E3166F12-3569-4E9B-91A0-469766B3A507}"/>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F849EEC-3606-4200-8F7C-4DD34B3A6FAA}"/>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8" name="TextBox 7">
            <a:extLst>
              <a:ext uri="{FF2B5EF4-FFF2-40B4-BE49-F238E27FC236}">
                <a16:creationId xmlns:a16="http://schemas.microsoft.com/office/drawing/2014/main" id="{E364CB98-E470-4ABE-B0D4-4194397FE588}"/>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9" name="TextBox 8">
            <a:extLst>
              <a:ext uri="{FF2B5EF4-FFF2-40B4-BE49-F238E27FC236}">
                <a16:creationId xmlns:a16="http://schemas.microsoft.com/office/drawing/2014/main" id="{F29B871B-19A6-4426-8131-BCE82AACC940}"/>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10" name="Connector: Elbow 9">
            <a:extLst>
              <a:ext uri="{FF2B5EF4-FFF2-40B4-BE49-F238E27FC236}">
                <a16:creationId xmlns:a16="http://schemas.microsoft.com/office/drawing/2014/main" id="{DAFFE7D5-4DB7-4297-8568-DC7F54660B43}"/>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B3E3B6A-A676-49C9-B440-5C586392E8F6}"/>
              </a:ext>
            </a:extLst>
          </p:cNvPr>
          <p:cNvCxnSpPr>
            <a:cxnSpLocks/>
            <a:endCxn id="36"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F028D60-39A9-4AF1-885A-78748BA5DCED}"/>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13" name="Freeform: Shape 829">
            <a:extLst>
              <a:ext uri="{FF2B5EF4-FFF2-40B4-BE49-F238E27FC236}">
                <a16:creationId xmlns:a16="http://schemas.microsoft.com/office/drawing/2014/main" id="{562A4A57-1145-49B4-AB27-0AC5DF1C8497}"/>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14" name="Group 13">
            <a:extLst>
              <a:ext uri="{FF2B5EF4-FFF2-40B4-BE49-F238E27FC236}">
                <a16:creationId xmlns:a16="http://schemas.microsoft.com/office/drawing/2014/main" id="{BDFDCDC4-CE40-4579-9AD9-0F4F7ECD4F86}"/>
              </a:ext>
            </a:extLst>
          </p:cNvPr>
          <p:cNvGrpSpPr/>
          <p:nvPr/>
        </p:nvGrpSpPr>
        <p:grpSpPr>
          <a:xfrm>
            <a:off x="5942460" y="2496065"/>
            <a:ext cx="650980" cy="630708"/>
            <a:chOff x="7157554" y="1735934"/>
            <a:chExt cx="397423" cy="398542"/>
          </a:xfrm>
        </p:grpSpPr>
        <p:grpSp>
          <p:nvGrpSpPr>
            <p:cNvPr id="15" name="Group 14">
              <a:extLst>
                <a:ext uri="{FF2B5EF4-FFF2-40B4-BE49-F238E27FC236}">
                  <a16:creationId xmlns:a16="http://schemas.microsoft.com/office/drawing/2014/main" id="{9F7679FC-BE66-437C-8089-87997D84644A}"/>
                </a:ext>
              </a:extLst>
            </p:cNvPr>
            <p:cNvGrpSpPr/>
            <p:nvPr/>
          </p:nvGrpSpPr>
          <p:grpSpPr>
            <a:xfrm>
              <a:off x="7157554" y="1735934"/>
              <a:ext cx="397423" cy="398542"/>
              <a:chOff x="2107244" y="1575258"/>
              <a:chExt cx="310993" cy="264555"/>
            </a:xfrm>
            <a:solidFill>
              <a:srgbClr val="0078D7"/>
            </a:solidFill>
          </p:grpSpPr>
          <p:sp>
            <p:nvSpPr>
              <p:cNvPr id="20" name="Rectangle 9">
                <a:extLst>
                  <a:ext uri="{FF2B5EF4-FFF2-40B4-BE49-F238E27FC236}">
                    <a16:creationId xmlns:a16="http://schemas.microsoft.com/office/drawing/2014/main" id="{FE195020-D62F-413A-9D3F-129AE6365569}"/>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21" name="Line 10">
                <a:extLst>
                  <a:ext uri="{FF2B5EF4-FFF2-40B4-BE49-F238E27FC236}">
                    <a16:creationId xmlns:a16="http://schemas.microsoft.com/office/drawing/2014/main" id="{163610DF-1A7E-4A5A-AA98-2ECF1B7D643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16" name="Group 15">
              <a:extLst>
                <a:ext uri="{FF2B5EF4-FFF2-40B4-BE49-F238E27FC236}">
                  <a16:creationId xmlns:a16="http://schemas.microsoft.com/office/drawing/2014/main" id="{0CC9994B-5944-4581-A3A9-91DB4298E257}"/>
                </a:ext>
              </a:extLst>
            </p:cNvPr>
            <p:cNvGrpSpPr/>
            <p:nvPr/>
          </p:nvGrpSpPr>
          <p:grpSpPr>
            <a:xfrm>
              <a:off x="7264761" y="1903738"/>
              <a:ext cx="191394" cy="180132"/>
              <a:chOff x="2202934" y="1701907"/>
              <a:chExt cx="95690" cy="90061"/>
            </a:xfrm>
            <a:solidFill>
              <a:srgbClr val="50E6FF"/>
            </a:solidFill>
          </p:grpSpPr>
          <p:sp>
            <p:nvSpPr>
              <p:cNvPr id="18" name="Freeform 14">
                <a:extLst>
                  <a:ext uri="{FF2B5EF4-FFF2-40B4-BE49-F238E27FC236}">
                    <a16:creationId xmlns:a16="http://schemas.microsoft.com/office/drawing/2014/main" id="{730FDD7F-FB8E-47E4-A484-F1401EEB3F44}"/>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9" name="Line 15">
                <a:extLst>
                  <a:ext uri="{FF2B5EF4-FFF2-40B4-BE49-F238E27FC236}">
                    <a16:creationId xmlns:a16="http://schemas.microsoft.com/office/drawing/2014/main" id="{3B5A84BF-F84E-473F-98BF-A45D0E1795D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766F7E5A-6999-41BD-8C40-4A026D40D222}"/>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22" name="Straight Connector 21">
            <a:extLst>
              <a:ext uri="{FF2B5EF4-FFF2-40B4-BE49-F238E27FC236}">
                <a16:creationId xmlns:a16="http://schemas.microsoft.com/office/drawing/2014/main" id="{AA6F71E1-3B65-4978-861E-BB0791C25714}"/>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4845056-D33A-42C8-8B27-611611B13CCD}"/>
              </a:ext>
            </a:extLst>
          </p:cNvPr>
          <p:cNvGrpSpPr/>
          <p:nvPr/>
        </p:nvGrpSpPr>
        <p:grpSpPr>
          <a:xfrm>
            <a:off x="8734730" y="4670327"/>
            <a:ext cx="608721" cy="615212"/>
            <a:chOff x="7632206" y="4181475"/>
            <a:chExt cx="1932899" cy="1953509"/>
          </a:xfrm>
        </p:grpSpPr>
        <p:sp>
          <p:nvSpPr>
            <p:cNvPr id="24" name="Rectangle 23">
              <a:extLst>
                <a:ext uri="{FF2B5EF4-FFF2-40B4-BE49-F238E27FC236}">
                  <a16:creationId xmlns:a16="http://schemas.microsoft.com/office/drawing/2014/main" id="{F032838B-D31F-406D-A350-51F8522B2E5C}"/>
                </a:ext>
              </a:extLst>
            </p:cNvPr>
            <p:cNvSpPr/>
            <p:nvPr/>
          </p:nvSpPr>
          <p:spPr bwMode="auto">
            <a:xfrm>
              <a:off x="7632206" y="5983357"/>
              <a:ext cx="1932899" cy="151627"/>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5" name="Triangle 35">
              <a:extLst>
                <a:ext uri="{FF2B5EF4-FFF2-40B4-BE49-F238E27FC236}">
                  <a16:creationId xmlns:a16="http://schemas.microsoft.com/office/drawing/2014/main" id="{1B29FAA2-A116-483F-9C7A-50EDA8028639}"/>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6" name="Triangle 36">
              <a:extLst>
                <a:ext uri="{FF2B5EF4-FFF2-40B4-BE49-F238E27FC236}">
                  <a16:creationId xmlns:a16="http://schemas.microsoft.com/office/drawing/2014/main" id="{8FE4BA08-BD99-4CC0-A95A-F23A27CD5BCC}"/>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 name="Rectangle 26">
              <a:extLst>
                <a:ext uri="{FF2B5EF4-FFF2-40B4-BE49-F238E27FC236}">
                  <a16:creationId xmlns:a16="http://schemas.microsoft.com/office/drawing/2014/main" id="{5BA40DDC-9888-4864-9CD2-4151432CF7EB}"/>
                </a:ext>
              </a:extLst>
            </p:cNvPr>
            <p:cNvSpPr/>
            <p:nvPr/>
          </p:nvSpPr>
          <p:spPr bwMode="auto">
            <a:xfrm>
              <a:off x="7990551" y="4790662"/>
              <a:ext cx="548031" cy="1192695"/>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8" name="Oval 27">
              <a:extLst>
                <a:ext uri="{FF2B5EF4-FFF2-40B4-BE49-F238E27FC236}">
                  <a16:creationId xmlns:a16="http://schemas.microsoft.com/office/drawing/2014/main" id="{21B08159-3B05-408B-A1CF-6DE53199FEF3}"/>
                </a:ext>
              </a:extLst>
            </p:cNvPr>
            <p:cNvSpPr/>
            <p:nvPr/>
          </p:nvSpPr>
          <p:spPr bwMode="auto">
            <a:xfrm>
              <a:off x="8195814" y="492877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9" name="Oval 28">
              <a:extLst>
                <a:ext uri="{FF2B5EF4-FFF2-40B4-BE49-F238E27FC236}">
                  <a16:creationId xmlns:a16="http://schemas.microsoft.com/office/drawing/2014/main" id="{6DC480F5-F208-45CC-876B-722AC8034D4C}"/>
                </a:ext>
              </a:extLst>
            </p:cNvPr>
            <p:cNvSpPr/>
            <p:nvPr/>
          </p:nvSpPr>
          <p:spPr bwMode="auto">
            <a:xfrm>
              <a:off x="8206905" y="514915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0" name="Rectangle 29">
              <a:extLst>
                <a:ext uri="{FF2B5EF4-FFF2-40B4-BE49-F238E27FC236}">
                  <a16:creationId xmlns:a16="http://schemas.microsoft.com/office/drawing/2014/main" id="{7C533772-86DC-4305-AE88-1F5C8BA26CDA}"/>
                </a:ext>
              </a:extLst>
            </p:cNvPr>
            <p:cNvSpPr/>
            <p:nvPr/>
          </p:nvSpPr>
          <p:spPr bwMode="auto">
            <a:xfrm>
              <a:off x="8249516" y="5600630"/>
              <a:ext cx="45719" cy="382727"/>
            </a:xfrm>
            <a:prstGeom prst="rect">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1" name="Rectangle 30">
              <a:extLst>
                <a:ext uri="{FF2B5EF4-FFF2-40B4-BE49-F238E27FC236}">
                  <a16:creationId xmlns:a16="http://schemas.microsoft.com/office/drawing/2014/main" id="{CAE4A692-37B4-4D25-AEFC-E82646A15B3D}"/>
                </a:ext>
              </a:extLst>
            </p:cNvPr>
            <p:cNvSpPr/>
            <p:nvPr/>
          </p:nvSpPr>
          <p:spPr bwMode="auto">
            <a:xfrm>
              <a:off x="8975558" y="4181475"/>
              <a:ext cx="360947" cy="1801881"/>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2" name="Rectangle 31">
              <a:extLst>
                <a:ext uri="{FF2B5EF4-FFF2-40B4-BE49-F238E27FC236}">
                  <a16:creationId xmlns:a16="http://schemas.microsoft.com/office/drawing/2014/main" id="{E3EEA81E-FEF9-4FEC-B98F-ADB2549E6E7C}"/>
                </a:ext>
              </a:extLst>
            </p:cNvPr>
            <p:cNvSpPr/>
            <p:nvPr/>
          </p:nvSpPr>
          <p:spPr bwMode="auto">
            <a:xfrm>
              <a:off x="8538581" y="4873539"/>
              <a:ext cx="436977" cy="55232"/>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33" name="TextBox 32">
            <a:extLst>
              <a:ext uri="{FF2B5EF4-FFF2-40B4-BE49-F238E27FC236}">
                <a16:creationId xmlns:a16="http://schemas.microsoft.com/office/drawing/2014/main" id="{DEB5584F-89DE-4556-A750-6FD24046DA6B}"/>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34" name="Rectangle 33">
            <a:extLst>
              <a:ext uri="{FF2B5EF4-FFF2-40B4-BE49-F238E27FC236}">
                <a16:creationId xmlns:a16="http://schemas.microsoft.com/office/drawing/2014/main" id="{49DF0A29-F1BE-41C2-904C-5DEB71645CF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35" name="Group 34">
            <a:extLst>
              <a:ext uri="{FF2B5EF4-FFF2-40B4-BE49-F238E27FC236}">
                <a16:creationId xmlns:a16="http://schemas.microsoft.com/office/drawing/2014/main" id="{5C90FB3D-E997-4D4B-8C31-414243E11907}"/>
              </a:ext>
            </a:extLst>
          </p:cNvPr>
          <p:cNvGrpSpPr/>
          <p:nvPr/>
        </p:nvGrpSpPr>
        <p:grpSpPr>
          <a:xfrm>
            <a:off x="10177356" y="2171181"/>
            <a:ext cx="1099140" cy="2499146"/>
            <a:chOff x="10177356" y="2171181"/>
            <a:chExt cx="1099140" cy="2499146"/>
          </a:xfrm>
        </p:grpSpPr>
        <p:sp>
          <p:nvSpPr>
            <p:cNvPr id="36" name="Rectangle 35">
              <a:extLst>
                <a:ext uri="{FF2B5EF4-FFF2-40B4-BE49-F238E27FC236}">
                  <a16:creationId xmlns:a16="http://schemas.microsoft.com/office/drawing/2014/main" id="{BADCDF5D-08BE-48D7-8F01-D1FA2C7A709C}"/>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F80EA812-DC4A-4FB9-A2C8-575BAAF90E91}"/>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38" name="Group 37">
              <a:extLst>
                <a:ext uri="{FF2B5EF4-FFF2-40B4-BE49-F238E27FC236}">
                  <a16:creationId xmlns:a16="http://schemas.microsoft.com/office/drawing/2014/main" id="{C9D51DF7-F64C-42EB-A84B-033AF87D275B}"/>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42" name="Freeform 5">
                <a:extLst>
                  <a:ext uri="{FF2B5EF4-FFF2-40B4-BE49-F238E27FC236}">
                    <a16:creationId xmlns:a16="http://schemas.microsoft.com/office/drawing/2014/main" id="{9FF672FD-11A1-400F-B503-2B65FF487734}"/>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A2E95845-F7F2-47B2-8CFA-7F6A2B83DDAD}"/>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9A0B321C-EC57-45CA-818A-361B7998051C}"/>
                </a:ext>
              </a:extLst>
            </p:cNvPr>
            <p:cNvGrpSpPr/>
            <p:nvPr/>
          </p:nvGrpSpPr>
          <p:grpSpPr>
            <a:xfrm>
              <a:off x="10492326" y="3637189"/>
              <a:ext cx="469199" cy="808027"/>
              <a:chOff x="10695214" y="4270043"/>
              <a:chExt cx="860430" cy="1481780"/>
            </a:xfrm>
          </p:grpSpPr>
          <p:pic>
            <p:nvPicPr>
              <p:cNvPr id="40" name="Picture 39">
                <a:extLst>
                  <a:ext uri="{FF2B5EF4-FFF2-40B4-BE49-F238E27FC236}">
                    <a16:creationId xmlns:a16="http://schemas.microsoft.com/office/drawing/2014/main" id="{DCE0A48D-A924-4081-A180-0594A0949528}"/>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1" name="Picture 40">
                <a:extLst>
                  <a:ext uri="{FF2B5EF4-FFF2-40B4-BE49-F238E27FC236}">
                    <a16:creationId xmlns:a16="http://schemas.microsoft.com/office/drawing/2014/main" id="{9196C53B-7F40-4B10-AA71-61ABA7B2F215}"/>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4" name="Group 43">
            <a:extLst>
              <a:ext uri="{FF2B5EF4-FFF2-40B4-BE49-F238E27FC236}">
                <a16:creationId xmlns:a16="http://schemas.microsoft.com/office/drawing/2014/main" id="{5F7C04BF-3304-4762-8CE9-40E5F02434E4}"/>
              </a:ext>
            </a:extLst>
          </p:cNvPr>
          <p:cNvGrpSpPr/>
          <p:nvPr/>
        </p:nvGrpSpPr>
        <p:grpSpPr>
          <a:xfrm>
            <a:off x="11075449" y="5347093"/>
            <a:ext cx="574377" cy="568183"/>
            <a:chOff x="6712956" y="9045673"/>
            <a:chExt cx="464984" cy="459971"/>
          </a:xfrm>
        </p:grpSpPr>
        <p:sp>
          <p:nvSpPr>
            <p:cNvPr id="45" name="Rectangle 44">
              <a:extLst>
                <a:ext uri="{FF2B5EF4-FFF2-40B4-BE49-F238E27FC236}">
                  <a16:creationId xmlns:a16="http://schemas.microsoft.com/office/drawing/2014/main" id="{338D81F0-713B-451D-BBC4-68E025E9ABBB}"/>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D19BBE0E-2203-471B-8750-92F989E81E7B}"/>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7AA0EDE5-4070-45E2-A56F-D7443638825A}"/>
                </a:ext>
              </a:extLst>
            </p:cNvPr>
            <p:cNvGrpSpPr/>
            <p:nvPr/>
          </p:nvGrpSpPr>
          <p:grpSpPr>
            <a:xfrm>
              <a:off x="6712956" y="9045673"/>
              <a:ext cx="464984" cy="138505"/>
              <a:chOff x="551886" y="4922823"/>
              <a:chExt cx="508602" cy="151498"/>
            </a:xfrm>
          </p:grpSpPr>
          <p:sp>
            <p:nvSpPr>
              <p:cNvPr id="56" name="Rectangle 55">
                <a:extLst>
                  <a:ext uri="{FF2B5EF4-FFF2-40B4-BE49-F238E27FC236}">
                    <a16:creationId xmlns:a16="http://schemas.microsoft.com/office/drawing/2014/main" id="{7B64BE91-A9BA-4667-A002-3D8F5B013EA5}"/>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9550C38-2935-4F9F-8820-0F09F8FBBC35}"/>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3494EE7D-E77E-497C-BC99-DA118D12A392}"/>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48" name="Straight Connector 47">
              <a:extLst>
                <a:ext uri="{FF2B5EF4-FFF2-40B4-BE49-F238E27FC236}">
                  <a16:creationId xmlns:a16="http://schemas.microsoft.com/office/drawing/2014/main" id="{7E080B8E-3C6C-4505-8C6C-53193E859879}"/>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49" name="Straight Connector 48">
              <a:extLst>
                <a:ext uri="{FF2B5EF4-FFF2-40B4-BE49-F238E27FC236}">
                  <a16:creationId xmlns:a16="http://schemas.microsoft.com/office/drawing/2014/main" id="{5A5420BA-DF1C-448F-9021-5EDAF744BD76}"/>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0" name="Straight Connector 49">
              <a:extLst>
                <a:ext uri="{FF2B5EF4-FFF2-40B4-BE49-F238E27FC236}">
                  <a16:creationId xmlns:a16="http://schemas.microsoft.com/office/drawing/2014/main" id="{CCBF718F-B28E-4DB2-96B4-317C3092A085}"/>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C44B0E23-81DD-4D34-964E-5F806EFA30F7}"/>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DEFD8817-A951-470D-8B99-A80C3C6EA771}"/>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E726041D-C0BF-40B6-AD06-BD813681A5D4}"/>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23BC0016-2D48-4685-9ECD-035F2E8D2C3C}"/>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CE9CF01D-70BA-4B73-A047-A29CF8929213}"/>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59" name="Freeform 130">
            <a:extLst>
              <a:ext uri="{FF2B5EF4-FFF2-40B4-BE49-F238E27FC236}">
                <a16:creationId xmlns:a16="http://schemas.microsoft.com/office/drawing/2014/main" id="{F154C7F8-D6CE-4A75-B383-41FCC11C11E0}"/>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0" name="Picture 59">
            <a:extLst>
              <a:ext uri="{FF2B5EF4-FFF2-40B4-BE49-F238E27FC236}">
                <a16:creationId xmlns:a16="http://schemas.microsoft.com/office/drawing/2014/main" id="{B679F714-FA6A-4EDA-99B5-5B3391352C97}"/>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graphicFrame>
        <p:nvGraphicFramePr>
          <p:cNvPr id="61" name="Diagram 60">
            <a:extLst>
              <a:ext uri="{FF2B5EF4-FFF2-40B4-BE49-F238E27FC236}">
                <a16:creationId xmlns:a16="http://schemas.microsoft.com/office/drawing/2014/main" id="{A38647AF-5691-4866-846A-A75CB5B4DC9F}"/>
              </a:ext>
            </a:extLst>
          </p:cNvPr>
          <p:cNvGraphicFramePr/>
          <p:nvPr>
            <p:extLst>
              <p:ext uri="{D42A27DB-BD31-4B8C-83A1-F6EECF244321}">
                <p14:modId xmlns:p14="http://schemas.microsoft.com/office/powerpoint/2010/main" val="1103691100"/>
              </p:ext>
            </p:extLst>
          </p:nvPr>
        </p:nvGraphicFramePr>
        <p:xfrm>
          <a:off x="-17218" y="2648888"/>
          <a:ext cx="5361641" cy="397931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2" name="Text Placeholder 2">
            <a:extLst>
              <a:ext uri="{FF2B5EF4-FFF2-40B4-BE49-F238E27FC236}">
                <a16:creationId xmlns:a16="http://schemas.microsoft.com/office/drawing/2014/main" id="{90BC9079-59B9-48D8-B26B-A0E17FEB8804}"/>
              </a:ext>
            </a:extLst>
          </p:cNvPr>
          <p:cNvSpPr txBox="1">
            <a:spLocks/>
          </p:cNvSpPr>
          <p:nvPr/>
        </p:nvSpPr>
        <p:spPr>
          <a:xfrm>
            <a:off x="127554" y="929094"/>
            <a:ext cx="5307864"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my machine learning models close to the data and T-SQL doesn’t have all the functions I need.</a:t>
            </a:r>
          </a:p>
        </p:txBody>
      </p:sp>
    </p:spTree>
    <p:extLst>
      <p:ext uri="{BB962C8B-B14F-4D97-AF65-F5344CB8AC3E}">
        <p14:creationId xmlns:p14="http://schemas.microsoft.com/office/powerpoint/2010/main" val="3319097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par>
                          <p:cTn id="37" fill="hold">
                            <p:stCondLst>
                              <p:cond delay="0"/>
                            </p:stCondLst>
                            <p:childTnLst>
                              <p:par>
                                <p:cTn id="38" presetID="1"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childTnLst>
                                </p:cTn>
                              </p:par>
                            </p:childTnLst>
                          </p:cTn>
                        </p:par>
                        <p:par>
                          <p:cTn id="40" fill="hold">
                            <p:stCondLst>
                              <p:cond delay="0"/>
                            </p:stCondLst>
                            <p:childTnLst>
                              <p:par>
                                <p:cTn id="41" presetID="1"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childTnLst>
                                </p:cTn>
                              </p:par>
                            </p:childTnLst>
                          </p:cTn>
                        </p:par>
                        <p:par>
                          <p:cTn id="46" fill="hold">
                            <p:stCondLst>
                              <p:cond delay="0"/>
                            </p:stCondLst>
                            <p:childTnLst>
                              <p:par>
                                <p:cTn id="47" presetID="1" presetClass="entr" presetSubtype="0" fill="hold" grpId="0" nodeType="after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par>
                          <p:cTn id="49" fill="hold">
                            <p:stCondLst>
                              <p:cond delay="0"/>
                            </p:stCondLst>
                            <p:childTnLst>
                              <p:par>
                                <p:cTn id="50" presetID="1" presetClass="entr" presetSubtype="0" fill="hold" nodeType="afterEffect">
                                  <p:stCondLst>
                                    <p:cond delay="0"/>
                                  </p:stCondLst>
                                  <p:childTnLst>
                                    <p:set>
                                      <p:cBhvr>
                                        <p:cTn id="51" dur="1" fill="hold">
                                          <p:stCondLst>
                                            <p:cond delay="0"/>
                                          </p:stCondLst>
                                        </p:cTn>
                                        <p:tgtEl>
                                          <p:spTgt spid="35"/>
                                        </p:tgtEl>
                                        <p:attrNameLst>
                                          <p:attrName>style.visibility</p:attrName>
                                        </p:attrNameLst>
                                      </p:cBhvr>
                                      <p:to>
                                        <p:strVal val="visible"/>
                                      </p:to>
                                    </p:set>
                                  </p:childTnLst>
                                </p:cTn>
                              </p:par>
                            </p:childTnLst>
                          </p:cTn>
                        </p:par>
                        <p:par>
                          <p:cTn id="52" fill="hold">
                            <p:stCondLst>
                              <p:cond delay="0"/>
                            </p:stCondLst>
                            <p:childTnLst>
                              <p:par>
                                <p:cTn id="53" presetID="1" presetClass="entr" presetSubtype="0" fill="hold" nodeType="after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par>
                          <p:cTn id="55" fill="hold">
                            <p:stCondLst>
                              <p:cond delay="0"/>
                            </p:stCondLst>
                            <p:childTnLst>
                              <p:par>
                                <p:cTn id="56" presetID="1" presetClass="entr" presetSubtype="0" fill="hold" grpId="0" nodeType="afterEffect">
                                  <p:stCondLst>
                                    <p:cond delay="0"/>
                                  </p:stCondLst>
                                  <p:childTnLst>
                                    <p:set>
                                      <p:cBhvr>
                                        <p:cTn id="57" dur="1" fill="hold">
                                          <p:stCondLst>
                                            <p:cond delay="0"/>
                                          </p:stCondLst>
                                        </p:cTn>
                                        <p:tgtEl>
                                          <p:spTgt spid="59"/>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p:bldP spid="9" grpId="0"/>
      <p:bldP spid="12" grpId="0"/>
      <p:bldP spid="13" grpId="0" animBg="1"/>
      <p:bldP spid="33" grpId="0"/>
      <p:bldP spid="34" grpId="0" animBg="1"/>
      <p:bldP spid="59" grpId="0" animBg="1"/>
      <p:bldGraphic spid="61" grpId="0">
        <p:bldAsOne/>
      </p:bldGraphic>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5 Activity: The modern development platform</a:t>
            </a:r>
          </a:p>
        </p:txBody>
      </p:sp>
      <p:sp>
        <p:nvSpPr>
          <p:cNvPr id="4" name="Text Placeholder 3"/>
          <p:cNvSpPr>
            <a:spLocks noGrp="1"/>
          </p:cNvSpPr>
          <p:nvPr>
            <p:ph type="body" sz="quarter" idx="12"/>
          </p:nvPr>
        </p:nvSpPr>
        <p:spPr/>
        <p:txBody>
          <a:bodyPr/>
          <a:lstStyle/>
          <a:p>
            <a:r>
              <a:rPr lang="en-US" dirty="0"/>
              <a:t>SQL Server with Python and Java</a:t>
            </a:r>
          </a:p>
        </p:txBody>
      </p:sp>
    </p:spTree>
    <p:extLst>
      <p:ext uri="{BB962C8B-B14F-4D97-AF65-F5344CB8AC3E}">
        <p14:creationId xmlns:p14="http://schemas.microsoft.com/office/powerpoint/2010/main" val="870761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3035808"/>
            <a:ext cx="6400800" cy="498598"/>
          </a:xfrm>
        </p:spPr>
        <p:txBody>
          <a:bodyPr/>
          <a:lstStyle/>
          <a:p>
            <a:r>
              <a:rPr lang="en-US" dirty="0"/>
              <a:t>Module 6: SQL Server on Linux</a:t>
            </a:r>
          </a:p>
        </p:txBody>
      </p:sp>
    </p:spTree>
    <p:extLst>
      <p:ext uri="{BB962C8B-B14F-4D97-AF65-F5344CB8AC3E}">
        <p14:creationId xmlns:p14="http://schemas.microsoft.com/office/powerpoint/2010/main" val="29571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133177"/>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390" y="146076"/>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cap="none" spc="-50" dirty="0">
                <a:solidFill>
                  <a:schemeClr val="tx1"/>
                </a:solidFill>
                <a:latin typeface="+mj-lt"/>
                <a:cs typeface="Segoe UI" pitchFamily="34" charset="0"/>
              </a:rPr>
              <a:t>SQL Server on the platform of your choice</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770168" cy="2410916"/>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Support for RedHat Enterprise Linux (RHEL), Ubuntu, and SUSE Enterprise Linux (SLES) </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Linux and Windows Docker containers</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Windows Server / Windows 10</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Package-based installation: Yum Install, Apt-Get, and Zypper</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1" i="0" u="none" strike="noStrike" kern="1200" cap="none" spc="100" normalizeH="0" baseline="0" noProof="0" dirty="0">
                <a:ln>
                  <a:noFill/>
                </a:ln>
                <a:solidFill>
                  <a:schemeClr val="tx1"/>
                </a:solidFill>
                <a:effectLst/>
                <a:uLnTx/>
                <a:uFillTx/>
                <a:latin typeface="Segoe UI" panose="020B0502040204020203" pitchFamily="34" charset="0"/>
                <a:ea typeface="Segoe UI Semilight" charset="0"/>
                <a:cs typeface="Segoe UI" panose="020B0502040204020203" pitchFamily="34" charset="0"/>
              </a:rPr>
              <a:t>Database Compatibility on all Platforms</a:t>
            </a:r>
          </a:p>
        </p:txBody>
      </p:sp>
      <p:sp>
        <p:nvSpPr>
          <p:cNvPr id="88" name="Rectangle 87"/>
          <p:cNvSpPr/>
          <p:nvPr/>
        </p:nvSpPr>
        <p:spPr bwMode="auto">
          <a:xfrm>
            <a:off x="9094712" y="1315841"/>
            <a:ext cx="2589535" cy="4598180"/>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89" name="Rectangle 88"/>
          <p:cNvSpPr/>
          <p:nvPr/>
        </p:nvSpPr>
        <p:spPr bwMode="auto">
          <a:xfrm>
            <a:off x="5877630" y="1315841"/>
            <a:ext cx="2589535"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90" name="Freeform 130"/>
          <p:cNvSpPr>
            <a:spLocks noChangeAspect="1" noEditPoints="1"/>
          </p:cNvSpPr>
          <p:nvPr/>
        </p:nvSpPr>
        <p:spPr bwMode="black">
          <a:xfrm>
            <a:off x="6515944" y="1667761"/>
            <a:ext cx="1312907" cy="130757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67" tIns="43934" rIns="87867" bIns="43934" numCol="1" anchor="t" anchorCtr="0" compatLnSpc="1">
            <a:prstTxWarp prst="textNoShape">
              <a:avLst/>
            </a:prstTxWarp>
          </a:bodyPr>
          <a:lstStyle/>
          <a:p>
            <a:pPr marL="0" marR="0" lvl="0" indent="0" defTabSz="896181"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dirty="0">
              <a:ln>
                <a:noFill/>
              </a:ln>
              <a:solidFill>
                <a:srgbClr val="FFFFFF"/>
              </a:solidFill>
              <a:effectLst/>
              <a:uLnTx/>
              <a:uFillTx/>
              <a:latin typeface="Segoe UI Semilight"/>
            </a:endParaRPr>
          </a:p>
        </p:txBody>
      </p:sp>
      <p:sp>
        <p:nvSpPr>
          <p:cNvPr id="91" name="Rectangle 90"/>
          <p:cNvSpPr/>
          <p:nvPr/>
        </p:nvSpPr>
        <p:spPr bwMode="auto">
          <a:xfrm>
            <a:off x="5874832" y="3851027"/>
            <a:ext cx="2595130"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grpSp>
        <p:nvGrpSpPr>
          <p:cNvPr id="92" name="Group 91"/>
          <p:cNvGrpSpPr/>
          <p:nvPr/>
        </p:nvGrpSpPr>
        <p:grpSpPr>
          <a:xfrm>
            <a:off x="6239840" y="4058903"/>
            <a:ext cx="1879968" cy="1189591"/>
            <a:chOff x="8505290" y="2547131"/>
            <a:chExt cx="2822872" cy="1786236"/>
          </a:xfrm>
          <a:solidFill>
            <a:srgbClr val="0078D7"/>
          </a:solidFill>
        </p:grpSpPr>
        <p:sp>
          <p:nvSpPr>
            <p:cNvPr id="93" name="Freeform: Shape 83"/>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Freeform: Shape 84"/>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Freeform: Shape 85"/>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Shape 86"/>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Freeform: Shape 87"/>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Freeform: Shape 88"/>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Freeform: Shape 89"/>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Freeform: Shape 90"/>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Freeform: Shape 91"/>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Freeform: Shape 92"/>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Shape 93"/>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4" name="Group 103"/>
          <p:cNvGrpSpPr/>
          <p:nvPr/>
        </p:nvGrpSpPr>
        <p:grpSpPr>
          <a:xfrm>
            <a:off x="9705167" y="3851869"/>
            <a:ext cx="1536483" cy="715861"/>
            <a:chOff x="4986337" y="5373688"/>
            <a:chExt cx="1536701" cy="715962"/>
          </a:xfrm>
          <a:solidFill>
            <a:srgbClr val="0078D7"/>
          </a:solidFill>
        </p:grpSpPr>
        <p:grpSp>
          <p:nvGrpSpPr>
            <p:cNvPr id="105" name="Group 104"/>
            <p:cNvGrpSpPr/>
            <p:nvPr/>
          </p:nvGrpSpPr>
          <p:grpSpPr>
            <a:xfrm>
              <a:off x="5251450" y="5762625"/>
              <a:ext cx="1271588" cy="327025"/>
              <a:chOff x="5251450" y="5762625"/>
              <a:chExt cx="1271588" cy="327025"/>
            </a:xfrm>
            <a:grpFill/>
          </p:grpSpPr>
          <p:sp>
            <p:nvSpPr>
              <p:cNvPr id="109" name="Freeform 28"/>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29"/>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1" name="Freeform 30"/>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31"/>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32"/>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33"/>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6" name="Group 105"/>
            <p:cNvGrpSpPr/>
            <p:nvPr/>
          </p:nvGrpSpPr>
          <p:grpSpPr>
            <a:xfrm>
              <a:off x="4986337" y="5373688"/>
              <a:ext cx="881063" cy="452438"/>
              <a:chOff x="4986337" y="5373688"/>
              <a:chExt cx="881063" cy="452438"/>
            </a:xfrm>
            <a:grpFill/>
          </p:grpSpPr>
          <p:sp>
            <p:nvSpPr>
              <p:cNvPr id="107" name="Freeform 34"/>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35"/>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115" name="Group 114"/>
          <p:cNvGrpSpPr/>
          <p:nvPr/>
        </p:nvGrpSpPr>
        <p:grpSpPr>
          <a:xfrm>
            <a:off x="9548027" y="4977864"/>
            <a:ext cx="1850762" cy="417453"/>
            <a:chOff x="2643188" y="6081713"/>
            <a:chExt cx="1851025" cy="417512"/>
          </a:xfrm>
          <a:solidFill>
            <a:srgbClr val="0078D7"/>
          </a:solidFill>
        </p:grpSpPr>
        <p:sp>
          <p:nvSpPr>
            <p:cNvPr id="116" name="Oval 39"/>
            <p:cNvSpPr>
              <a:spLocks noChangeArrowheads="1"/>
            </p:cNvSpPr>
            <p:nvPr/>
          </p:nvSpPr>
          <p:spPr bwMode="auto">
            <a:xfrm>
              <a:off x="4271963" y="6081713"/>
              <a:ext cx="222250" cy="222250"/>
            </a:xfrm>
            <a:prstGeom prst="ellipse">
              <a:avLst/>
            </a:pr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7" name="Freeform 40"/>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8" name="Freeform 41"/>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9" name="Freeform 42"/>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0" name="Freeform 43"/>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1" name="Freeform 44"/>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2" name="Freeform 45"/>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3" name="Freeform 46"/>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4" name="Group 123"/>
          <p:cNvGrpSpPr/>
          <p:nvPr/>
        </p:nvGrpSpPr>
        <p:grpSpPr>
          <a:xfrm>
            <a:off x="9529115" y="2934396"/>
            <a:ext cx="1888584" cy="549776"/>
            <a:chOff x="2880656" y="5494318"/>
            <a:chExt cx="1888852" cy="549854"/>
          </a:xfrm>
          <a:solidFill>
            <a:srgbClr val="0078D7"/>
          </a:solidFill>
        </p:grpSpPr>
        <p:grpSp>
          <p:nvGrpSpPr>
            <p:cNvPr id="125" name="Group 124"/>
            <p:cNvGrpSpPr/>
            <p:nvPr/>
          </p:nvGrpSpPr>
          <p:grpSpPr>
            <a:xfrm>
              <a:off x="2880656" y="5494318"/>
              <a:ext cx="621131" cy="549854"/>
              <a:chOff x="2664209" y="5494318"/>
              <a:chExt cx="621131" cy="549854"/>
            </a:xfrm>
            <a:grpFill/>
          </p:grpSpPr>
          <p:sp>
            <p:nvSpPr>
              <p:cNvPr id="135" name="Freeform 50"/>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6" name="Freeform 51"/>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7" name="Freeform 52"/>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8" name="Freeform 53"/>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9" name="Freeform 54"/>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40" name="Freeform 55"/>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6" name="Group 125"/>
            <p:cNvGrpSpPr/>
            <p:nvPr/>
          </p:nvGrpSpPr>
          <p:grpSpPr>
            <a:xfrm>
              <a:off x="3639252" y="5657238"/>
              <a:ext cx="1130256" cy="313112"/>
              <a:chOff x="3422805" y="5657238"/>
              <a:chExt cx="1130256" cy="313112"/>
            </a:xfrm>
            <a:grpFill/>
          </p:grpSpPr>
          <p:sp>
            <p:nvSpPr>
              <p:cNvPr id="127" name="Freeform 56"/>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8" name="Freeform 57"/>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9" name="Freeform 58"/>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0" name="Freeform 59"/>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1" name="Freeform 60"/>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2" name="Freeform 61"/>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3" name="Freeform 62"/>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4" name="Freeform 63"/>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41" name="Rectangle 140"/>
          <p:cNvSpPr/>
          <p:nvPr/>
        </p:nvSpPr>
        <p:spPr bwMode="auto">
          <a:xfrm>
            <a:off x="9046616"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42" name="Rectangle 141"/>
          <p:cNvSpPr/>
          <p:nvPr/>
        </p:nvSpPr>
        <p:spPr bwMode="auto">
          <a:xfrm>
            <a:off x="5822205" y="3468730"/>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Windows container </a:t>
            </a:r>
          </a:p>
        </p:txBody>
      </p:sp>
      <p:sp>
        <p:nvSpPr>
          <p:cNvPr id="143" name="Rectangle 142"/>
          <p:cNvSpPr/>
          <p:nvPr/>
        </p:nvSpPr>
        <p:spPr bwMode="auto">
          <a:xfrm>
            <a:off x="5822205"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44" name="Group 4">
            <a:extLst>
              <a:ext uri="{FF2B5EF4-FFF2-40B4-BE49-F238E27FC236}">
                <a16:creationId xmlns:a16="http://schemas.microsoft.com/office/drawing/2014/main" id="{86ACB026-57D9-43ED-845A-87BCC2D2C139}"/>
              </a:ext>
            </a:extLst>
          </p:cNvPr>
          <p:cNvGrpSpPr>
            <a:grpSpLocks noChangeAspect="1"/>
          </p:cNvGrpSpPr>
          <p:nvPr/>
        </p:nvGrpSpPr>
        <p:grpSpPr bwMode="auto">
          <a:xfrm>
            <a:off x="10104694" y="1809834"/>
            <a:ext cx="737425" cy="862206"/>
            <a:chOff x="6796" y="954"/>
            <a:chExt cx="721" cy="843"/>
          </a:xfrm>
          <a:solidFill>
            <a:srgbClr val="0078D7"/>
          </a:solidFill>
        </p:grpSpPr>
        <p:sp>
          <p:nvSpPr>
            <p:cNvPr id="145" name="Freeform 5">
              <a:extLst>
                <a:ext uri="{FF2B5EF4-FFF2-40B4-BE49-F238E27FC236}">
                  <a16:creationId xmlns:a16="http://schemas.microsoft.com/office/drawing/2014/main" id="{7DB9C39D-EC66-4AF8-87AE-015EA33D1B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6" name="Freeform 6">
              <a:extLst>
                <a:ext uri="{FF2B5EF4-FFF2-40B4-BE49-F238E27FC236}">
                  <a16:creationId xmlns:a16="http://schemas.microsoft.com/office/drawing/2014/main" id="{09078763-523B-4DBC-98FF-FC73164555B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7" name="Freeform 7">
              <a:extLst>
                <a:ext uri="{FF2B5EF4-FFF2-40B4-BE49-F238E27FC236}">
                  <a16:creationId xmlns:a16="http://schemas.microsoft.com/office/drawing/2014/main" id="{95295BAF-4458-49C3-AE19-B5DB30A4616F}"/>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65" name="Group 64">
            <a:extLst>
              <a:ext uri="{FF2B5EF4-FFF2-40B4-BE49-F238E27FC236}">
                <a16:creationId xmlns:a16="http://schemas.microsoft.com/office/drawing/2014/main" id="{84A5F6C9-7A8A-45CE-90A6-D26A6F4C658B}"/>
              </a:ext>
            </a:extLst>
          </p:cNvPr>
          <p:cNvGrpSpPr/>
          <p:nvPr/>
        </p:nvGrpSpPr>
        <p:grpSpPr>
          <a:xfrm>
            <a:off x="6018996" y="5401888"/>
            <a:ext cx="2165787" cy="362938"/>
            <a:chOff x="1814286" y="7761330"/>
            <a:chExt cx="9662611" cy="1619249"/>
          </a:xfrm>
          <a:solidFill>
            <a:schemeClr val="accent1"/>
          </a:solidFill>
        </p:grpSpPr>
        <p:sp>
          <p:nvSpPr>
            <p:cNvPr id="66" name="Freeform: Shape 65">
              <a:extLst>
                <a:ext uri="{FF2B5EF4-FFF2-40B4-BE49-F238E27FC236}">
                  <a16:creationId xmlns:a16="http://schemas.microsoft.com/office/drawing/2014/main" id="{761BAEE0-E8C8-43FD-866A-373C349F4404}"/>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solidFill>
                  <a:srgbClr val="000000"/>
                </a:solidFill>
                <a:latin typeface="Segoe UI"/>
              </a:endParaRPr>
            </a:p>
          </p:txBody>
        </p:sp>
        <p:sp>
          <p:nvSpPr>
            <p:cNvPr id="67" name="Freeform: Shape 66">
              <a:extLst>
                <a:ext uri="{FF2B5EF4-FFF2-40B4-BE49-F238E27FC236}">
                  <a16:creationId xmlns:a16="http://schemas.microsoft.com/office/drawing/2014/main" id="{BA082D20-5E7D-490F-A285-9B691C8F333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solidFill>
                  <a:srgbClr val="000000"/>
                </a:solidFill>
                <a:latin typeface="Segoe UI"/>
              </a:endParaRPr>
            </a:p>
          </p:txBody>
        </p:sp>
      </p:grpSp>
    </p:spTree>
    <p:extLst>
      <p:ext uri="{BB962C8B-B14F-4D97-AF65-F5344CB8AC3E}">
        <p14:creationId xmlns:p14="http://schemas.microsoft.com/office/powerpoint/2010/main" val="100124317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014ADE61-DB2C-409E-AC7F-4677771D5E65}"/>
              </a:ext>
            </a:extLst>
          </p:cNvPr>
          <p:cNvGraphicFramePr>
            <a:graphicFrameLocks noGrp="1"/>
          </p:cNvGraphicFramePr>
          <p:nvPr/>
        </p:nvGraphicFramePr>
        <p:xfrm>
          <a:off x="462988" y="1777316"/>
          <a:ext cx="11338560" cy="3763282"/>
        </p:xfrm>
        <a:graphic>
          <a:graphicData uri="http://schemas.openxmlformats.org/drawingml/2006/table">
            <a:tbl>
              <a:tblPr bandRow="1">
                <a:tableStyleId>{69012ECD-51FC-41F1-AA8D-1B2483CD663E}</a:tableStyleId>
              </a:tblPr>
              <a:tblGrid>
                <a:gridCol w="246888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3"/>
                    </a:ext>
                  </a:extLst>
                </a:gridCol>
                <a:gridCol w="2468880">
                  <a:extLst>
                    <a:ext uri="{9D8B030D-6E8A-4147-A177-3AD203B41FA5}">
                      <a16:colId xmlns:a16="http://schemas.microsoft.com/office/drawing/2014/main" val="20005"/>
                    </a:ext>
                  </a:extLst>
                </a:gridCol>
              </a:tblGrid>
              <a:tr h="566928">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latin typeface="Segoe UI Semilight" panose="020B0402040204020203" pitchFamily="34" charset="0"/>
                        <a:ea typeface="Segoe UI" pitchFamily="34" charset="0"/>
                        <a:cs typeface="Segoe UI Semilight" panose="020B0402040204020203"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Current support level</a:t>
                      </a:r>
                    </a:p>
                  </a:txBody>
                  <a:tcPr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mainstrea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extended</a:t>
                      </a:r>
                    </a:p>
                  </a:txBody>
                  <a:tcPr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65163841"/>
                  </a:ext>
                </a:extLst>
              </a:tr>
              <a:tr h="731520">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r>
                        <a:rPr lang="en-US" sz="1200" b="1" i="0" kern="1200" spc="0" baseline="0" noProof="0" dirty="0">
                          <a:solidFill>
                            <a:schemeClr val="tx2"/>
                          </a:solidFill>
                          <a:effectLst/>
                          <a:latin typeface="Segoe UI Semibold" charset="0"/>
                          <a:ea typeface="Segoe UI Semibold" charset="0"/>
                          <a:cs typeface="Segoe UI Semibold" charset="0"/>
                        </a:rPr>
                        <a:t>SQL Server 2014</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Currently supporting all version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1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152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tx2"/>
                          </a:solidFill>
                          <a:effectLst/>
                          <a:latin typeface="Segoe UI Semibold" charset="0"/>
                          <a:ea typeface="Segoe UI Semibold" charset="0"/>
                          <a:cs typeface="Segoe UI Semibold" charset="0"/>
                        </a:rPr>
                        <a:t>SQL Server 2012</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12 SP2+ is in mainstream support until CY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1,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2, 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200" b="1" i="0" kern="1200" spc="0" baseline="0" dirty="0">
                          <a:solidFill>
                            <a:srgbClr val="E82122"/>
                          </a:solidFill>
                          <a:effectLst/>
                          <a:latin typeface="Segoe UI Semibold" charset="0"/>
                          <a:ea typeface="Segoe UI Semibold" charset="0"/>
                          <a:cs typeface="Segoe UI Semibold" charset="0"/>
                        </a:rPr>
                        <a:t>SQL Server 2008 and </a:t>
                      </a:r>
                      <a:br>
                        <a:rPr lang="en-IN" sz="1200" b="1" i="0" kern="1200" spc="0" baseline="0" dirty="0">
                          <a:solidFill>
                            <a:srgbClr val="E82122"/>
                          </a:solidFill>
                          <a:effectLst/>
                          <a:latin typeface="Segoe UI Semibold" charset="0"/>
                          <a:ea typeface="Segoe UI Semibold" charset="0"/>
                          <a:cs typeface="Segoe UI Semibold" charset="0"/>
                        </a:rPr>
                      </a:br>
                      <a:r>
                        <a:rPr lang="en-IN" sz="1200" b="1" i="0" kern="1200" spc="0" baseline="0" dirty="0">
                          <a:solidFill>
                            <a:srgbClr val="E82122"/>
                          </a:solidFill>
                          <a:effectLst/>
                          <a:latin typeface="Segoe UI Semibold" charset="0"/>
                          <a:ea typeface="Segoe UI Semibold" charset="0"/>
                          <a:cs typeface="Segoe UI Semibold" charset="0"/>
                        </a:rPr>
                        <a:t>SQL Server 2008 R2</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08 and 2008 R2 are in extended support which includes security updates, paid support, and requires purchasing non-security hotfix sup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E81123"/>
                          </a:solidFill>
                          <a:effectLst/>
                          <a:latin typeface="Segoe UI Semibold" panose="020B0702040204020203" pitchFamily="34" charset="0"/>
                          <a:ea typeface="+mn-ea"/>
                          <a:cs typeface="Segoe UI Semibold" panose="020B0702040204020203" pitchFamily="34" charset="0"/>
                        </a:rPr>
                        <a:t>July 8, 201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FF0000"/>
                          </a:solidFill>
                          <a:effectLst/>
                          <a:latin typeface="Segoe UI Semibold" panose="020B0702040204020203" pitchFamily="34" charset="0"/>
                          <a:ea typeface="+mn-ea"/>
                          <a:cs typeface="Segoe UI Semibold" panose="020B0702040204020203" pitchFamily="34" charset="0"/>
                        </a:rPr>
                        <a:t>July 9, 2019</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747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bg1"/>
                          </a:solidFill>
                          <a:effectLst/>
                          <a:latin typeface="Segoe UI Semibold" charset="0"/>
                          <a:ea typeface="Segoe UI Semibold" charset="0"/>
                          <a:cs typeface="Segoe UI Semibold" charset="0"/>
                        </a:rPr>
                        <a:t>SQL Server 2005</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mn-lt"/>
                          <a:ea typeface="+mn-ea"/>
                          <a:cs typeface="+mn-cs"/>
                        </a:rPr>
                        <a:t>SQL Server 2005 support ended on April 12,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6</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CDF02AE9-7789-430C-9EC6-4EE89E32ED23}"/>
              </a:ext>
            </a:extLst>
          </p:cNvPr>
          <p:cNvSpPr/>
          <p:nvPr>
            <p:custDataLst>
              <p:tags r:id="rId1"/>
            </p:custDataLst>
          </p:nvPr>
        </p:nvSpPr>
        <p:spPr>
          <a:xfrm>
            <a:off x="435080" y="6044336"/>
            <a:ext cx="9310803" cy="305961"/>
          </a:xfrm>
          <a:prstGeom prst="rect">
            <a:avLst/>
          </a:prstGeom>
          <a:noFill/>
          <a:ln w="6350" cap="flat" cmpd="sng" algn="ctr">
            <a:noFill/>
            <a:prstDash val="solid"/>
            <a:headEnd type="none" w="med" len="med"/>
            <a:tailEnd type="none" w="med" len="med"/>
          </a:ln>
          <a:effectLst/>
        </p:spPr>
        <p:txBody>
          <a:bodyPr vert="horz" wrap="square" lIns="89642" tIns="44821" rIns="89642" bIns="44821" numCol="1" spcCol="182880" rtlCol="0" anchor="t" anchorCtr="0" compatLnSpc="1">
            <a:prstTxWarp prst="textNoShape">
              <a:avLst/>
            </a:prstTxWarp>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Learn more about the SQL Server support lifecycle: </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 </a:t>
            </a:r>
          </a:p>
        </p:txBody>
      </p:sp>
      <p:grpSp>
        <p:nvGrpSpPr>
          <p:cNvPr id="25" name="Group 24"/>
          <p:cNvGrpSpPr/>
          <p:nvPr/>
        </p:nvGrpSpPr>
        <p:grpSpPr>
          <a:xfrm>
            <a:off x="547416" y="3901164"/>
            <a:ext cx="186362" cy="169431"/>
            <a:chOff x="1974960" y="3914713"/>
            <a:chExt cx="203964" cy="185434"/>
          </a:xfrm>
        </p:grpSpPr>
        <p:sp>
          <p:nvSpPr>
            <p:cNvPr id="7" name="Freeform 5">
              <a:extLst>
                <a:ext uri="{FF2B5EF4-FFF2-40B4-BE49-F238E27FC236}">
                  <a16:creationId xmlns:a16="http://schemas.microsoft.com/office/drawing/2014/main" id="{AE19F695-D7DA-467D-A332-7E85508EF813}"/>
                </a:ext>
              </a:extLst>
            </p:cNvPr>
            <p:cNvSpPr>
              <a:spLocks noEditPoints="1"/>
            </p:cNvSpPr>
            <p:nvPr/>
          </p:nvSpPr>
          <p:spPr bwMode="auto">
            <a:xfrm>
              <a:off x="1974960" y="3914713"/>
              <a:ext cx="203964" cy="185434"/>
            </a:xfrm>
            <a:prstGeom prst="triangle">
              <a:avLst/>
            </a:prstGeom>
            <a:noFill/>
            <a:ln w="12700">
              <a:solidFill>
                <a:srgbClr val="E8112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C72141F-D352-4496-A040-46C400EB8CCD}"/>
                </a:ext>
              </a:extLst>
            </p:cNvPr>
            <p:cNvGrpSpPr/>
            <p:nvPr/>
          </p:nvGrpSpPr>
          <p:grpSpPr>
            <a:xfrm>
              <a:off x="2076942" y="3969548"/>
              <a:ext cx="0" cy="107812"/>
              <a:chOff x="4791447" y="2616042"/>
              <a:chExt cx="0" cy="1427764"/>
            </a:xfrm>
            <a:noFill/>
          </p:grpSpPr>
          <p:cxnSp>
            <p:nvCxnSpPr>
              <p:cNvPr id="10" name="Straight Connector 9">
                <a:extLst>
                  <a:ext uri="{FF2B5EF4-FFF2-40B4-BE49-F238E27FC236}">
                    <a16:creationId xmlns:a16="http://schemas.microsoft.com/office/drawing/2014/main" id="{2135B667-7944-46C5-8CFC-33A1D7D15EF5}"/>
                  </a:ext>
                </a:extLst>
              </p:cNvPr>
              <p:cNvCxnSpPr>
                <a:cxnSpLocks/>
              </p:cNvCxnSpPr>
              <p:nvPr/>
            </p:nvCxnSpPr>
            <p:spPr>
              <a:xfrm>
                <a:off x="4791447" y="2616042"/>
                <a:ext cx="0" cy="1030199"/>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686A4D-23C8-4335-A343-AFC53A5086B9}"/>
                  </a:ext>
                </a:extLst>
              </p:cNvPr>
              <p:cNvCxnSpPr>
                <a:cxnSpLocks/>
              </p:cNvCxnSpPr>
              <p:nvPr/>
            </p:nvCxnSpPr>
            <p:spPr>
              <a:xfrm>
                <a:off x="4791447" y="3793908"/>
                <a:ext cx="0" cy="249898"/>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47416" y="4901802"/>
            <a:ext cx="186362" cy="169431"/>
            <a:chOff x="1974960" y="5171650"/>
            <a:chExt cx="203964" cy="185434"/>
          </a:xfrm>
        </p:grpSpPr>
        <p:sp>
          <p:nvSpPr>
            <p:cNvPr id="13" name="Freeform 5">
              <a:extLst>
                <a:ext uri="{FF2B5EF4-FFF2-40B4-BE49-F238E27FC236}">
                  <a16:creationId xmlns:a16="http://schemas.microsoft.com/office/drawing/2014/main" id="{4D8D879E-04AE-447B-BC1B-4D1847A510C1}"/>
                </a:ext>
              </a:extLst>
            </p:cNvPr>
            <p:cNvSpPr>
              <a:spLocks noEditPoints="1"/>
            </p:cNvSpPr>
            <p:nvPr/>
          </p:nvSpPr>
          <p:spPr bwMode="auto">
            <a:xfrm>
              <a:off x="1974960" y="5171650"/>
              <a:ext cx="203964" cy="185434"/>
            </a:xfrm>
            <a:prstGeom prst="triangle">
              <a:avLst/>
            </a:prstGeom>
            <a:no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706E49C1-3A2D-40FE-B6BB-233EFD71E052}"/>
                </a:ext>
              </a:extLst>
            </p:cNvPr>
            <p:cNvGrpSpPr/>
            <p:nvPr/>
          </p:nvGrpSpPr>
          <p:grpSpPr>
            <a:xfrm>
              <a:off x="2076942" y="5226485"/>
              <a:ext cx="0" cy="107812"/>
              <a:chOff x="4791447" y="2616042"/>
              <a:chExt cx="0" cy="1427764"/>
            </a:xfrm>
            <a:noFill/>
          </p:grpSpPr>
          <p:cxnSp>
            <p:nvCxnSpPr>
              <p:cNvPr id="15" name="Straight Connector 14">
                <a:extLst>
                  <a:ext uri="{FF2B5EF4-FFF2-40B4-BE49-F238E27FC236}">
                    <a16:creationId xmlns:a16="http://schemas.microsoft.com/office/drawing/2014/main" id="{1040745B-94E1-407B-AE56-E0D79FE16754}"/>
                  </a:ext>
                </a:extLst>
              </p:cNvPr>
              <p:cNvCxnSpPr>
                <a:cxnSpLocks/>
              </p:cNvCxnSpPr>
              <p:nvPr/>
            </p:nvCxnSpPr>
            <p:spPr>
              <a:xfrm>
                <a:off x="4791447" y="2616042"/>
                <a:ext cx="0" cy="1030199"/>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E59D07-FCE0-4D70-BB5C-F33CBAF0519E}"/>
                  </a:ext>
                </a:extLst>
              </p:cNvPr>
              <p:cNvCxnSpPr>
                <a:cxnSpLocks/>
              </p:cNvCxnSpPr>
              <p:nvPr/>
            </p:nvCxnSpPr>
            <p:spPr>
              <a:xfrm>
                <a:off x="4791447" y="3793908"/>
                <a:ext cx="0" cy="249898"/>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2">
            <a:extLst>
              <a:ext uri="{FF2B5EF4-FFF2-40B4-BE49-F238E27FC236}">
                <a16:creationId xmlns:a16="http://schemas.microsoft.com/office/drawing/2014/main" id="{76A4A459-0D39-4E58-A084-AEC7B4257855}"/>
              </a:ext>
            </a:extLst>
          </p:cNvPr>
          <p:cNvSpPr txBox="1">
            <a:spLocks/>
          </p:cNvSpPr>
          <p:nvPr/>
        </p:nvSpPr>
        <p:spPr>
          <a:xfrm>
            <a:off x="269241" y="799318"/>
            <a:ext cx="8770587" cy="40011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a:pP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SQL Server 2008 and 2008 R2 will no longer be supported starting on </a:t>
            </a:r>
            <a:r>
              <a:rPr kumimoji="0" lang="en-US" sz="1400" b="1" i="0" u="none" strike="noStrike" kern="1200" cap="none" spc="50" normalizeH="0" noProof="0" dirty="0">
                <a:ln>
                  <a:noFill/>
                </a:ln>
                <a:solidFill>
                  <a:srgbClr val="0078D7"/>
                </a:solidFill>
                <a:effectLst/>
                <a:uLnTx/>
                <a:uFillTx/>
                <a:latin typeface="Segoe UI Semibold" charset="0"/>
                <a:ea typeface="Segoe UI Semibold" charset="0"/>
                <a:cs typeface="Segoe UI Semibold" charset="0"/>
              </a:rPr>
              <a:t>July 9, 2019</a:t>
            </a: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a:t>
            </a:r>
          </a:p>
        </p:txBody>
      </p:sp>
      <p:sp>
        <p:nvSpPr>
          <p:cNvPr id="2" name="Title 1">
            <a:extLst>
              <a:ext uri="{FF2B5EF4-FFF2-40B4-BE49-F238E27FC236}">
                <a16:creationId xmlns:a16="http://schemas.microsoft.com/office/drawing/2014/main" id="{42B97E2E-08C1-42AC-8D36-7423F7CD4EBE}"/>
              </a:ext>
            </a:extLst>
          </p:cNvPr>
          <p:cNvSpPr>
            <a:spLocks noGrp="1"/>
          </p:cNvSpPr>
          <p:nvPr>
            <p:ph type="title"/>
          </p:nvPr>
        </p:nvSpPr>
        <p:spPr>
          <a:xfrm>
            <a:off x="269240" y="289511"/>
            <a:ext cx="11655840" cy="430887"/>
          </a:xfrm>
        </p:spPr>
        <p:txBody>
          <a:bodyPr/>
          <a:lstStyle/>
          <a:p>
            <a:pPr algn="l"/>
            <a:r>
              <a:rPr lang="en-US" dirty="0"/>
              <a:t>SQL Server end of support</a:t>
            </a:r>
          </a:p>
        </p:txBody>
      </p:sp>
    </p:spTree>
    <p:extLst>
      <p:ext uri="{BB962C8B-B14F-4D97-AF65-F5344CB8AC3E}">
        <p14:creationId xmlns:p14="http://schemas.microsoft.com/office/powerpoint/2010/main" val="5009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6ECB8-5483-435C-B7BB-3DDA3BD87740}"/>
              </a:ext>
            </a:extLst>
          </p:cNvPr>
          <p:cNvSpPr>
            <a:spLocks noGrp="1"/>
          </p:cNvSpPr>
          <p:nvPr>
            <p:ph type="title"/>
          </p:nvPr>
        </p:nvSpPr>
        <p:spPr/>
        <p:txBody>
          <a:bodyPr/>
          <a:lstStyle/>
          <a:p>
            <a:r>
              <a:rPr lang="en-US" dirty="0"/>
              <a:t>SQL Server on Linux – What have we learned?</a:t>
            </a:r>
          </a:p>
        </p:txBody>
      </p:sp>
      <p:graphicFrame>
        <p:nvGraphicFramePr>
          <p:cNvPr id="3" name="Diagram 2">
            <a:extLst>
              <a:ext uri="{FF2B5EF4-FFF2-40B4-BE49-F238E27FC236}">
                <a16:creationId xmlns:a16="http://schemas.microsoft.com/office/drawing/2014/main" id="{E283A8B8-C589-42A2-869B-E92984DC0ADC}"/>
              </a:ext>
            </a:extLst>
          </p:cNvPr>
          <p:cNvGraphicFramePr/>
          <p:nvPr>
            <p:extLst>
              <p:ext uri="{D42A27DB-BD31-4B8C-83A1-F6EECF244321}">
                <p14:modId xmlns:p14="http://schemas.microsoft.com/office/powerpoint/2010/main" val="2030555947"/>
              </p:ext>
            </p:extLst>
          </p:nvPr>
        </p:nvGraphicFramePr>
        <p:xfrm>
          <a:off x="-1599422" y="1228292"/>
          <a:ext cx="8362361" cy="1155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93B48FD-2112-4015-A179-E12417F37078}"/>
              </a:ext>
            </a:extLst>
          </p:cNvPr>
          <p:cNvSpPr txBox="1"/>
          <p:nvPr/>
        </p:nvSpPr>
        <p:spPr>
          <a:xfrm>
            <a:off x="513801" y="2560336"/>
            <a:ext cx="8795645" cy="1440687"/>
          </a:xfrm>
          <a:prstGeom prst="rect">
            <a:avLst/>
          </a:prstGeom>
          <a:noFill/>
        </p:spPr>
        <p:txBody>
          <a:bodyPr wrap="none" lIns="0" tIns="0" rIns="0" bIns="0" rtlCol="0">
            <a:spAutoFit/>
          </a:bodyPr>
          <a:lstStyle/>
          <a:p>
            <a:pPr defTabSz="932563"/>
            <a:r>
              <a:rPr lang="en-US" sz="1836" dirty="0">
                <a:gradFill>
                  <a:gsLst>
                    <a:gs pos="2917">
                      <a:srgbClr val="1A1A1A"/>
                    </a:gs>
                    <a:gs pos="30000">
                      <a:srgbClr val="1A1A1A"/>
                    </a:gs>
                  </a:gsLst>
                  <a:lin ang="5400000" scaled="0"/>
                </a:gradFill>
                <a:latin typeface="Segoe UI"/>
              </a:rPr>
              <a:t>Customers are….</a:t>
            </a:r>
          </a:p>
          <a:p>
            <a:pPr defTabSz="932563"/>
            <a:endParaRPr lang="en-US" sz="1836" dirty="0">
              <a:gradFill>
                <a:gsLst>
                  <a:gs pos="2917">
                    <a:srgbClr val="1A1A1A"/>
                  </a:gs>
                  <a:gs pos="30000">
                    <a:srgbClr val="1A1A1A"/>
                  </a:gs>
                </a:gsLst>
                <a:lin ang="5400000" scaled="0"/>
              </a:gradFill>
              <a:latin typeface="Segoe UI"/>
            </a:endParaRP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Standardizing on an Operating System (Mixed OS and Hybrid Cloud short-term)</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Re-evaluating the preferred database for new applications</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Migrating from SQL Server (Older Versions), ORACLE, MySQL, or PostgreSQL</a:t>
            </a:r>
          </a:p>
        </p:txBody>
      </p:sp>
      <p:sp>
        <p:nvSpPr>
          <p:cNvPr id="5" name="AutoShape 8" descr="data:image/jpeg;base64,/9j/4AAQSkZJRgABAQEA3ADcAAD/2wBDAAMCAgMCAgMDAwMEAwMEBQgFBQQEBQoHBwYIDAoMDAsKCwsNDhIQDQ4RDgsLEBYQERMUFRUVDA8XGBYUGBIUFRT/2wBDAQMEBAUEBQkFBQkUDQsNFBQUFBQUFBQUFBQUFBQUFBQUFBQUFBQUFBQUFBQUFBQUFBQUFBQUFBQUFBQUFBQUFBT/wAARCACGAIY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ueSxJJ60uPehf4vrS1/L5/VAmPejHvS0UAJj3ox70tFACY96Me9LTW+XJ6d85xQAElcndgdc5r07wPa6b8LdUj1jxrpOoG88pLnTLbygVY55bk/fTg7SRt643ba7D9n34V6dcSWXiTWJ7e4umzLp+n7gSgVseaw7kHGB0Xg9fu+5eNvA+mePNDl0zUYi0bfNHIuA8LjIDoex/xIPBr9Fyfh+q6P1y6518Keq+f6H5lnXEVKVb6lZ+z2k1o/l+vc8S1P46eH/iRpd5pPiDw5eQ2W0yfabVvPNvjpKcKCuMjseuO/Pz6wTzXCFigOFLcHGeMj1r274eeFdR+F/xfi0TVjE2m6lDLB50gAiukwSu3P8AFnAKk5GT2INZfxq+Dv8AwiM0mtaJifQpG/eRq+42zE4A/wB0nAz26HtXBmWHxuOw/wBYrq84Np6Wa/zR3ZXisDl+KeGoO0KiTi73T+/ZnkuPejHvW14g8Gat4XtNMur+3CWuoxLNbzRtvRgRnbn+8B2rEWvjqlKpRly1FZn3NKtTrx56UroXHvRj3paKyNhMe9FLRQAi/wAX1paRf4vrS0AFFFFABRRTGbapJBI60avRAEn3SSce9fRvwN+BJt0h8ReJbX/SCN1np8w/1Q5xJIMfexyFP3f977vgELXvh7VoJXhktL+0lSZY7iIhlYHcpKHHHFfb/gnxtYeLvDul6jA6p9sjJETEZVl4dfqpBH4V97wtgcNWryliPijsmfnnFmOxNGhGGHfuT3a/I+UfiH4b134X+PJb8MbV5rmS6s721XYhyxOB9A2CpHTrkHn6J+D/AMYrP4iacLa4AttcgUedb54kHTentnt2P4E9f4w8Iab430WfS9SgEsEnKkcNGwHDKexFfHvjLwbrvwd8Vwss7w+W3m2WowjaHAOPpnnBU+vQg17leGI4dxLr0ryoyeq7Hg4aphuI8MsNVtGvFe6+/wDXX7z688ceB9M8faHLpmpQ7o2+ZJFxvicdGU46j3HPIPHFfHfjrwfr3w1v7nRbq4mjsLk70eFisN0oIw2OhI+UbT07ZBBP058H/jBZ/EbTTBc7LbXIFzPb5+VwMDemT0z27E/Qm98ZLfw1L4Juz4n+WzX/AFTxged5pzt8r/aPP4ZzxmvTzLCYbN8L9boTs7b+XZnlZZjMTk2L+qYiHMr/AA+fdHF+G30OH9nbTF8YKGsXgYJGf9Yyl28oR/7W3bg9vpXy/Ls8x/KD+WWOxWwzYJ4BPc49K2PEnjHVfFKWceo3bTW9lGIIIyAqqOmSo4ycda9w/Z5+DtpNaWvizVWjupX/AHljbZDLEM/fcD+Prx/D/vfd+JlGWfV6WGw6soJLm6+f/AR9zTlHh3D1cViZXlUd1Hpr2/VnO/BP4X+G/EFrd3HiG+ha9d5LWLSnk8uWFujM2cEtzwBwPrwvEfEz4Z6h8N9a8mfdcadMSbW8A4cZPDccMB+fX6e+/Gv4IReMreTWNHjWLXY1y0eQq3YA4BPQOAOD7AHjGPnnVvH3iO98Nt4X1S5kltoZgSlymZoyp+4WPIwex54644rbNsJQwNL6tWpWa+Ga6+phk2MxOPrvFUavMn8UH0XRr+tepzNFNXtRXwV2fowq/wAX1paRf4vrS0yQoooRHlkCRq0kjMFVEUszMTgADHOT6Cnq9EKUlFXbshjfXAr6M+BfwNWBrbxF4khVrjiSy0+TB8rusjj+/wCi/wAP1+7wOh/s6+M9ctUuTb2umxsMhL6Yq+OxwqtjPoSDVvWPhv8AE3wDdJrUdxc3ksKhTdaddPOwQY2hlYBmHtgjrX2OV4OrgZLFYnDSklt5edj4fNsdSzCH1PC4qMG9/PyufTPinwDofjSx+z6vp8N0B9yTBEkeeu1xyM4HSuB0/wCCNx4Z0vVtO0rWJPskpW7sGmGJrO6X7rKw4KkYBBA4GOdxrB+G/wC0Dql9Yk63prajBDgTXmlrulhGQA0sPXB5JZMgegr2bQfFGk+KtPW80q/hvYGH3oXBK5GcEdVOD0PIr9LoSwGY2rU1aVvRn5dXjj8uvh6j91P1X/AOL+FHxYj8ZJLpOqotj4msS0d1a54YqdrMnPOD1Hb8jXXeL/CWneNdFm0zUot8Mg+RwBvjbBAZT2IzXgf7RfhO78J+KrLxlpDvbPcOqyyRE5jnUfKw9mUYIxj5ec7q9D8GfGqC6+Gf/CS+IEFk0DtAwjwftLqBzGPc547EHsM1x4bHR56mX4/eK3ezj3OzEZfLkpZhgNpPZbxl2X6Hj1x8M9W+C3iS28SahLFcaPp92nlm3n8ue4U5wAuP++hnoG7c1x3xF+Imo/EbXDe3p8q3jyltaq2UiX09yccnvj0ApfiL8RdU+JGvfbLrdHArEWlkhLLEPQDHLHue/wBMCum8IaP4W8A6o8PxC0y7bU90TwW7KJbdYmH32VT8xByCORwNo61+e1HHEzlhcFLkoX1b2v8A1sj9HpqWEhDGY+PPiLaJb2/rdk/7OWm+GdQ8XOdXcSapH81hbzAeWSMksOeXGOB+Pb5dc+NL/wCBvxS1ewkhZvD13cfaPskabVWNzlXjHqo+XA4O0jtkfQWk+GvDF5YWs9hpWmTWnyzW7w28e0YwVZcDqOCMVx3x2+FU/wAQNGt59O8oapYlmjVxjzlPVN3Y8DGf0r7T+ya+CwEXhWnODumlv3v30Pif7WoY7MJPFxapzXK038PZrtqehaJrVl4j02C/0+4S6tJ13JIh4I/xyD1ryr43fBNPGUMms6PHHDrka/NGMKt0oHQ9g4A4J+h9R4p8Mfidqvwn1yazu0nk0xpCl3YOMPEw43KCOGGOnQ9PQj6/0XWrLxHpcGoafcLdWc670kQnB9vqPT2rtwmKwvEGGdCurTW67eaOHF4TFcO4qNehK8X8MujXZnwBcQyWc0sE6NDNExSSOQYZWBIII7EHsR2NFfX3xI+Buh+PdUTUJJ5NKvcbZZrcL++HbcD3Hr6euBgr4LEcK4uFWUaaTXRtn6Fh+LsBOlGVa6l1Vmz5AX+L60tIv8X1ppY/Qd6+NSb2PuG7asfXrfw/+Fs918L9W8XQJcSawhL6Wtq5V08pvmfH8RJDDaR0Xjk1x/iL4b6r4T8K6brGqlLSTUJCkWnyAiZVAJDN6HGOOoyPUgfTv7P15BffCjR1Qj90JY3Udm8xs5x69fxFfa5DlftMZKliY2fLdfPZnwfEObcmCjVwsrx57P5br0Z5F8Lf2i9R03Vvsviq7a8064YAXRQB7cnoflHKn6cdelfTsFxDeQpLE6TRSKGWRCCGBGQQe/FeBfHL4F/amufEfh23IuOZLuxiX/WdzIgH8R7jv9eG5D4J/GmTwTcR6NrEjS6HI22OQ5LWjHuP9j1HbOa+nweY4jKcR9RzF3i/hkfKYzLcPm2H+v5YrSXxQ/yPR/i98Orjw9dP458Jj7DqVl++vIYwAk8fV2K98DkjuB64zw32OT4gRt4v8AyvpniiAr/aelW8gQuSf9YmTggnJweDz/ECG+nUmi1CzV4pElilTKuh3KwI4Ir5G8Ha9p/wr+MGsSXEksWnWr3VsqwqXMg3fIh56cDk9x1q83o0sLWpzvanUevSz/mXbzMsoq1sVQqQSvUpq668y6xfdduqOlvvi5qt54TudF+IXh28itL5HhivxbNDKZFxhjE+BkHDBhjOBgV4Z5ztCsbSMY1O5ULEgHGCcepwOnoK6n4jfEXUfiPrhvLomK2jJS1s1b5YVz+rHHJPp6AV6J8Of2abrXrKPUfElxNpkMnKWMAAmweQXJBC/wC7jPTkcivj60MTnOJ9jhm5qOnM9Hbz/Q+3w0sLkWF9vikoSnryrXXyX59Divgfo8GtfFLQoZwHjjkafa3cojMvHswU/hXs/wAf/g/c+Kl/4SHSA02oW8IjmswMmaNSSCn+2Nx47jpz10tL/Z9sfCniXTNc8P6hcJPaTZeC7IdJEIKuOACDtJx16CvXVAOc/SvtssyLkwM8HjI6t3uvw+4+GzXP/aZhTxuCeiVrP8V8z5B+DXxmuvh7qA0zUTJNoMr4dcEtasTyyj0z1Ue5HOQ31vY39vqlpFdWs0d1byKHjljYMrKRkEHuCK8O+OXwNOsLceIPD0H/ABMB+8urONcef6sg/v8At3+vXzj4M/GW4+Hl4NP1FpJ9Bkf505LWzHGWUenOSo+vXg8WDxtbI6/1LHO9N/DI7MdgqGe0fr+AVqi+KPf+vxOx/ak8Cw2v2TxRaxiN5XFrd7R944JRzjvwVyfVa5L4AfEJfBWtX0Op6oLTRHt2lMDqX3TArt2Ad8bug5wOtex/tC6xZzfCOeSOVZVvpLcW0iEEN8yyZB/3VJr5GXDcdfwFeHnlZZZmyxOG3aue9kND+1colhsTsnbzsrP8Duvij8Vr/wCJGrByWtNKhJ+zWjEf99vg4LEH6DJA7klcP+NFfH18ficRUlVnN3Z9th8BhcNSjShBWXlcbuC5JOOp5r3/APZ9+Fmmyy2viDWp7W4vG3PYaeJFPl7Wx5rDPLA9P7vBPzcLpfA74DmzaHxD4ltz9rBD2mnyrjye4eQH+PphT93g/e+7xHxk8I6/8PfHsnia2nkW3vLoz219AuDDIf8Alm3bgcc8MAfcV9bg8tqZXTjmOJp8yvt2XdnxeOzWGb1Z5bhavLpv/M+y/wAz6Z8Y+C9N8baDPpepQ+bC4yjDhomxgMp7Efl1HTivD/Aeo3vwD8aTeHvELbdB1F99tqG0+WH4AcnsD8oYZ4+U9MmvR/g38XIfiTpkkNwq2+s2aL9phUfK4OQJFOehweDyPpgnq/GngzTPHOhzabqcPmxPykg+/E2DhlPY8/5FfoE6NPHxhj8E/fWz7+TPzunVqZfKeAxkbwe67Po1/WpsxslxGjo4ZG+YMpBHP9K8A+OfwNN01x4j8N25Nzkvd2ES/wCs6kvGP72TyB16jnO7n5PGXjL9nvVBo98F1rReTatcZVWQdkfnaemVIOOMdQT0M37WVoLMmPw/M91jIVrgCPP+9gn9K8rG5hl2OovDY73Jro1qn5dz18DluZ4GtHFZf78H1T0a7NGP8A/iRJ4V03WLDxBeeRptnb/araO4JWT7xDLGD1GcDHqeOpx4nrmqS65rF/qEwCzXlxJOyL2LMTjr2J9ea6L4ifEjVPiPqMc97HBDDDkW9vEuFQE5JLdSeB7cdq7Lwz8LfEPgTS7HxvPpEepyW26Y6PMCJIkK/LKePvDrtxkD36fFVPa5lGOFpNypU/tW6en5H3NKNLK5SxldKNWrtC+l10v59XsdL8Kf2c4r7RpdQ8VwPHLdwlYLLdhoAQP3j8ff9ug75PC4eua945+CHjOKW+1K61rSZcLF9rlZop41GMc5COABkgcnnkZr134Q/Gaz+I9n9nnWOy1qMZkt1b5ZB/fj55HPTqD9QT2fizwnp/jTRLjTNTgE1tKOOxVuzKccEV91RyvD1cFGWWztKOz7vzPgq2aYinjpxzSHNGW67L+7/WpF4N8aab450WHU9MmEkMnDocB42HVXHYj/AD78N4w+Ndv4D+Iy6PqKeZpctrHIbiMbnt5CzA5UdVwFPAyM988ee+Hml/Zv8Qa8urC5vLK+gVtOkjQiO4dSeG/uPhh26Z9hXi/iDXrvxRrd5ql+4a6un8x9vQZAAA9goAHsK83MeIK2Fw8ItWrX1Xkv8z08s4do4zE1JJ3oW0fr+qPvPRte0/xBZrd6fewXts3SSFww+nBrx34vfBfwxfXj+IZ9XTw5n5rpmUMkxwTkDIw5PpnPpk5r5ks7y4sZDJbXE1vJjG+Fypx6ZBpby8uNQk33M8tw/TdM5c/TJNeTiuJ6GMoeyr0Lv10/zPYwnCmIwOI9rh8TZemv+R0PjDx1f+JtO0XSJZY20/R4fs8BhDIsuPlWQqeh2qOvTn1xXLqu2gdaXPNfC169TEz9pUd2foGGw9PC01SpKyFooornOk+qvg58d18aTNpWtiCz1csTC0eVjuBnO0An7wHbPIGfXHq+taLZ+I9LuNPv7dLmzuF2yRuMhh/n+lfn9FJJDIskbtHIjbldTggg5BB9RivqP4I/HBPE0UWia7IsesqNsVwx2rdKP/ZwPTrj8v1fIc/ji19TxvxdH38n5n49xBw7LBv65gV7vVdvNeRwvjrTvFHwOsJdO0WUR6JeXYuItUjiHngjGIZW/Dv94cdMrXrnwe+MNp8RNNW2uSltrkC/vrcZAkUcb09vbPGfoT3msaNZ+ItMuLHULdLm0nTa8Ug4IP8AntXzTq3wnf4N+I18UzXq3Gg2FzHLbwpcNHdzZJHl4AAOM5PPzKGBABNelWo4rKcQq1B3odU/srueZRrYTNsM6GIXLiFqpL7T7M90+J03hm38LTT+KIIbnTomDpFIuWeQfdCD1PT6Zzxmvi7xDqVvq+tXd3ZWEWnWs0m6K0tx8kS8AADHoO3rxW58RPiNqXxG1hru9Yw2sZK21mrfJCvH5tjqT/Liun+BY8GaXqQ1fxLqUUV/HOIbK0ljYohwP3zYGO+ATgLtJz02/I5jjKefYyNClaMP5nZfP/JH2WW4KfD2Cliaycpv7K1S/rqyz4b+GuvfDixsfHF/oUOqxwq8r6bKSJbYYykzDpkEZIIO0c9fu3dB/aC8b+I/EltY2Vnp1y10+yOzMZQHAyRuLccA/wCFfUi4mhHIZW/EYr50+KnwcPg/xBa+LfDyvDp0FzHc3dvbplrXa4LSRr3XA+72x6fd+ixWV4jLaUHgJvkXxJb+b/4B8xhc1w+ZVaizCmnUafK3ey7K36nkPibWryx8fX2pW1i3hm/iufMFpC3NvJgBucc7jk9MEMeoPP0/8HfjFbfEKy+yXZS31y3UGWHOBKvA3p7eo7E/TPG/Ei38FfGG3LaRrllF4lt4t0TSFohMME7G3DkDnkZK8+4ryrwf8PdZ1DwzJ4s8O3ryX+mXJV7O3T98gAzvQ5+fgj5ccjI5+6fIw08XleOk6D9pTlrpbbr80eziI4LNsBFV17KrC0db/LV9H5n174r8K6d400W40zU4BNbTDGOAynsynsQa+S/HXwP1zwPDqd/I8E+j2rr5d00gV5gzYHy+oJAP6V778O/jJb698PZ9e1sJp5sWMNxKP9XK4VTuj7kNuHHrkc9/nb4pfFS/+JGsbtzW2k27f6PZ56dt7+rH9OnqT6XEVfLcRhYV5K82tOj+fkefw1RzOhip0KbtCL96+q+XmcRRSClr8nP2AKKKKACiiigBF/i+tOjkkgkSSJ2jkU7ldSQQQcgg+oPpTV/i+tLTTcXdCaUtGfUvwv8AjQjfDe61bxNOqyafN9k81SN902xWUBePnIbtxwT0zXgfxH+JGpfEbWmvLsmK0jyLazUkrEv9Txya5QZYhQCSTgAcnJ4Ax656fWvo/wCD/wCzzbDTW1PxZaLPcXEZWHT36QKR95v9v/0H69PuaOIzDP6cMHD4YrV9/X/I/P62Fy7h2c8bU1lJ+6u3p+rOS8Dfs06x4kso77V7xdEgkUMlv5fmTsvJywyNhxzjk+oB4rodZ/ZNljtXk0rXvMmVcrHeQbVY+m5Tx+RrD8bad4w+BviC1vtP1a9v9CUiO2NxKzxhR/yxkUnHTgEAd8YPT334c/EbTfiJoq3dm3l3KYFzau3zwvjp9Djg9/zA97AZbldSUsHWpONRd3q/NM+ex+aZtTjHG0qqlSl2Wi8mmeSfDX4iav8AC/VovCfjiOS2tDlbK9lyyRj03Dgx9Of4O/H3foXieLsyMPqCCK57x14F07x9oc2najErK3zRS7RvhkAwHU+oz+RIPBrxT4XfFK6+HOvS+CfFch+y2kv2e3u3JxD/AHQc/wDLMgjB7ZA6dPep1XlE44fESvTl8Mn08n+jPn6lJZvCWJw8bVFrKK6+a/VFD45/Av8AsRrjxB4eg3ad/rLqzjHMHJJdR/c65H8P0+7pfs5XMPg/wX4j8RatcfY9KkkREaQEb9gOSox82S4UYzkjFe7694i07w9o9zqOozJDZRJueRjx7DHckkcD1r4h8W+Iota1O9XTIJNO0R7gzwaf5hKI2MbtucAn0HTOOnX5zNIYXJcWsbR3afu+b6+h9NlMsXnuDeBrfCmve8l09STx54oi8VeJdRvLC1Ol6fcTeatojHazYx5jLnG9h1wO/wCJ57FApa/NK1adecqk92fqeHw8MNTjSp7IQDFLRRXOdIgGKMUtFABRRRQAi/xfWlpF/i+tLQBpeF/EE/hTXrTVre3t7q4tWLRx3S7kzgjOBjkZyPevpz4M/HKLxu50vWFhs9aG4xCLKx3Cjn5QTwwHYnnGRx0+UaWGSS3mjmhkaKWNg6OhIZWByCD2wQOh7V9BlWc18sqLl1h1X9dT5vN8kw+awbkrT6M/QDWtFs/EWl3Gn39ulzZ3ClXjkGQR2/HOPpivlTxZ4R179n/xdFq+jzSS6XJJtinblWU4zDMP6+wIweB6p8EfjbH4vji0XWZRFrUa4jkOAt0o5z7OAOR3wSO4X1bWtFsvEWmXFhfW0d1aXClHjk6H/Dp+GK/Va9GhnlCOJw0rTWz6p9mfkdGtiMixEsLiY3g/ij0a7owPh38RtM+IugLeWh2XC/Lc2jH54Wx09wexHX8wPnH9pmCBPidI0SjdJZxNKOxfLDn/AICq/pXS2fhU/AH4mQajd3s6+GLqOWNLlIy+flyIZcdCCMgjrgf7WPI/HHiqbxt4p1HWJlMf2mT5Iz/AgGEB98AdPevk87zGc8vjh8SrVVLX5dfmfXZBlsI5jLEYZ3ouOnz+z8i/4++JWq+PpLVLkpbafaoFhsrcFY1IGMnnk9foMe+eS20ooOa/P6+IqYmTqVZXZ+k4fD0sLTVKjGyQtFFFcx0iAYpaQUtADQKOhpea2fDXho+IJmDTyQpuZVEMDTyOwRnICjnAVD05yVGDk42pUpVpKENzCtXhh4e0qPQx6K0vEGhyeHb7yJJPNQ7wGZSrArI0bKwGcENG44JBxkHFFOdGVOXLNaodOtTrQVSEtGZmOTz3NO20UVgbBto20UUALE8tpNFPFI0UsbhkkjJDKwOQQRyCMZz7V9efBX4lXvi7wXdXWqJvu9MPlyzJ/wAtgE3BscYbHUDjPpnAKK+14Ur1I4vkjLRptr5HwfGFClLBKrKPvKSSZ86fE74l6j8StZNzNm306LJtbMNwg6bm9WP/ANb1zxgU0UV8vja1SviZzqu7Z9Zl9Gnh8LCFKNlYXbRtooriPQDbRtoooANtG2iigA21f0nWp9IWaNUWSOTOBuKlG2shZSOhw7DnPGD1AwUV0UJShVTiznr041Ycs1dDNY1SXWL3zWjitkXcI4bdcJGCxdgoPqzE/U9gAAUUVjXlKVRyk9S6NOFOCjFaI//Z">
            <a:extLst>
              <a:ext uri="{FF2B5EF4-FFF2-40B4-BE49-F238E27FC236}">
                <a16:creationId xmlns:a16="http://schemas.microsoft.com/office/drawing/2014/main" id="{4D1FDE43-E8FF-45A7-8412-22F0C4A3F6D8}"/>
              </a:ext>
            </a:extLst>
          </p:cNvPr>
          <p:cNvSpPr>
            <a:spLocks noChangeAspect="1" noChangeArrowheads="1"/>
          </p:cNvSpPr>
          <p:nvPr/>
        </p:nvSpPr>
        <p:spPr bwMode="auto">
          <a:xfrm>
            <a:off x="7855575" y="3341828"/>
            <a:ext cx="1045783" cy="1045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dirty="0">
              <a:solidFill>
                <a:srgbClr val="1A1A1A"/>
              </a:solidFill>
              <a:latin typeface="Segoe UI"/>
            </a:endParaRPr>
          </a:p>
        </p:txBody>
      </p:sp>
      <p:graphicFrame>
        <p:nvGraphicFramePr>
          <p:cNvPr id="6" name="Diagram 5">
            <a:extLst>
              <a:ext uri="{FF2B5EF4-FFF2-40B4-BE49-F238E27FC236}">
                <a16:creationId xmlns:a16="http://schemas.microsoft.com/office/drawing/2014/main" id="{183EB1D9-D11D-4DAF-85B8-7B6309827E1C}"/>
              </a:ext>
            </a:extLst>
          </p:cNvPr>
          <p:cNvGraphicFramePr/>
          <p:nvPr>
            <p:extLst>
              <p:ext uri="{D42A27DB-BD31-4B8C-83A1-F6EECF244321}">
                <p14:modId xmlns:p14="http://schemas.microsoft.com/office/powerpoint/2010/main" val="2467067023"/>
              </p:ext>
            </p:extLst>
          </p:nvPr>
        </p:nvGraphicFramePr>
        <p:xfrm>
          <a:off x="413294" y="4134190"/>
          <a:ext cx="8239602" cy="24140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2" descr="Story logo">
            <a:extLst>
              <a:ext uri="{FF2B5EF4-FFF2-40B4-BE49-F238E27FC236}">
                <a16:creationId xmlns:a16="http://schemas.microsoft.com/office/drawing/2014/main" id="{28EE9FBF-C174-41BD-90BF-5CD6330F842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91903" y="1111552"/>
            <a:ext cx="1754667" cy="8166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Story logo">
            <a:extLst>
              <a:ext uri="{FF2B5EF4-FFF2-40B4-BE49-F238E27FC236}">
                <a16:creationId xmlns:a16="http://schemas.microsoft.com/office/drawing/2014/main" id="{D9D2D2E1-EBD0-4C61-BC6A-E85FC3255D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77866" y="1142011"/>
            <a:ext cx="1748631" cy="5828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ry logo">
            <a:extLst>
              <a:ext uri="{FF2B5EF4-FFF2-40B4-BE49-F238E27FC236}">
                <a16:creationId xmlns:a16="http://schemas.microsoft.com/office/drawing/2014/main" id="{C7C617C0-627D-4CFD-ABA4-5DAA39BD910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36371" y="2092635"/>
            <a:ext cx="2633050" cy="43712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Story logo">
            <a:extLst>
              <a:ext uri="{FF2B5EF4-FFF2-40B4-BE49-F238E27FC236}">
                <a16:creationId xmlns:a16="http://schemas.microsoft.com/office/drawing/2014/main" id="{C0C3B990-BD93-475C-995A-772A1A420D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93420" y="1776632"/>
            <a:ext cx="1715990" cy="10338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tory logo">
            <a:extLst>
              <a:ext uri="{FF2B5EF4-FFF2-40B4-BE49-F238E27FC236}">
                <a16:creationId xmlns:a16="http://schemas.microsoft.com/office/drawing/2014/main" id="{DE356F06-68FC-4E1A-8EC9-5879C64DD1F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01143" y="2696200"/>
            <a:ext cx="1302076" cy="78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289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Graphic spid="6" grpId="0">
        <p:bldAsOne/>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865" y="1181055"/>
          <a:ext cx="12190271" cy="4977840"/>
        </p:xfrm>
        <a:graphic>
          <a:graphicData uri="http://schemas.openxmlformats.org/drawingml/2006/table">
            <a:tbl>
              <a:tblPr firstRow="1" firstCol="1" bandRow="1">
                <a:tableStyleId>{69012ECD-51FC-41F1-AA8D-1B2483CD663E}</a:tableStyleId>
              </a:tblPr>
              <a:tblGrid>
                <a:gridCol w="2007044">
                  <a:extLst>
                    <a:ext uri="{9D8B030D-6E8A-4147-A177-3AD203B41FA5}">
                      <a16:colId xmlns:a16="http://schemas.microsoft.com/office/drawing/2014/main" val="2186728381"/>
                    </a:ext>
                  </a:extLst>
                </a:gridCol>
                <a:gridCol w="7711145">
                  <a:extLst>
                    <a:ext uri="{9D8B030D-6E8A-4147-A177-3AD203B41FA5}">
                      <a16:colId xmlns:a16="http://schemas.microsoft.com/office/drawing/2014/main" val="20000"/>
                    </a:ext>
                  </a:extLst>
                </a:gridCol>
                <a:gridCol w="1236041">
                  <a:extLst>
                    <a:ext uri="{9D8B030D-6E8A-4147-A177-3AD203B41FA5}">
                      <a16:colId xmlns:a16="http://schemas.microsoft.com/office/drawing/2014/main" val="20005"/>
                    </a:ext>
                  </a:extLst>
                </a:gridCol>
                <a:gridCol w="1236041">
                  <a:extLst>
                    <a:ext uri="{9D8B030D-6E8A-4147-A177-3AD203B41FA5}">
                      <a16:colId xmlns:a16="http://schemas.microsoft.com/office/drawing/2014/main" val="20003"/>
                    </a:ext>
                  </a:extLst>
                </a:gridCol>
              </a:tblGrid>
              <a:tr h="284659">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65237" marR="33266" marT="26800" marB="26800" anchor="ctr">
                    <a:lnL w="9525" cap="flat" cmpd="sng" algn="ctr">
                      <a:noFill/>
                      <a:prstDash val="solid"/>
                    </a:lnL>
                    <a:lnR w="6350" cap="flat" cmpd="sng" algn="ctr">
                      <a:noFill/>
                      <a:prstDash val="lgDash"/>
                      <a:round/>
                      <a:headEnd type="none" w="med" len="med"/>
                      <a:tailEnd type="none" w="med" len="med"/>
                    </a:lnR>
                    <a:lnT w="9525" cap="flat" cmpd="sng" algn="ctr">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6350" cap="flat" cmpd="sng" algn="ctr">
                      <a:noFill/>
                      <a:prstDash val="lgDash"/>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dirty="0">
                          <a:solidFill>
                            <a:schemeClr val="bg1"/>
                          </a:solidFill>
                          <a:latin typeface="Segoe UI Semibold" charset="0"/>
                          <a:ea typeface="Segoe UI Black" panose="020B0A02040204020203" pitchFamily="34" charset="0"/>
                          <a:cs typeface="Segoe UI Semibold" charset="0"/>
                        </a:rPr>
                        <a:t>Window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noProof="0" dirty="0">
                          <a:solidFill>
                            <a:schemeClr val="bg1"/>
                          </a:solidFill>
                          <a:latin typeface="Segoe UI Semibold" charset="0"/>
                          <a:ea typeface="Segoe UI" pitchFamily="34" charset="0"/>
                          <a:cs typeface="Segoe UI Semibold" charset="0"/>
                        </a:rPr>
                        <a:t>Linux </a:t>
                      </a:r>
                      <a:endParaRPr lang="en-US" sz="1000" b="1" kern="0" spc="49" dirty="0">
                        <a:solidFill>
                          <a:schemeClr val="bg1"/>
                        </a:solidFill>
                        <a:latin typeface="Segoe UI Semibold" charset="0"/>
                        <a:ea typeface="Calibri" panose="020F0502020204030204" pitchFamily="34" charset="0"/>
                        <a:cs typeface="Segoe UI Semibold" charset="0"/>
                      </a:endParaRPr>
                    </a:p>
                  </a:txBody>
                  <a:tcPr marL="0" marR="0" marT="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0449">
                <a:tc>
                  <a:txBody>
                    <a:bodyPr/>
                    <a:lstStyle/>
                    <a:p>
                      <a:pPr defTabSz="912720">
                        <a:defRPr/>
                      </a:pPr>
                      <a:r>
                        <a:rPr lang="en-US" sz="1000" b="1" kern="0" spc="49" dirty="0">
                          <a:solidFill>
                            <a:srgbClr val="0078D7"/>
                          </a:solidFill>
                          <a:latin typeface="Segoe UI Semibold" charset="0"/>
                          <a:ea typeface="Segoe UI Semilight" charset="0"/>
                          <a:cs typeface="Segoe UI Semibold" charset="0"/>
                        </a:rPr>
                        <a:t>Edition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eveloper, Express, Web, Standard, Enterpris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13643"/>
                  </a:ext>
                </a:extLst>
              </a:tr>
              <a:tr h="210449">
                <a:tc rowSpan="2">
                  <a:txBody>
                    <a:bodyPr/>
                    <a:lstStyle/>
                    <a:p>
                      <a:pPr defTabSz="912720">
                        <a:defRPr/>
                      </a:pPr>
                      <a:r>
                        <a:rPr lang="en-US" sz="1000" b="1" kern="0" spc="49" dirty="0">
                          <a:solidFill>
                            <a:srgbClr val="0078D7"/>
                          </a:solidFill>
                          <a:latin typeface="Segoe UI Semibold" charset="0"/>
                          <a:ea typeface="Segoe UI Semilight" charset="0"/>
                          <a:cs typeface="Segoe UI Semibold" charset="0"/>
                        </a:rPr>
                        <a:t>Service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atabase Engine, Integration Services, SQL Server Agent</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117040"/>
                  </a:ext>
                </a:extLst>
              </a:tr>
              <a:tr h="210449">
                <a:tc vMerge="1">
                  <a:txBody>
                    <a:bodyPr/>
                    <a:lstStyle/>
                    <a:p>
                      <a:pPr defTabSz="912720">
                        <a:defRPr/>
                      </a:pPr>
                      <a:endParaRPr lang="en-US" sz="1400" b="0" kern="0" spc="-29">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Analysis Services, Reporting Services, MDS, DQ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754353"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tabLst>
                          <a:tab pos="182880" algn="l"/>
                        </a:tabLst>
                      </a:pPr>
                      <a:endParaRPr lang="en-US" sz="700" dirty="0">
                        <a:solidFill>
                          <a:schemeClr val="tx2"/>
                        </a:solidFill>
                        <a:effectLst/>
                        <a:latin typeface="+mn-lt"/>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470941"/>
                  </a:ext>
                </a:extLst>
              </a:tr>
              <a:tr h="210449">
                <a:tc rowSpan="8">
                  <a:txBody>
                    <a:bodyPr/>
                    <a:lstStyle/>
                    <a:p>
                      <a:pPr defTabSz="912720">
                        <a:defRPr/>
                      </a:pPr>
                      <a:r>
                        <a:rPr lang="en-US" sz="1000" b="1" kern="0" spc="49" dirty="0">
                          <a:solidFill>
                            <a:srgbClr val="0078D7"/>
                          </a:solidFill>
                          <a:latin typeface="Segoe UI Semibold" charset="0"/>
                          <a:ea typeface="Segoe UI Semilight" charset="0"/>
                          <a:cs typeface="Segoe UI Semibold" charset="0"/>
                        </a:rPr>
                        <a:t>Mission critical performance and HAD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number of cores</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memory utilized per instanc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24 T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12 T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database siz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0449">
                <a:tc vMerge="1">
                  <a:txBody>
                    <a:bodyPr/>
                    <a:lstStyle/>
                    <a:p>
                      <a:pPr marL="0" marR="0">
                        <a:lnSpc>
                          <a:spcPct val="107000"/>
                        </a:lnSpc>
                        <a:spcBef>
                          <a:spcPts val="0"/>
                        </a:spcBef>
                        <a:spcAft>
                          <a:spcPts val="0"/>
                        </a:spcAft>
                        <a:tabLst>
                          <a:tab pos="182880" algn="l"/>
                        </a:tabLst>
                      </a:pPr>
                      <a:endParaRPr lang="en-US" sz="1000" b="0" kern="1200" baseline="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kern="1200" spc="50" baseline="0" dirty="0">
                          <a:solidFill>
                            <a:schemeClr val="tx1"/>
                          </a:solidFill>
                          <a:effectLst/>
                          <a:latin typeface="Segoe UI Semilight" charset="0"/>
                          <a:ea typeface="Segoe UI Semilight" charset="0"/>
                          <a:cs typeface="Segoe UI Semilight" charset="0"/>
                        </a:rPr>
                        <a:t>Basic OLTP (Basic In-Memory OLTP, Basic operational analytic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i="1" kern="1200">
                        <a:solidFill>
                          <a:schemeClr val="accent6">
                            <a:lumMod val="75000"/>
                          </a:schemeClr>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Advanced OLTP (Advanced In-Memory OLTP, Advanced operational analytics, adaptive query processing)</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SQL Server Repl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500791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kumimoji="0" lang="en-US" sz="1400" b="0" i="0" u="none" strike="noStrike" kern="120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Basic high availability (2-node single database failover, non-readable secondary)</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0449">
                <a:tc vMerge="1">
                  <a:txBody>
                    <a:bodyPr/>
                    <a:lstStyle/>
                    <a:p>
                      <a:pPr marL="0" marR="0">
                        <a:lnSpc>
                          <a:spcPct val="107000"/>
                        </a:lnSpc>
                        <a:spcBef>
                          <a:spcPts val="0"/>
                        </a:spcBef>
                        <a:spcAft>
                          <a:spcPts val="0"/>
                        </a:spcAft>
                        <a:tabLst>
                          <a:tab pos="182880" algn="l"/>
                        </a:tabLst>
                      </a:pPr>
                      <a:endParaRPr lang="en-US" sz="1000" b="0">
                        <a:effectLst/>
                        <a:latin typeface="Segoe UI Semibold" panose="020B0702040204020203" pitchFamily="34" charset="0"/>
                        <a:ea typeface="Calibri" panose="020F0502020204030204" pitchFamily="34" charset="0"/>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spc="50" dirty="0">
                          <a:solidFill>
                            <a:schemeClr val="tx1"/>
                          </a:solidFill>
                          <a:effectLst/>
                          <a:latin typeface="Segoe UI Semilight" charset="0"/>
                          <a:ea typeface="Segoe UI Semilight" charset="0"/>
                          <a:cs typeface="Segoe UI Semilight" charset="0"/>
                        </a:rPr>
                        <a:t>Advanced HA </a:t>
                      </a:r>
                      <a:r>
                        <a:rPr lang="en-US" sz="900" b="0" i="0" spc="50" baseline="0" dirty="0">
                          <a:solidFill>
                            <a:schemeClr val="tx1"/>
                          </a:solidFill>
                          <a:effectLst/>
                          <a:latin typeface="Segoe UI Semilight" charset="0"/>
                          <a:ea typeface="Segoe UI Semilight" charset="0"/>
                          <a:cs typeface="Segoe UI Semilight" charset="0"/>
                        </a:rPr>
                        <a:t>(Always On - multi-node, multi-db failover, readable secondaries)</a:t>
                      </a:r>
                      <a:endParaRPr lang="en-US" sz="900" b="0" i="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Security</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Basic security (Basic auditing, Row-level security, Data masking, Always Encrypted, Active Directory Authent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 security (Transparent Data Encryp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0449">
                <a:tc rowSpan="4">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ata warehousing</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baseline="0" dirty="0">
                          <a:solidFill>
                            <a:schemeClr val="tx1"/>
                          </a:solidFill>
                          <a:effectLst/>
                          <a:latin typeface="Segoe UI Semilight" charset="0"/>
                          <a:ea typeface="Segoe UI Semilight" charset="0"/>
                          <a:cs typeface="Segoe UI Semilight" charset="0"/>
                        </a:rPr>
                        <a:t>PolyBase</a:t>
                      </a:r>
                      <a:endParaRPr kumimoji="0" lang="en-US" sz="900" b="0" i="0" u="none" strike="noStrike" kern="1200" cap="none" spc="50" normalizeH="0" baseline="3000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Planned</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Basic data</a:t>
                      </a:r>
                      <a:r>
                        <a:rPr lang="en-US" sz="900" b="0" i="0" spc="50" baseline="0" dirty="0">
                          <a:solidFill>
                            <a:schemeClr val="tx1"/>
                          </a:solidFill>
                          <a:effectLst/>
                          <a:latin typeface="Segoe UI Semilight" charset="0"/>
                          <a:ea typeface="Segoe UI Semilight" charset="0"/>
                          <a:cs typeface="Segoe UI Semilight" charset="0"/>
                        </a:rPr>
                        <a:t> warehousing/data marts (Basic I</a:t>
                      </a:r>
                      <a:r>
                        <a:rPr lang="en-US" sz="900" b="0" i="0" spc="50" dirty="0">
                          <a:solidFill>
                            <a:schemeClr val="tx1"/>
                          </a:solidFill>
                          <a:effectLst/>
                          <a:latin typeface="Segoe UI Semilight" charset="0"/>
                          <a:ea typeface="Segoe UI Semilight" charset="0"/>
                          <a:cs typeface="Segoe UI Semilight" charset="0"/>
                        </a:rPr>
                        <a:t>n-Memory ColumnStore, Partitioning, Compression)</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Advanced data</a:t>
                      </a:r>
                      <a:r>
                        <a:rPr lang="en-US" sz="900" b="0" i="0" spc="50" baseline="0" dirty="0">
                          <a:solidFill>
                            <a:schemeClr val="tx1"/>
                          </a:solidFill>
                          <a:effectLst/>
                          <a:latin typeface="Segoe UI Semilight" charset="0"/>
                          <a:ea typeface="Segoe UI Semilight" charset="0"/>
                          <a:cs typeface="Segoe UI Semilight" charset="0"/>
                        </a:rPr>
                        <a:t> warehousing (Advanced I</a:t>
                      </a:r>
                      <a:r>
                        <a:rPr lang="en-US" sz="900" b="0" i="0" spc="50" dirty="0">
                          <a:solidFill>
                            <a:schemeClr val="tx1"/>
                          </a:solidFill>
                          <a:effectLst/>
                          <a:latin typeface="Segoe UI Semilight" charset="0"/>
                          <a:ea typeface="Segoe UI Semilight" charset="0"/>
                          <a:cs typeface="Segoe UI Semilight" charset="0"/>
                        </a:rPr>
                        <a:t>n-Memory ColumnStore)</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a:t>
                      </a:r>
                      <a:r>
                        <a:rPr lang="en-US" sz="900" b="0" i="0" kern="1200" spc="50" baseline="0" dirty="0">
                          <a:solidFill>
                            <a:schemeClr val="tx1"/>
                          </a:solidFill>
                          <a:effectLst/>
                          <a:latin typeface="Segoe UI Semilight" charset="0"/>
                          <a:ea typeface="Segoe UI Semilight" charset="0"/>
                          <a:cs typeface="Segoe UI Semilight" charset="0"/>
                        </a:rPr>
                        <a:t> data integration (Fuzzy grouping and look ups)</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6"/>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Tool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Windows ecosystem: Full-fidelity Management</a:t>
                      </a:r>
                      <a:r>
                        <a:rPr lang="en-US" sz="900" b="0" i="0" kern="1200" spc="50" baseline="0" noProof="0" dirty="0">
                          <a:solidFill>
                            <a:schemeClr val="tx1"/>
                          </a:solidFill>
                          <a:effectLst/>
                          <a:latin typeface="Segoe UI Semilight" charset="0"/>
                          <a:ea typeface="Segoe UI Semilight" charset="0"/>
                          <a:cs typeface="Segoe UI Semilight" charset="0"/>
                        </a:rPr>
                        <a:t> &amp; Dev Tool (</a:t>
                      </a:r>
                      <a:r>
                        <a:rPr lang="en-US" sz="900" b="0" i="0" kern="1200" spc="50" noProof="0" dirty="0">
                          <a:solidFill>
                            <a:schemeClr val="tx1"/>
                          </a:solidFill>
                          <a:effectLst/>
                          <a:latin typeface="Segoe UI Semilight" charset="0"/>
                          <a:ea typeface="Segoe UI Semilight" charset="0"/>
                          <a:cs typeface="Segoe UI Semilight" charset="0"/>
                        </a:rPr>
                        <a:t>SSMS &amp; SSDT), command line tool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507567"/>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chemeClr val="accent1"/>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Linux/OSX/Windows ecosystem: Dev tools (VS Code), </a:t>
                      </a:r>
                      <a:r>
                        <a:rPr lang="en-US" sz="900" b="0" i="0" kern="1200" spc="50" baseline="0" noProof="0" dirty="0">
                          <a:solidFill>
                            <a:schemeClr val="tx1"/>
                          </a:solidFill>
                          <a:effectLst/>
                          <a:latin typeface="Segoe UI Semilight" charset="0"/>
                          <a:ea typeface="Segoe UI Semilight" charset="0"/>
                          <a:cs typeface="Segoe UI Semilight" charset="0"/>
                        </a:rPr>
                        <a:t>DB Admin GUI tool, command line tools</a:t>
                      </a:r>
                      <a:endParaRPr lang="en-US" sz="900" b="0" i="0" kern="1200" spc="50" noProof="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295766"/>
                  </a:ext>
                </a:extLst>
              </a:tr>
              <a:tr h="273752">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evelope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Programmability (T-SQL, CLR, Data Types, JSON, Graph)</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243036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rgbClr val="FF8C00"/>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Distributed Transaction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2092743"/>
                  </a:ext>
                </a:extLst>
              </a:tr>
              <a:tr h="210449">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000" b="1" kern="0" spc="49" dirty="0">
                        <a:solidFill>
                          <a:srgbClr val="0078D7"/>
                        </a:solidFill>
                        <a:latin typeface="Segoe UI Semibold" charset="0"/>
                        <a:ea typeface="Segoe UI Semilight" charset="0"/>
                        <a:cs typeface="Segoe UI Semibold" charset="0"/>
                      </a:endParaRP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Machine Learning Service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886272"/>
                  </a:ext>
                </a:extLst>
              </a:tr>
            </a:tbl>
          </a:graphicData>
        </a:graphic>
      </p:graphicFrame>
      <p:sp>
        <p:nvSpPr>
          <p:cNvPr id="2" name="Title 1">
            <a:extLst>
              <a:ext uri="{FF2B5EF4-FFF2-40B4-BE49-F238E27FC236}">
                <a16:creationId xmlns:a16="http://schemas.microsoft.com/office/drawing/2014/main" id="{412A8B19-2812-4A8B-A94A-D7F59B2A3F4B}"/>
              </a:ext>
            </a:extLst>
          </p:cNvPr>
          <p:cNvSpPr>
            <a:spLocks noGrp="1"/>
          </p:cNvSpPr>
          <p:nvPr>
            <p:ph type="title"/>
          </p:nvPr>
        </p:nvSpPr>
        <p:spPr/>
        <p:txBody>
          <a:bodyPr/>
          <a:lstStyle/>
          <a:p>
            <a:r>
              <a:rPr lang="en-US" dirty="0"/>
              <a:t>What’s in SQL Server on Linux</a:t>
            </a:r>
          </a:p>
        </p:txBody>
      </p:sp>
      <p:sp>
        <p:nvSpPr>
          <p:cNvPr id="4" name="TextBox 3">
            <a:extLst>
              <a:ext uri="{FF2B5EF4-FFF2-40B4-BE49-F238E27FC236}">
                <a16:creationId xmlns:a16="http://schemas.microsoft.com/office/drawing/2014/main" id="{4C3DCC03-E37F-4219-94C7-53393CC47B4C}"/>
              </a:ext>
            </a:extLst>
          </p:cNvPr>
          <p:cNvSpPr txBox="1"/>
          <p:nvPr/>
        </p:nvSpPr>
        <p:spPr>
          <a:xfrm>
            <a:off x="11724728" y="3178240"/>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6" name="TextBox 5">
            <a:extLst>
              <a:ext uri="{FF2B5EF4-FFF2-40B4-BE49-F238E27FC236}">
                <a16:creationId xmlns:a16="http://schemas.microsoft.com/office/drawing/2014/main" id="{AA890DAB-D4A2-40D9-8BFD-B364CF967E89}"/>
              </a:ext>
            </a:extLst>
          </p:cNvPr>
          <p:cNvSpPr txBox="1"/>
          <p:nvPr/>
        </p:nvSpPr>
        <p:spPr>
          <a:xfrm>
            <a:off x="11724728" y="5771631"/>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7" name="TextBox 6">
            <a:extLst>
              <a:ext uri="{FF2B5EF4-FFF2-40B4-BE49-F238E27FC236}">
                <a16:creationId xmlns:a16="http://schemas.microsoft.com/office/drawing/2014/main" id="{CBF430A3-1C24-4226-9AA9-CF3B5478DC00}"/>
              </a:ext>
            </a:extLst>
          </p:cNvPr>
          <p:cNvSpPr txBox="1"/>
          <p:nvPr/>
        </p:nvSpPr>
        <p:spPr>
          <a:xfrm>
            <a:off x="11724728" y="5960216"/>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Tree>
    <p:extLst>
      <p:ext uri="{BB962C8B-B14F-4D97-AF65-F5344CB8AC3E}">
        <p14:creationId xmlns:p14="http://schemas.microsoft.com/office/powerpoint/2010/main" val="139462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Shape 1">
            <a:extLst>
              <a:ext uri="{FF2B5EF4-FFF2-40B4-BE49-F238E27FC236}">
                <a16:creationId xmlns:a16="http://schemas.microsoft.com/office/drawing/2014/main" id="{DC05B2F6-A0FF-4260-9CAB-13B16F0BF0B9}"/>
              </a:ext>
            </a:extLst>
          </p:cNvPr>
          <p:cNvSpPr/>
          <p:nvPr/>
        </p:nvSpPr>
        <p:spPr bwMode="auto">
          <a:xfrm>
            <a:off x="7160039" y="3533856"/>
            <a:ext cx="2862946" cy="1227819"/>
          </a:xfrm>
          <a:prstGeom prst="corner">
            <a:avLst>
              <a:gd name="adj1" fmla="val 50222"/>
              <a:gd name="adj2" fmla="val 11205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1032691" y="3341335"/>
            <a:ext cx="4022812" cy="990945"/>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 Platform Abstraction Layer </a:t>
            </a:r>
          </a:p>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PAL)</a:t>
            </a:r>
          </a:p>
        </p:txBody>
      </p:sp>
      <p:grpSp>
        <p:nvGrpSpPr>
          <p:cNvPr id="21" name="Group 20">
            <a:extLst>
              <a:ext uri="{FF2B5EF4-FFF2-40B4-BE49-F238E27FC236}">
                <a16:creationId xmlns:a16="http://schemas.microsoft.com/office/drawing/2014/main" id="{3690EB18-2678-4C0D-9D4F-028AAF7D5725}"/>
              </a:ext>
            </a:extLst>
          </p:cNvPr>
          <p:cNvGrpSpPr/>
          <p:nvPr/>
        </p:nvGrpSpPr>
        <p:grpSpPr>
          <a:xfrm>
            <a:off x="1032691" y="2725883"/>
            <a:ext cx="4023277" cy="500705"/>
            <a:chOff x="791192" y="2535513"/>
            <a:chExt cx="4194465" cy="640080"/>
          </a:xfrm>
        </p:grpSpPr>
        <p:sp>
          <p:nvSpPr>
            <p:cNvPr id="9" name="Rectangle 8"/>
            <p:cNvSpPr/>
            <p:nvPr/>
          </p:nvSpPr>
          <p:spPr bwMode="auto">
            <a:xfrm>
              <a:off x="791192"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RDBMS</a:t>
              </a:r>
            </a:p>
          </p:txBody>
        </p:sp>
        <p:sp>
          <p:nvSpPr>
            <p:cNvPr id="10" name="Rectangle 9"/>
            <p:cNvSpPr/>
            <p:nvPr/>
          </p:nvSpPr>
          <p:spPr bwMode="auto">
            <a:xfrm>
              <a:off x="1871387"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IS</a:t>
              </a:r>
            </a:p>
          </p:txBody>
        </p:sp>
        <p:sp>
          <p:nvSpPr>
            <p:cNvPr id="11" name="Rectangle 10"/>
            <p:cNvSpPr/>
            <p:nvPr/>
          </p:nvSpPr>
          <p:spPr bwMode="auto">
            <a:xfrm>
              <a:off x="2951581"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AS</a:t>
              </a:r>
            </a:p>
          </p:txBody>
        </p:sp>
        <p:sp>
          <p:nvSpPr>
            <p:cNvPr id="12" name="Rectangle 11"/>
            <p:cNvSpPr/>
            <p:nvPr/>
          </p:nvSpPr>
          <p:spPr bwMode="auto">
            <a:xfrm>
              <a:off x="4031775"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RS</a:t>
              </a:r>
            </a:p>
          </p:txBody>
        </p:sp>
      </p:grpSp>
      <p:grpSp>
        <p:nvGrpSpPr>
          <p:cNvPr id="42" name="Group 41">
            <a:extLst>
              <a:ext uri="{FF2B5EF4-FFF2-40B4-BE49-F238E27FC236}">
                <a16:creationId xmlns:a16="http://schemas.microsoft.com/office/drawing/2014/main" id="{7E67C26C-369D-4F8D-A577-5AE7E595DFC0}"/>
              </a:ext>
            </a:extLst>
          </p:cNvPr>
          <p:cNvGrpSpPr/>
          <p:nvPr/>
        </p:nvGrpSpPr>
        <p:grpSpPr>
          <a:xfrm>
            <a:off x="1136182" y="4270970"/>
            <a:ext cx="3815830" cy="1146847"/>
            <a:chOff x="843348" y="4267200"/>
            <a:chExt cx="4044737" cy="1147010"/>
          </a:xfrm>
          <a:solidFill>
            <a:srgbClr val="E6E6E6"/>
          </a:solidFill>
        </p:grpSpPr>
        <p:sp>
          <p:nvSpPr>
            <p:cNvPr id="13" name="Rectangle 12"/>
            <p:cNvSpPr/>
            <p:nvPr/>
          </p:nvSpPr>
          <p:spPr bwMode="auto">
            <a:xfrm>
              <a:off x="843348"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a:t>
              </a:r>
            </a:p>
          </p:txBody>
        </p:sp>
        <p:sp>
          <p:nvSpPr>
            <p:cNvPr id="14" name="Rectangle 13"/>
            <p:cNvSpPr/>
            <p:nvPr/>
          </p:nvSpPr>
          <p:spPr bwMode="auto">
            <a:xfrm>
              <a:off x="2898326"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a:t>
              </a:r>
            </a:p>
          </p:txBody>
        </p:sp>
        <p:sp>
          <p:nvSpPr>
            <p:cNvPr id="17" name="Rectangle 16"/>
            <p:cNvSpPr/>
            <p:nvPr/>
          </p:nvSpPr>
          <p:spPr bwMode="auto">
            <a:xfrm>
              <a:off x="843348" y="4267201"/>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 Host Ext.</a:t>
              </a:r>
            </a:p>
          </p:txBody>
        </p:sp>
        <p:sp>
          <p:nvSpPr>
            <p:cNvPr id="18" name="Rectangle 17"/>
            <p:cNvSpPr/>
            <p:nvPr/>
          </p:nvSpPr>
          <p:spPr bwMode="auto">
            <a:xfrm>
              <a:off x="2898326" y="4267200"/>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 Host Extension</a:t>
              </a:r>
            </a:p>
          </p:txBody>
        </p:sp>
      </p:grpSp>
      <p:cxnSp>
        <p:nvCxnSpPr>
          <p:cNvPr id="24" name="Straight Connector 23"/>
          <p:cNvCxnSpPr>
            <a:cxnSpLocks/>
          </p:cNvCxnSpPr>
          <p:nvPr/>
        </p:nvCxnSpPr>
        <p:spPr>
          <a:xfrm flipV="1">
            <a:off x="5055475" y="2691018"/>
            <a:ext cx="1170631" cy="650317"/>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5055475" y="4332279"/>
            <a:ext cx="1170632" cy="650318"/>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26598" y="2691020"/>
            <a:ext cx="4706326" cy="229157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 Platform Abstraction Layer</a:t>
            </a:r>
          </a:p>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PAL)</a:t>
            </a:r>
          </a:p>
        </p:txBody>
      </p:sp>
      <p:sp>
        <p:nvSpPr>
          <p:cNvPr id="25" name="Rectangle 24"/>
          <p:cNvSpPr/>
          <p:nvPr/>
        </p:nvSpPr>
        <p:spPr bwMode="auto">
          <a:xfrm>
            <a:off x="6226599" y="5200259"/>
            <a:ext cx="4706326" cy="521134"/>
          </a:xfrm>
          <a:prstGeom prst="rect">
            <a:avLst/>
          </a:prstGeom>
          <a:no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Host extension mapping to OS system calls</a:t>
            </a:r>
          </a:p>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 (IO, Memory, CPU scheduling)</a:t>
            </a:r>
          </a:p>
        </p:txBody>
      </p:sp>
      <p:sp>
        <p:nvSpPr>
          <p:cNvPr id="23" name="Rectangle 22"/>
          <p:cNvSpPr/>
          <p:nvPr/>
        </p:nvSpPr>
        <p:spPr bwMode="auto">
          <a:xfrm>
            <a:off x="8651128" y="3533856"/>
            <a:ext cx="1371878" cy="523812"/>
          </a:xfrm>
          <a:prstGeom prst="rect">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32-like APIs</a:t>
            </a:r>
          </a:p>
        </p:txBody>
      </p:sp>
      <p:sp>
        <p:nvSpPr>
          <p:cNvPr id="26" name="Rectangle 25"/>
          <p:cNvSpPr/>
          <p:nvPr/>
        </p:nvSpPr>
        <p:spPr bwMode="auto">
          <a:xfrm>
            <a:off x="7441311" y="3757037"/>
            <a:ext cx="812662"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API</a:t>
            </a:r>
          </a:p>
        </p:txBody>
      </p:sp>
      <p:sp>
        <p:nvSpPr>
          <p:cNvPr id="27" name="Rectangle 26"/>
          <p:cNvSpPr/>
          <p:nvPr/>
        </p:nvSpPr>
        <p:spPr bwMode="auto">
          <a:xfrm>
            <a:off x="8034033" y="4370947"/>
            <a:ext cx="1114977"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v2</a:t>
            </a:r>
          </a:p>
        </p:txBody>
      </p:sp>
      <p:cxnSp>
        <p:nvCxnSpPr>
          <p:cNvPr id="28" name="Straight Arrow Connector 27"/>
          <p:cNvCxnSpPr>
            <a:cxnSpLocks/>
          </p:cNvCxnSpPr>
          <p:nvPr/>
        </p:nvCxnSpPr>
        <p:spPr>
          <a:xfrm>
            <a:off x="6743102" y="2360504"/>
            <a:ext cx="0" cy="281846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0416422" y="2229449"/>
            <a:ext cx="0" cy="2949525"/>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823782" y="2075763"/>
            <a:ext cx="2109144" cy="510838"/>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All other systems</a:t>
            </a:r>
          </a:p>
        </p:txBody>
      </p:sp>
      <p:sp>
        <p:nvSpPr>
          <p:cNvPr id="31" name="TextBox 30"/>
          <p:cNvSpPr txBox="1"/>
          <p:nvPr/>
        </p:nvSpPr>
        <p:spPr>
          <a:xfrm>
            <a:off x="6226600" y="2066274"/>
            <a:ext cx="2495507" cy="523659"/>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sp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System resource &amp;</a:t>
            </a:r>
            <a:br>
              <a:rPr lang="en-US" spc="0" dirty="0">
                <a:latin typeface="Segoe UI"/>
              </a:rPr>
            </a:br>
            <a:r>
              <a:rPr lang="en-US" spc="0" dirty="0">
                <a:latin typeface="Segoe UI"/>
              </a:rPr>
              <a:t>latency sensitive code paths</a:t>
            </a: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9044" y="457622"/>
            <a:ext cx="11016957" cy="769441"/>
          </a:xfrm>
        </p:spPr>
        <p:txBody>
          <a:bodyPr/>
          <a:lstStyle/>
          <a:p>
            <a:r>
              <a:rPr lang="en-US" dirty="0"/>
              <a:t>The Architecture of SQL Server on Linux</a:t>
            </a:r>
            <a:br>
              <a:rPr lang="en-US" dirty="0"/>
            </a:br>
            <a:endParaRPr lang="en-US" sz="1400" spc="400" dirty="0"/>
          </a:p>
        </p:txBody>
      </p:sp>
      <p:sp>
        <p:nvSpPr>
          <p:cNvPr id="40" name="Triangle 3">
            <a:extLst>
              <a:ext uri="{FF2B5EF4-FFF2-40B4-BE49-F238E27FC236}">
                <a16:creationId xmlns:a16="http://schemas.microsoft.com/office/drawing/2014/main" id="{11FED211-EA60-4B11-8C71-517780B2C01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30" dirty="0">
              <a:solidFill>
                <a:srgbClr val="0078D4"/>
              </a:solidFill>
              <a:latin typeface="Segoe UI"/>
            </a:endParaRPr>
          </a:p>
        </p:txBody>
      </p:sp>
      <p:sp>
        <p:nvSpPr>
          <p:cNvPr id="41" name="Text Placeholder 3">
            <a:extLst>
              <a:ext uri="{FF2B5EF4-FFF2-40B4-BE49-F238E27FC236}">
                <a16:creationId xmlns:a16="http://schemas.microsoft.com/office/drawing/2014/main" id="{37A418D7-655E-4523-9984-E941A2395E0E}"/>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E6E6E6"/>
              </a:buClr>
              <a:buNone/>
            </a:pPr>
            <a:r>
              <a:rPr lang="en-US" sz="1000" b="1" dirty="0">
                <a:solidFill>
                  <a:srgbClr val="0078D4"/>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30443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Deployment Experience</a:t>
            </a:r>
          </a:p>
        </p:txBody>
      </p:sp>
      <p:sp>
        <p:nvSpPr>
          <p:cNvPr id="25" name="Content Placeholder 2">
            <a:extLst>
              <a:ext uri="{FF2B5EF4-FFF2-40B4-BE49-F238E27FC236}">
                <a16:creationId xmlns:a16="http://schemas.microsoft.com/office/drawing/2014/main" id="{FFEFC3EA-1C9B-4DE5-957E-5128F4084D11}"/>
              </a:ext>
            </a:extLst>
          </p:cNvPr>
          <p:cNvSpPr txBox="1">
            <a:spLocks/>
          </p:cNvSpPr>
          <p:nvPr/>
        </p:nvSpPr>
        <p:spPr>
          <a:xfrm>
            <a:off x="411021" y="1271841"/>
            <a:ext cx="7252522" cy="36071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Light and fast using package managers</a:t>
            </a:r>
          </a:p>
          <a:p>
            <a:pPr lvl="1"/>
            <a:r>
              <a:rPr lang="en-US" dirty="0">
                <a:solidFill>
                  <a:schemeClr val="tx1"/>
                </a:solidFill>
              </a:rPr>
              <a:t>RHEL: RPM and yum.</a:t>
            </a:r>
          </a:p>
          <a:p>
            <a:pPr lvl="1"/>
            <a:r>
              <a:rPr lang="en-US" dirty="0">
                <a:solidFill>
                  <a:schemeClr val="tx1"/>
                </a:solidFill>
              </a:rPr>
              <a:t>Ubuntu: Debian and apt-get</a:t>
            </a:r>
          </a:p>
          <a:p>
            <a:pPr lvl="1"/>
            <a:r>
              <a:rPr lang="en-US" dirty="0">
                <a:solidFill>
                  <a:schemeClr val="tx1"/>
                </a:solidFill>
              </a:rPr>
              <a:t>SUSE: RPM and zypper.</a:t>
            </a:r>
          </a:p>
          <a:p>
            <a:r>
              <a:rPr lang="en-US" dirty="0">
                <a:solidFill>
                  <a:schemeClr val="tx1"/>
                </a:solidFill>
              </a:rPr>
              <a:t>Dependency management built-in</a:t>
            </a:r>
          </a:p>
          <a:p>
            <a:r>
              <a:rPr lang="en-US" dirty="0">
                <a:solidFill>
                  <a:schemeClr val="tx1"/>
                </a:solidFill>
              </a:rPr>
              <a:t>Install fast </a:t>
            </a:r>
            <a:r>
              <a:rPr lang="en-US" dirty="0">
                <a:solidFill>
                  <a:schemeClr val="tx1"/>
                </a:solidFill>
                <a:sym typeface="Wingdings" panose="05000000000000000000" pitchFamily="2" charset="2"/>
              </a:rPr>
              <a:t> configure later</a:t>
            </a:r>
          </a:p>
          <a:p>
            <a:r>
              <a:rPr lang="en-US" dirty="0">
                <a:solidFill>
                  <a:schemeClr val="tx1"/>
                </a:solidFill>
                <a:sym typeface="Wingdings" panose="05000000000000000000" pitchFamily="2" charset="2"/>
              </a:rPr>
              <a:t>Break up the product into packages</a:t>
            </a:r>
          </a:p>
          <a:p>
            <a:r>
              <a:rPr lang="en-US" dirty="0">
                <a:solidFill>
                  <a:schemeClr val="tx1"/>
                </a:solidFill>
                <a:sym typeface="Wingdings" panose="05000000000000000000" pitchFamily="2" charset="2"/>
              </a:rPr>
              <a:t>Offline, unattended, update, rollback, remove</a:t>
            </a:r>
            <a:endParaRPr lang="en-US" dirty="0">
              <a:solidFill>
                <a:schemeClr val="tx1"/>
              </a:solidFill>
            </a:endParaRPr>
          </a:p>
        </p:txBody>
      </p:sp>
      <p:graphicFrame>
        <p:nvGraphicFramePr>
          <p:cNvPr id="26" name="Diagram 25">
            <a:extLst>
              <a:ext uri="{FF2B5EF4-FFF2-40B4-BE49-F238E27FC236}">
                <a16:creationId xmlns:a16="http://schemas.microsoft.com/office/drawing/2014/main" id="{AE42AFBE-BFAA-459C-8B67-6F2F5C40DA4B}"/>
              </a:ext>
            </a:extLst>
          </p:cNvPr>
          <p:cNvGraphicFramePr/>
          <p:nvPr>
            <p:extLst>
              <p:ext uri="{D42A27DB-BD31-4B8C-83A1-F6EECF244321}">
                <p14:modId xmlns:p14="http://schemas.microsoft.com/office/powerpoint/2010/main" val="4132198900"/>
              </p:ext>
            </p:extLst>
          </p:nvPr>
        </p:nvGraphicFramePr>
        <p:xfrm>
          <a:off x="498106" y="5397367"/>
          <a:ext cx="8451291" cy="9464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7" name="Picture 4" descr="Image result for ubuntu logo png">
            <a:extLst>
              <a:ext uri="{FF2B5EF4-FFF2-40B4-BE49-F238E27FC236}">
                <a16:creationId xmlns:a16="http://schemas.microsoft.com/office/drawing/2014/main" id="{212F909F-0F18-4F93-93EE-D00B67BCACF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872461" y="368083"/>
            <a:ext cx="1553006" cy="155300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SLES logo png">
            <a:extLst>
              <a:ext uri="{FF2B5EF4-FFF2-40B4-BE49-F238E27FC236}">
                <a16:creationId xmlns:a16="http://schemas.microsoft.com/office/drawing/2014/main" id="{280F5838-A872-4B02-AAB1-7CDDDFA3C9FB}"/>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777304" y="3509145"/>
            <a:ext cx="2688900" cy="12465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Image result for red hat">
            <a:extLst>
              <a:ext uri="{FF2B5EF4-FFF2-40B4-BE49-F238E27FC236}">
                <a16:creationId xmlns:a16="http://schemas.microsoft.com/office/drawing/2014/main" id="{9D2D1235-647B-4451-A48E-A7ACF6D7D8E2}"/>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9425467" y="2350531"/>
            <a:ext cx="2259904" cy="7291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7994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8263" y="457200"/>
            <a:ext cx="11018520" cy="553998"/>
          </a:xfrm>
        </p:spPr>
        <p:txBody>
          <a:bodyPr/>
          <a:lstStyle/>
          <a:p>
            <a:r>
              <a:rPr lang="en-US" dirty="0"/>
              <a:t>Configuring and Updating SQL Server on Linux</a:t>
            </a:r>
          </a:p>
        </p:txBody>
      </p:sp>
      <p:graphicFrame>
        <p:nvGraphicFramePr>
          <p:cNvPr id="2" name="Diagram 1">
            <a:extLst>
              <a:ext uri="{FF2B5EF4-FFF2-40B4-BE49-F238E27FC236}">
                <a16:creationId xmlns:a16="http://schemas.microsoft.com/office/drawing/2014/main" id="{5CD58392-0573-443B-BF77-ED172E81C9A7}"/>
              </a:ext>
            </a:extLst>
          </p:cNvPr>
          <p:cNvGraphicFramePr/>
          <p:nvPr>
            <p:extLst>
              <p:ext uri="{D42A27DB-BD31-4B8C-83A1-F6EECF244321}">
                <p14:modId xmlns:p14="http://schemas.microsoft.com/office/powerpoint/2010/main" val="2275260910"/>
              </p:ext>
            </p:extLst>
          </p:nvPr>
        </p:nvGraphicFramePr>
        <p:xfrm>
          <a:off x="516238" y="1754659"/>
          <a:ext cx="6279978" cy="46461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1AEC8ACB-B832-4687-81DD-DB98306BD403}"/>
              </a:ext>
            </a:extLst>
          </p:cNvPr>
          <p:cNvSpPr txBox="1"/>
          <p:nvPr/>
        </p:nvSpPr>
        <p:spPr>
          <a:xfrm>
            <a:off x="2669060" y="1245060"/>
            <a:ext cx="155972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onfiguration</a:t>
            </a:r>
          </a:p>
        </p:txBody>
      </p:sp>
      <p:graphicFrame>
        <p:nvGraphicFramePr>
          <p:cNvPr id="4" name="Diagram 3">
            <a:extLst>
              <a:ext uri="{FF2B5EF4-FFF2-40B4-BE49-F238E27FC236}">
                <a16:creationId xmlns:a16="http://schemas.microsoft.com/office/drawing/2014/main" id="{984E7BC2-1D6B-4859-A038-26D766A03495}"/>
              </a:ext>
            </a:extLst>
          </p:cNvPr>
          <p:cNvGraphicFramePr/>
          <p:nvPr>
            <p:extLst>
              <p:ext uri="{D42A27DB-BD31-4B8C-83A1-F6EECF244321}">
                <p14:modId xmlns:p14="http://schemas.microsoft.com/office/powerpoint/2010/main" val="719830283"/>
              </p:ext>
            </p:extLst>
          </p:nvPr>
        </p:nvGraphicFramePr>
        <p:xfrm>
          <a:off x="8402594" y="1754659"/>
          <a:ext cx="2792627" cy="464614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extBox 8">
            <a:extLst>
              <a:ext uri="{FF2B5EF4-FFF2-40B4-BE49-F238E27FC236}">
                <a16:creationId xmlns:a16="http://schemas.microsoft.com/office/drawing/2014/main" id="{F6CB614A-B469-45E5-ADCC-CE4E7D462A4A}"/>
              </a:ext>
            </a:extLst>
          </p:cNvPr>
          <p:cNvSpPr txBox="1"/>
          <p:nvPr/>
        </p:nvSpPr>
        <p:spPr>
          <a:xfrm>
            <a:off x="9280558" y="1245060"/>
            <a:ext cx="105317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ing</a:t>
            </a:r>
          </a:p>
        </p:txBody>
      </p:sp>
    </p:spTree>
    <p:custDataLst>
      <p:tags r:id="rId1"/>
    </p:custDataLst>
    <p:extLst>
      <p:ext uri="{BB962C8B-B14F-4D97-AF65-F5344CB8AC3E}">
        <p14:creationId xmlns:p14="http://schemas.microsoft.com/office/powerpoint/2010/main" val="188118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CA1ECC2E-6358-479D-9E85-FFCFE454E6E4}"/>
              </a:ext>
            </a:extLst>
          </p:cNvPr>
          <p:cNvSpPr txBox="1"/>
          <p:nvPr/>
        </p:nvSpPr>
        <p:spPr>
          <a:xfrm>
            <a:off x="270067" y="3900566"/>
            <a:ext cx="4662582" cy="2296880"/>
          </a:xfrm>
          <a:prstGeom prst="rect">
            <a:avLst/>
          </a:prstGeom>
          <a:noFill/>
        </p:spPr>
        <p:txBody>
          <a:bodyPr wrap="square" lIns="146284" tIns="182828" rIns="182828" bIns="91414" rtlCol="0">
            <a:noAutofit/>
          </a:bodyPr>
          <a:lstStyle/>
          <a:p>
            <a:pPr defTabSz="914049">
              <a:spcAft>
                <a:spcPts val="900"/>
              </a:spcAft>
              <a:buClr>
                <a:srgbClr val="0078D8"/>
              </a:buClr>
              <a:defRPr/>
            </a:pPr>
            <a:r>
              <a:rPr lang="en-US" sz="1600" dirty="0">
                <a:solidFill>
                  <a:srgbClr val="000000"/>
                </a:solidFill>
                <a:latin typeface="Segoe UI"/>
                <a:ea typeface="Segoe UI" charset="0"/>
                <a:cs typeface="Segoe UI" charset="0"/>
              </a:rPr>
              <a:t>Azure Data Studio</a:t>
            </a:r>
          </a:p>
          <a:p>
            <a:pPr defTabSz="914049">
              <a:spcAft>
                <a:spcPts val="900"/>
              </a:spcAft>
              <a:buClr>
                <a:srgbClr val="0078D8"/>
              </a:buClr>
              <a:defRPr/>
            </a:pPr>
            <a:r>
              <a:rPr lang="en-US" sz="1600" dirty="0">
                <a:solidFill>
                  <a:srgbClr val="000000"/>
                </a:solidFill>
                <a:latin typeface="Segoe UI"/>
                <a:ea typeface="Segoe UI" charset="0"/>
                <a:cs typeface="Segoe UI" charset="0"/>
              </a:rPr>
              <a:t>Visual Studio Code mssql extension</a:t>
            </a:r>
          </a:p>
          <a:p>
            <a:pPr defTabSz="914049">
              <a:spcAft>
                <a:spcPts val="900"/>
              </a:spcAft>
              <a:buClr>
                <a:srgbClr val="0078D8"/>
              </a:buClr>
              <a:defRPr/>
            </a:pPr>
            <a:r>
              <a:rPr lang="en-US" sz="1600" dirty="0">
                <a:solidFill>
                  <a:srgbClr val="000000"/>
                </a:solidFill>
                <a:latin typeface="Segoe UI"/>
                <a:ea typeface="Segoe UI" charset="0"/>
                <a:cs typeface="Segoe UI" charset="0"/>
              </a:rPr>
              <a:t>Native OS command line tools</a:t>
            </a:r>
          </a:p>
          <a:p>
            <a:pPr marL="137133" lvl="1" indent="-137133" defTabSz="914049">
              <a:spcAft>
                <a:spcPts val="900"/>
              </a:spcAft>
              <a:buClr>
                <a:srgbClr val="0078D7"/>
              </a:buClr>
              <a:buFont typeface="Arial" panose="020B0604020202020204" pitchFamily="34" charset="0"/>
              <a:buChar char="•"/>
              <a:defRPr/>
            </a:pPr>
            <a:r>
              <a:rPr lang="en-US" sz="1600" dirty="0">
                <a:solidFill>
                  <a:srgbClr val="000000"/>
                </a:solidFill>
                <a:latin typeface="Segoe UI"/>
                <a:ea typeface="Segoe UI" charset="0"/>
                <a:cs typeface="Segoe UI" charset="0"/>
              </a:rPr>
              <a:t>sqlcmd, bcp, sqlpackage</a:t>
            </a:r>
          </a:p>
          <a:p>
            <a:pPr defTabSz="914049">
              <a:spcAft>
                <a:spcPts val="900"/>
              </a:spcAft>
              <a:buClr>
                <a:srgbClr val="0078D8"/>
              </a:buClr>
              <a:defRPr/>
            </a:pPr>
            <a:r>
              <a:rPr lang="en-US" sz="1600" dirty="0">
                <a:solidFill>
                  <a:srgbClr val="000000"/>
                </a:solidFill>
                <a:latin typeface="Segoe UI"/>
                <a:ea typeface="Segoe UI" charset="0"/>
                <a:cs typeface="Segoe UI" charset="0"/>
              </a:rPr>
              <a:t>mssql-cli</a:t>
            </a:r>
          </a:p>
          <a:p>
            <a:pPr defTabSz="914049">
              <a:spcAft>
                <a:spcPts val="900"/>
              </a:spcAft>
              <a:buClr>
                <a:srgbClr val="0078D8"/>
              </a:buClr>
              <a:defRPr/>
            </a:pPr>
            <a:r>
              <a:rPr lang="en-US" sz="1600" dirty="0">
                <a:solidFill>
                  <a:srgbClr val="000000"/>
                </a:solidFill>
                <a:latin typeface="Segoe UI"/>
                <a:ea typeface="Segoe UI" charset="0"/>
                <a:cs typeface="Segoe UI" charset="0"/>
              </a:rPr>
              <a:t>mssql-scripter</a:t>
            </a:r>
          </a:p>
        </p:txBody>
      </p:sp>
      <p:sp>
        <p:nvSpPr>
          <p:cNvPr id="12" name="Content Placeholder 12"/>
          <p:cNvSpPr txBox="1">
            <a:spLocks/>
          </p:cNvSpPr>
          <p:nvPr/>
        </p:nvSpPr>
        <p:spPr>
          <a:xfrm>
            <a:off x="270701" y="1537096"/>
            <a:ext cx="4900785" cy="1451429"/>
          </a:xfrm>
          <a:prstGeom prst="rect">
            <a:avLst/>
          </a:prstGeom>
        </p:spPr>
        <p:txBody>
          <a:bodyPr lIns="146284" tIns="182828" rIns="182828" bIns="91414">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Management Studio (SSMS)</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Data Tools (SSDT)</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3rd party tools continue to work</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Existing drivers/frameworks supported</a:t>
            </a:r>
          </a:p>
        </p:txBody>
      </p:sp>
      <p:sp>
        <p:nvSpPr>
          <p:cNvPr id="7" name="Title 6">
            <a:extLst>
              <a:ext uri="{FF2B5EF4-FFF2-40B4-BE49-F238E27FC236}">
                <a16:creationId xmlns:a16="http://schemas.microsoft.com/office/drawing/2014/main" id="{B6C15758-2759-1249-86EB-95E395A72BC8}"/>
              </a:ext>
            </a:extLst>
          </p:cNvPr>
          <p:cNvSpPr>
            <a:spLocks noGrp="1"/>
          </p:cNvSpPr>
          <p:nvPr>
            <p:ph type="title"/>
          </p:nvPr>
        </p:nvSpPr>
        <p:spPr>
          <a:xfrm>
            <a:off x="270067" y="253536"/>
            <a:ext cx="11654187" cy="573397"/>
          </a:xfrm>
        </p:spPr>
        <p:txBody>
          <a:bodyPr/>
          <a:lstStyle/>
          <a:p>
            <a:r>
              <a:rPr lang="en-US" dirty="0"/>
              <a:t>SQL Server on Linux</a:t>
            </a:r>
          </a:p>
        </p:txBody>
      </p:sp>
      <p:sp>
        <p:nvSpPr>
          <p:cNvPr id="15" name="Text Placeholder 14">
            <a:extLst>
              <a:ext uri="{FF2B5EF4-FFF2-40B4-BE49-F238E27FC236}">
                <a16:creationId xmlns:a16="http://schemas.microsoft.com/office/drawing/2014/main" id="{1E47C575-2CAE-C14B-8688-E97C18C7961A}"/>
              </a:ext>
            </a:extLst>
          </p:cNvPr>
          <p:cNvSpPr>
            <a:spLocks noGrp="1"/>
          </p:cNvSpPr>
          <p:nvPr>
            <p:ph type="body" sz="quarter" idx="13"/>
          </p:nvPr>
        </p:nvSpPr>
        <p:spPr>
          <a:xfrm>
            <a:off x="269114" y="748111"/>
            <a:ext cx="11653772" cy="433903"/>
          </a:xfrm>
        </p:spPr>
        <p:txBody>
          <a:bodyPr/>
          <a:lstStyle/>
          <a:p>
            <a:r>
              <a:rPr lang="en-US" dirty="0"/>
              <a:t>Tools and programmability</a:t>
            </a:r>
          </a:p>
        </p:txBody>
      </p:sp>
      <p:sp>
        <p:nvSpPr>
          <p:cNvPr id="22" name="Freeform 21">
            <a:extLst>
              <a:ext uri="{FF2B5EF4-FFF2-40B4-BE49-F238E27FC236}">
                <a16:creationId xmlns:a16="http://schemas.microsoft.com/office/drawing/2014/main" id="{89216C8D-048F-D146-9469-EEF8DA124E35}"/>
              </a:ext>
            </a:extLst>
          </p:cNvPr>
          <p:cNvSpPr>
            <a:spLocks noChangeAspect="1" noEditPoints="1"/>
          </p:cNvSpPr>
          <p:nvPr/>
        </p:nvSpPr>
        <p:spPr bwMode="black">
          <a:xfrm>
            <a:off x="454801" y="3594715"/>
            <a:ext cx="365826" cy="36434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p:spPr>
        <p:txBody>
          <a:bodyPr vert="horz" wrap="square" lIns="89630" tIns="44814" rIns="89630" bIns="44814" numCol="1" anchor="t" anchorCtr="0" compatLnSpc="1">
            <a:prstTxWarp prst="textNoShape">
              <a:avLst/>
            </a:prstTxWarp>
          </a:bodyPr>
          <a:lstStyle/>
          <a:p>
            <a:pPr defTabSz="914192"/>
            <a:endParaRPr lang="en-US" dirty="0">
              <a:solidFill>
                <a:srgbClr val="FFFFFF"/>
              </a:solidFill>
              <a:latin typeface="Segoe UI"/>
            </a:endParaRPr>
          </a:p>
        </p:txBody>
      </p:sp>
      <p:sp>
        <p:nvSpPr>
          <p:cNvPr id="23" name="Freeform 22">
            <a:extLst>
              <a:ext uri="{FF2B5EF4-FFF2-40B4-BE49-F238E27FC236}">
                <a16:creationId xmlns:a16="http://schemas.microsoft.com/office/drawing/2014/main" id="{A07C8E6D-CB20-184C-A370-E9F698FFB726}"/>
              </a:ext>
            </a:extLst>
          </p:cNvPr>
          <p:cNvSpPr>
            <a:spLocks/>
          </p:cNvSpPr>
          <p:nvPr/>
        </p:nvSpPr>
        <p:spPr bwMode="auto">
          <a:xfrm>
            <a:off x="1822137" y="3509050"/>
            <a:ext cx="364449" cy="450006"/>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tx2"/>
          </a:solidFill>
          <a:ln>
            <a:noFill/>
          </a:ln>
        </p:spPr>
        <p:txBody>
          <a:bodyPr vert="horz" wrap="square" lIns="91427" tIns="45713" rIns="91427" bIns="45713" numCol="1" anchor="t" anchorCtr="0" compatLnSpc="1">
            <a:prstTxWarp prst="textNoShape">
              <a:avLst/>
            </a:prstTxWarp>
            <a:noAutofit/>
          </a:bodyPr>
          <a:lstStyle/>
          <a:p>
            <a:pPr defTabSz="914192"/>
            <a:endParaRPr lang="en-US" dirty="0">
              <a:solidFill>
                <a:srgbClr val="505050"/>
              </a:solidFill>
              <a:latin typeface="Segoe UI"/>
            </a:endParaRPr>
          </a:p>
        </p:txBody>
      </p:sp>
      <p:sp>
        <p:nvSpPr>
          <p:cNvPr id="24" name="Freeform 7">
            <a:extLst>
              <a:ext uri="{FF2B5EF4-FFF2-40B4-BE49-F238E27FC236}">
                <a16:creationId xmlns:a16="http://schemas.microsoft.com/office/drawing/2014/main" id="{C16B8289-D981-4A48-8E5A-FCAB91E58695}"/>
              </a:ext>
            </a:extLst>
          </p:cNvPr>
          <p:cNvSpPr>
            <a:spLocks noEditPoints="1"/>
          </p:cNvSpPr>
          <p:nvPr/>
        </p:nvSpPr>
        <p:spPr bwMode="auto">
          <a:xfrm>
            <a:off x="1128944" y="3509050"/>
            <a:ext cx="384879" cy="450006"/>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sz="1800" dirty="0">
              <a:solidFill>
                <a:srgbClr val="000000"/>
              </a:solidFill>
              <a:latin typeface="Segoe UI"/>
            </a:endParaRPr>
          </a:p>
        </p:txBody>
      </p:sp>
      <p:grpSp>
        <p:nvGrpSpPr>
          <p:cNvPr id="28" name="Group 27">
            <a:extLst>
              <a:ext uri="{FF2B5EF4-FFF2-40B4-BE49-F238E27FC236}">
                <a16:creationId xmlns:a16="http://schemas.microsoft.com/office/drawing/2014/main" id="{9B3A5C5D-955B-CE4F-8F6F-BFEB2BDDCD9E}"/>
              </a:ext>
            </a:extLst>
          </p:cNvPr>
          <p:cNvGrpSpPr/>
          <p:nvPr/>
        </p:nvGrpSpPr>
        <p:grpSpPr>
          <a:xfrm>
            <a:off x="5490936" y="1209927"/>
            <a:ext cx="5995929" cy="5344599"/>
            <a:chOff x="5483166" y="1209612"/>
            <a:chExt cx="5996780" cy="5345357"/>
          </a:xfrm>
        </p:grpSpPr>
        <p:sp>
          <p:nvSpPr>
            <p:cNvPr id="25" name="Rectangle 24">
              <a:extLst>
                <a:ext uri="{FF2B5EF4-FFF2-40B4-BE49-F238E27FC236}">
                  <a16:creationId xmlns:a16="http://schemas.microsoft.com/office/drawing/2014/main" id="{AD166A44-9B72-8547-AE80-9C737238F3FF}"/>
                </a:ext>
              </a:extLst>
            </p:cNvPr>
            <p:cNvSpPr/>
            <p:nvPr/>
          </p:nvSpPr>
          <p:spPr bwMode="auto">
            <a:xfrm>
              <a:off x="5780619" y="1605963"/>
              <a:ext cx="5294299" cy="359612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9B830536-C4D4-EA4A-B0A6-463CA31CC1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3166" y="1209612"/>
              <a:ext cx="5996780" cy="5345357"/>
            </a:xfrm>
            <a:prstGeom prst="rect">
              <a:avLst/>
            </a:prstGeom>
          </p:spPr>
        </p:pic>
        <p:pic>
          <p:nvPicPr>
            <p:cNvPr id="27" name="Content Placeholder 3">
              <a:extLst>
                <a:ext uri="{FF2B5EF4-FFF2-40B4-BE49-F238E27FC236}">
                  <a16:creationId xmlns:a16="http://schemas.microsoft.com/office/drawing/2014/main" id="{52A640B2-2F65-7D48-BEC0-73065D4F501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287013" y="1727954"/>
              <a:ext cx="4281511" cy="3328204"/>
            </a:xfrm>
            <a:prstGeom prst="rect">
              <a:avLst/>
            </a:prstGeom>
          </p:spPr>
        </p:pic>
      </p:grpSp>
    </p:spTree>
    <p:extLst>
      <p:ext uri="{BB962C8B-B14F-4D97-AF65-F5344CB8AC3E}">
        <p14:creationId xmlns:p14="http://schemas.microsoft.com/office/powerpoint/2010/main" val="13959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ADR with SQL Server on Linux</a:t>
            </a:r>
          </a:p>
        </p:txBody>
      </p:sp>
      <p:grpSp>
        <p:nvGrpSpPr>
          <p:cNvPr id="2" name="Group 1">
            <a:extLst>
              <a:ext uri="{FF2B5EF4-FFF2-40B4-BE49-F238E27FC236}">
                <a16:creationId xmlns:a16="http://schemas.microsoft.com/office/drawing/2014/main" id="{CF1D3BF2-7A29-4B5A-B4F8-202F5B3791D7}"/>
              </a:ext>
            </a:extLst>
          </p:cNvPr>
          <p:cNvGrpSpPr/>
          <p:nvPr/>
        </p:nvGrpSpPr>
        <p:grpSpPr>
          <a:xfrm>
            <a:off x="438793" y="1902016"/>
            <a:ext cx="3554379" cy="2708329"/>
            <a:chOff x="437990" y="2041282"/>
            <a:chExt cx="3554883" cy="2708714"/>
          </a:xfrm>
        </p:grpSpPr>
        <p:sp>
          <p:nvSpPr>
            <p:cNvPr id="16" name="Rectangle 15">
              <a:extLst>
                <a:ext uri="{FF2B5EF4-FFF2-40B4-BE49-F238E27FC236}">
                  <a16:creationId xmlns:a16="http://schemas.microsoft.com/office/drawing/2014/main" id="{0E011EF6-8D90-4B41-97B9-BEBFF76A4D2F}"/>
                </a:ext>
              </a:extLst>
            </p:cNvPr>
            <p:cNvSpPr/>
            <p:nvPr/>
          </p:nvSpPr>
          <p:spPr bwMode="auto">
            <a:xfrm>
              <a:off x="484096" y="2406226"/>
              <a:ext cx="331181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Pacemaker and Corosync</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ingle SQL Server instanc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Open-source resource agent is available on GitHub Repository</a:t>
              </a:r>
              <a:r>
                <a:rPr lang="en-US" sz="1400" b="1" kern="0" baseline="30000" dirty="0">
                  <a:solidFill>
                    <a:srgbClr val="353535"/>
                  </a:solidFill>
                  <a:latin typeface="Segoe UI Semibold" panose="020B0502040204020203" pitchFamily="34" charset="0"/>
                  <a:cs typeface="Segoe UI Semibold" panose="020B0502040204020203" pitchFamily="34" charset="0"/>
                </a:rPr>
                <a:t>1</a:t>
              </a:r>
              <a:r>
                <a:rPr lang="en-US" sz="1400" b="1" kern="0" dirty="0">
                  <a:solidFill>
                    <a:srgbClr val="353535"/>
                  </a:solidFill>
                  <a:latin typeface="Segoe UI Semibold" panose="020B0502040204020203" pitchFamily="34" charset="0"/>
                  <a:cs typeface="Segoe UI Semibold" panose="020B0502040204020203" pitchFamily="34" charset="0"/>
                </a:rPr>
                <a:t> </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hared Storag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ISCI, NFS, SMB</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8" name="Rectangle 17">
              <a:extLst>
                <a:ext uri="{FF2B5EF4-FFF2-40B4-BE49-F238E27FC236}">
                  <a16:creationId xmlns:a16="http://schemas.microsoft.com/office/drawing/2014/main" id="{74F62DCE-AEE5-B846-BA69-D0ABCCADA908}"/>
                </a:ext>
              </a:extLst>
            </p:cNvPr>
            <p:cNvSpPr/>
            <p:nvPr/>
          </p:nvSpPr>
          <p:spPr bwMode="auto">
            <a:xfrm>
              <a:off x="484095" y="2041282"/>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Failover Cluster Instance</a:t>
              </a:r>
            </a:p>
          </p:txBody>
        </p:sp>
        <p:sp>
          <p:nvSpPr>
            <p:cNvPr id="3" name="Rectangle 2">
              <a:extLst>
                <a:ext uri="{FF2B5EF4-FFF2-40B4-BE49-F238E27FC236}">
                  <a16:creationId xmlns:a16="http://schemas.microsoft.com/office/drawing/2014/main" id="{A93C35AC-0B93-D944-83DF-E1DFED7C7160}"/>
                </a:ext>
              </a:extLst>
            </p:cNvPr>
            <p:cNvSpPr/>
            <p:nvPr/>
          </p:nvSpPr>
          <p:spPr bwMode="auto">
            <a:xfrm>
              <a:off x="437990" y="2041282"/>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D2E227EC-2CCA-416C-8214-28CD7C4A39D0}"/>
              </a:ext>
            </a:extLst>
          </p:cNvPr>
          <p:cNvGrpSpPr/>
          <p:nvPr/>
        </p:nvGrpSpPr>
        <p:grpSpPr>
          <a:xfrm>
            <a:off x="4335150" y="1908435"/>
            <a:ext cx="3554379" cy="2708329"/>
            <a:chOff x="4334900" y="2047703"/>
            <a:chExt cx="3554883" cy="2708714"/>
          </a:xfrm>
        </p:grpSpPr>
        <p:sp>
          <p:nvSpPr>
            <p:cNvPr id="14" name="Rectangle 13">
              <a:extLst>
                <a:ext uri="{FF2B5EF4-FFF2-40B4-BE49-F238E27FC236}">
                  <a16:creationId xmlns:a16="http://schemas.microsoft.com/office/drawing/2014/main" id="{13131637-D771-3B44-AFD9-4B7DF8A5B86B}"/>
                </a:ext>
              </a:extLst>
            </p:cNvPr>
            <p:cNvSpPr/>
            <p:nvPr/>
          </p:nvSpPr>
          <p:spPr bwMode="auto">
            <a:xfrm>
              <a:off x="4393530" y="2406227"/>
              <a:ext cx="3063266" cy="228871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 = EXTERNAL</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Auto failov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Pacemak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175"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3 replicas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onfiguration only replica for metadata</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Full AG capabilities</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3F61591F-8CFC-BD40-83AE-C84648D2FC4F}"/>
                </a:ext>
              </a:extLst>
            </p:cNvPr>
            <p:cNvSpPr/>
            <p:nvPr/>
          </p:nvSpPr>
          <p:spPr bwMode="auto">
            <a:xfrm>
              <a:off x="4393530"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High Availability Group</a:t>
              </a:r>
            </a:p>
          </p:txBody>
        </p:sp>
        <p:sp>
          <p:nvSpPr>
            <p:cNvPr id="11" name="Rectangle 10">
              <a:extLst>
                <a:ext uri="{FF2B5EF4-FFF2-40B4-BE49-F238E27FC236}">
                  <a16:creationId xmlns:a16="http://schemas.microsoft.com/office/drawing/2014/main" id="{1CC4E7DA-EAFE-A94B-A38C-DC561A868AB1}"/>
                </a:ext>
              </a:extLst>
            </p:cNvPr>
            <p:cNvSpPr/>
            <p:nvPr/>
          </p:nvSpPr>
          <p:spPr bwMode="auto">
            <a:xfrm>
              <a:off x="433490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026CE7C-47E7-48CD-A572-0ACC03673959}"/>
              </a:ext>
            </a:extLst>
          </p:cNvPr>
          <p:cNvGrpSpPr/>
          <p:nvPr/>
        </p:nvGrpSpPr>
        <p:grpSpPr>
          <a:xfrm>
            <a:off x="8263313" y="1908435"/>
            <a:ext cx="3554379" cy="2708329"/>
            <a:chOff x="8263620" y="2047703"/>
            <a:chExt cx="3554883" cy="2708714"/>
          </a:xfrm>
        </p:grpSpPr>
        <p:sp>
          <p:nvSpPr>
            <p:cNvPr id="17" name="Rectangle 16">
              <a:extLst>
                <a:ext uri="{FF2B5EF4-FFF2-40B4-BE49-F238E27FC236}">
                  <a16:creationId xmlns:a16="http://schemas.microsoft.com/office/drawing/2014/main" id="{B6526A3B-BD69-0742-916A-8439C4522917}"/>
                </a:ext>
              </a:extLst>
            </p:cNvPr>
            <p:cNvSpPr/>
            <p:nvPr/>
          </p:nvSpPr>
          <p:spPr bwMode="auto">
            <a:xfrm>
              <a:off x="8343784" y="2406227"/>
              <a:ext cx="289795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NONE</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No clustering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Manual or forced failover</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ync or async replicas</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Read scale routing</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ross-platform</a:t>
              </a:r>
            </a:p>
          </p:txBody>
        </p:sp>
        <p:sp>
          <p:nvSpPr>
            <p:cNvPr id="20" name="Rectangle 19">
              <a:extLst>
                <a:ext uri="{FF2B5EF4-FFF2-40B4-BE49-F238E27FC236}">
                  <a16:creationId xmlns:a16="http://schemas.microsoft.com/office/drawing/2014/main" id="{607972F1-8EBD-4244-B98E-5411E3A14618}"/>
                </a:ext>
              </a:extLst>
            </p:cNvPr>
            <p:cNvSpPr/>
            <p:nvPr/>
          </p:nvSpPr>
          <p:spPr bwMode="auto">
            <a:xfrm>
              <a:off x="8343783"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Read-Scale Availability Group</a:t>
              </a:r>
            </a:p>
          </p:txBody>
        </p:sp>
        <p:sp>
          <p:nvSpPr>
            <p:cNvPr id="12" name="Rectangle 11">
              <a:extLst>
                <a:ext uri="{FF2B5EF4-FFF2-40B4-BE49-F238E27FC236}">
                  <a16:creationId xmlns:a16="http://schemas.microsoft.com/office/drawing/2014/main" id="{BD0721B8-F21C-9343-8AD1-CBB85096486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91A72EF-8759-44B1-8FAF-1B49B54F3EDF}"/>
              </a:ext>
            </a:extLst>
          </p:cNvPr>
          <p:cNvGrpSpPr/>
          <p:nvPr/>
        </p:nvGrpSpPr>
        <p:grpSpPr>
          <a:xfrm>
            <a:off x="484892" y="4838387"/>
            <a:ext cx="11378899" cy="651274"/>
            <a:chOff x="8263620" y="2047703"/>
            <a:chExt cx="3554883" cy="2708714"/>
          </a:xfrm>
        </p:grpSpPr>
        <p:sp>
          <p:nvSpPr>
            <p:cNvPr id="22" name="Rectangle 21">
              <a:extLst>
                <a:ext uri="{FF2B5EF4-FFF2-40B4-BE49-F238E27FC236}">
                  <a16:creationId xmlns:a16="http://schemas.microsoft.com/office/drawing/2014/main" id="{AAA5760E-3426-499A-AAD0-B4329AA5B623}"/>
                </a:ext>
              </a:extLst>
            </p:cNvPr>
            <p:cNvSpPr/>
            <p:nvPr/>
          </p:nvSpPr>
          <p:spPr bwMode="auto">
            <a:xfrm>
              <a:off x="8303701" y="3653089"/>
              <a:ext cx="3474720" cy="43088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algn="ct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Industry-leading solutions available from HA/DR partners</a:t>
              </a:r>
              <a:r>
                <a:rPr lang="en-US" sz="1600" b="1" kern="0" baseline="30000" dirty="0">
                  <a:solidFill>
                    <a:srgbClr val="0078D7"/>
                  </a:solidFill>
                  <a:latin typeface="Segoe UI Semibold" panose="020B0502040204020203" pitchFamily="34" charset="0"/>
                  <a:cs typeface="Segoe UI Semibold" panose="020B0502040204020203" pitchFamily="34" charset="0"/>
                </a:rPr>
                <a:t>2</a:t>
              </a:r>
              <a:r>
                <a:rPr lang="en-US" sz="1600" b="1" kern="0" dirty="0">
                  <a:solidFill>
                    <a:srgbClr val="0078D7"/>
                  </a:solidFill>
                  <a:latin typeface="Segoe UI Semibold" panose="020B0502040204020203" pitchFamily="34" charset="0"/>
                  <a:cs typeface="Segoe UI Semibold" panose="020B0502040204020203" pitchFamily="34" charset="0"/>
                </a:rPr>
                <a:t> </a:t>
              </a:r>
            </a:p>
          </p:txBody>
        </p:sp>
        <p:sp>
          <p:nvSpPr>
            <p:cNvPr id="23" name="Rectangle 22">
              <a:extLst>
                <a:ext uri="{FF2B5EF4-FFF2-40B4-BE49-F238E27FC236}">
                  <a16:creationId xmlns:a16="http://schemas.microsoft.com/office/drawing/2014/main" id="{197E7A6C-FD29-4F1A-82AC-808C0446E4C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058D8EB-6D37-48CC-ACA6-5802CE14F3A5}"/>
              </a:ext>
            </a:extLst>
          </p:cNvPr>
          <p:cNvSpPr txBox="1"/>
          <p:nvPr/>
        </p:nvSpPr>
        <p:spPr>
          <a:xfrm>
            <a:off x="270068" y="6154739"/>
            <a:ext cx="8042923" cy="600079"/>
          </a:xfrm>
          <a:prstGeom prst="rect">
            <a:avLst/>
          </a:prstGeom>
          <a:noFill/>
        </p:spPr>
        <p:txBody>
          <a:bodyPr wrap="square" lIns="182854" tIns="146284" rIns="182854" bIns="146284" rtlCol="0">
            <a:spAutoFit/>
          </a:bodyPr>
          <a:lstStyle/>
          <a:p>
            <a:pPr defTabSz="914192">
              <a:lnSpc>
                <a:spcPct val="90000"/>
              </a:lnSpc>
            </a:pPr>
            <a:r>
              <a:rPr lang="en-US" sz="1050" dirty="0">
                <a:gradFill>
                  <a:gsLst>
                    <a:gs pos="2917">
                      <a:srgbClr val="505050"/>
                    </a:gs>
                    <a:gs pos="30000">
                      <a:srgbClr val="505050"/>
                    </a:gs>
                  </a:gsLst>
                  <a:lin ang="5400000" scaled="0"/>
                </a:gradFill>
                <a:latin typeface="Segoe UI"/>
              </a:rPr>
              <a:t>1. https://github.com/Microsoft/mssql-server-ha</a:t>
            </a:r>
          </a:p>
          <a:p>
            <a:pPr defTabSz="914192">
              <a:lnSpc>
                <a:spcPct val="90000"/>
              </a:lnSpc>
            </a:pPr>
            <a:r>
              <a:rPr lang="en-US" sz="1050" dirty="0">
                <a:gradFill>
                  <a:gsLst>
                    <a:gs pos="2917">
                      <a:srgbClr val="505050"/>
                    </a:gs>
                    <a:gs pos="30000">
                      <a:srgbClr val="505050"/>
                    </a:gs>
                  </a:gsLst>
                  <a:lin ang="5400000" scaled="0"/>
                </a:gradFill>
                <a:latin typeface="Segoe UI"/>
              </a:rPr>
              <a:t>2. https://docs.microsoft.com/en-us/sql/sql-server/partner-hadr-sql-server?view=sql-server-2017</a:t>
            </a:r>
          </a:p>
        </p:txBody>
      </p:sp>
    </p:spTree>
    <p:custDataLst>
      <p:tags r:id="rId1"/>
    </p:custDataLst>
    <p:extLst>
      <p:ext uri="{BB962C8B-B14F-4D97-AF65-F5344CB8AC3E}">
        <p14:creationId xmlns:p14="http://schemas.microsoft.com/office/powerpoint/2010/main" val="39685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A487CBE-C755-A248-8B16-09E36E5A07A5}"/>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343623" y="200637"/>
            <a:ext cx="4608577" cy="984885"/>
          </a:xfrm>
        </p:spPr>
        <p:txBody>
          <a:bodyPr/>
          <a:lstStyle/>
          <a:p>
            <a:r>
              <a:rPr lang="en-US" sz="3200" dirty="0"/>
              <a:t>SQL Server 2019 and Linux</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84201" y="1831737"/>
            <a:ext cx="3606800" cy="4190891"/>
          </a:xfrm>
        </p:spPr>
        <p:txBody>
          <a:bodyPr/>
          <a:lstStyle/>
          <a:p>
            <a:pPr marL="0" indent="0">
              <a:spcBef>
                <a:spcPts val="1000"/>
              </a:spcBef>
              <a:buNone/>
            </a:pPr>
            <a:r>
              <a:rPr lang="en-US" sz="2000" dirty="0"/>
              <a:t>Closing features gaps for SQL Server on Linux on SQL 2019</a:t>
            </a:r>
          </a:p>
          <a:p>
            <a:pPr lvl="1">
              <a:spcBef>
                <a:spcPts val="1000"/>
              </a:spcBef>
            </a:pPr>
            <a:r>
              <a:rPr lang="en-US" sz="1800" dirty="0"/>
              <a:t>Replication </a:t>
            </a:r>
          </a:p>
          <a:p>
            <a:pPr lvl="1">
              <a:spcBef>
                <a:spcPts val="1000"/>
              </a:spcBef>
            </a:pPr>
            <a:r>
              <a:rPr lang="en-US" sz="1800" dirty="0"/>
              <a:t>Distributed transactions </a:t>
            </a:r>
          </a:p>
          <a:p>
            <a:pPr lvl="1">
              <a:spcBef>
                <a:spcPts val="1000"/>
              </a:spcBef>
            </a:pPr>
            <a:r>
              <a:rPr lang="en-US" sz="1800" dirty="0"/>
              <a:t>Machine Learning </a:t>
            </a:r>
          </a:p>
          <a:p>
            <a:pPr marL="0" indent="0">
              <a:spcBef>
                <a:spcPts val="1000"/>
              </a:spcBef>
              <a:buNone/>
            </a:pPr>
            <a:r>
              <a:rPr lang="en-US" sz="2000" dirty="0"/>
              <a:t>Open LDAP Provider support</a:t>
            </a:r>
          </a:p>
          <a:p>
            <a:pPr marL="0" indent="0">
              <a:spcBef>
                <a:spcPts val="1000"/>
              </a:spcBef>
              <a:buNone/>
            </a:pPr>
            <a:r>
              <a:rPr lang="en-US" sz="2000" dirty="0"/>
              <a:t>The Microsoft Container Registry</a:t>
            </a:r>
          </a:p>
          <a:p>
            <a:pPr marL="0" indent="0">
              <a:spcBef>
                <a:spcPts val="1000"/>
              </a:spcBef>
              <a:buNone/>
            </a:pPr>
            <a:r>
              <a:rPr lang="en-US" sz="2000" dirty="0"/>
              <a:t>SQL Server RedHat Container Images</a:t>
            </a:r>
          </a:p>
          <a:p>
            <a:pPr marL="0" indent="0">
              <a:spcBef>
                <a:spcPts val="1000"/>
              </a:spcBef>
              <a:buNone/>
            </a:pPr>
            <a:r>
              <a:rPr lang="en-US" sz="2000" dirty="0"/>
              <a:t>Always On Availability Groups on Kubernetes</a:t>
            </a:r>
          </a:p>
        </p:txBody>
      </p:sp>
      <p:sp>
        <p:nvSpPr>
          <p:cNvPr id="64" name="Rectangle 63">
            <a:extLst>
              <a:ext uri="{FF2B5EF4-FFF2-40B4-BE49-F238E27FC236}">
                <a16:creationId xmlns:a16="http://schemas.microsoft.com/office/drawing/2014/main" id="{C58E743F-E45B-426B-BA84-01943BEE07EB}"/>
              </a:ext>
            </a:extLst>
          </p:cNvPr>
          <p:cNvSpPr/>
          <p:nvPr/>
        </p:nvSpPr>
        <p:spPr bwMode="auto">
          <a:xfrm>
            <a:off x="8768669" y="1223188"/>
            <a:ext cx="2589903" cy="4598832"/>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5" name="Rectangle 64">
            <a:extLst>
              <a:ext uri="{FF2B5EF4-FFF2-40B4-BE49-F238E27FC236}">
                <a16:creationId xmlns:a16="http://schemas.microsoft.com/office/drawing/2014/main" id="{48BEA6D1-3BC7-4813-8190-B6C07BBD0738}"/>
              </a:ext>
            </a:extLst>
          </p:cNvPr>
          <p:cNvSpPr/>
          <p:nvPr/>
        </p:nvSpPr>
        <p:spPr bwMode="auto">
          <a:xfrm>
            <a:off x="5802538" y="1223188"/>
            <a:ext cx="2589903"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6" name="Freeform 130">
            <a:extLst>
              <a:ext uri="{FF2B5EF4-FFF2-40B4-BE49-F238E27FC236}">
                <a16:creationId xmlns:a16="http://schemas.microsoft.com/office/drawing/2014/main" id="{E9D4207B-1BF2-4310-9D89-B3412F3D2F03}"/>
              </a:ext>
            </a:extLst>
          </p:cNvPr>
          <p:cNvSpPr>
            <a:spLocks noChangeAspect="1" noEditPoints="1"/>
          </p:cNvSpPr>
          <p:nvPr/>
        </p:nvSpPr>
        <p:spPr bwMode="black">
          <a:xfrm>
            <a:off x="6387496" y="157515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ndParaRPr>
          </a:p>
        </p:txBody>
      </p:sp>
      <p:sp>
        <p:nvSpPr>
          <p:cNvPr id="67" name="Rectangle 66">
            <a:extLst>
              <a:ext uri="{FF2B5EF4-FFF2-40B4-BE49-F238E27FC236}">
                <a16:creationId xmlns:a16="http://schemas.microsoft.com/office/drawing/2014/main" id="{AA919EA7-526D-40D1-B5A4-5604913EDB3A}"/>
              </a:ext>
            </a:extLst>
          </p:cNvPr>
          <p:cNvSpPr/>
          <p:nvPr/>
        </p:nvSpPr>
        <p:spPr bwMode="auto">
          <a:xfrm>
            <a:off x="5796943" y="3758734"/>
            <a:ext cx="2595498"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grpSp>
        <p:nvGrpSpPr>
          <p:cNvPr id="68" name="Group 67">
            <a:extLst>
              <a:ext uri="{FF2B5EF4-FFF2-40B4-BE49-F238E27FC236}">
                <a16:creationId xmlns:a16="http://schemas.microsoft.com/office/drawing/2014/main" id="{C97362A5-A286-477B-B851-777E9EC5D550}"/>
              </a:ext>
            </a:extLst>
          </p:cNvPr>
          <p:cNvGrpSpPr/>
          <p:nvPr/>
        </p:nvGrpSpPr>
        <p:grpSpPr>
          <a:xfrm>
            <a:off x="6561336" y="4062256"/>
            <a:ext cx="1259004" cy="796662"/>
            <a:chOff x="8505290" y="2547131"/>
            <a:chExt cx="2822872" cy="1786236"/>
          </a:xfrm>
          <a:solidFill>
            <a:srgbClr val="0078D7"/>
          </a:solidFill>
        </p:grpSpPr>
        <p:sp>
          <p:nvSpPr>
            <p:cNvPr id="69" name="Freeform: Shape 68">
              <a:extLst>
                <a:ext uri="{FF2B5EF4-FFF2-40B4-BE49-F238E27FC236}">
                  <a16:creationId xmlns:a16="http://schemas.microsoft.com/office/drawing/2014/main" id="{F7760629-A19C-453B-BE04-7CA5E83C2C95}"/>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ACC2ABA4-F5EE-4817-A29F-66F83B3C8328}"/>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7B501C5-D9DF-4EFE-805A-18B8C7311620}"/>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85682CDB-25D2-4E3D-81B2-942719D64106}"/>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94694B0-B055-46A4-89E7-45770B752C02}"/>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59C94D48-EBE4-440D-800F-A0AD25ABF358}"/>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77563848-471E-49F4-A4A9-A9EB8C01AA60}"/>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670A36E8-773C-4E45-BF70-FEA9C284B69C}"/>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8F11C51A-E5D4-4EB6-B4DA-BD08813257B4}"/>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B34F4FDA-4A5F-4DA3-BC50-AD3E4FBE97FB}"/>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Shape 78">
              <a:extLst>
                <a:ext uri="{FF2B5EF4-FFF2-40B4-BE49-F238E27FC236}">
                  <a16:creationId xmlns:a16="http://schemas.microsoft.com/office/drawing/2014/main" id="{5830D6A0-BB28-4138-85ED-85FC36E9030A}"/>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D14DAD96-9136-4B3A-9342-0D4AE8430674}"/>
              </a:ext>
            </a:extLst>
          </p:cNvPr>
          <p:cNvGrpSpPr/>
          <p:nvPr/>
        </p:nvGrpSpPr>
        <p:grpSpPr>
          <a:xfrm>
            <a:off x="9379211" y="3988216"/>
            <a:ext cx="1536701" cy="715962"/>
            <a:chOff x="4986337" y="5373688"/>
            <a:chExt cx="1536701" cy="715962"/>
          </a:xfrm>
          <a:solidFill>
            <a:srgbClr val="0078D7"/>
          </a:solidFill>
        </p:grpSpPr>
        <p:grpSp>
          <p:nvGrpSpPr>
            <p:cNvPr id="81" name="Group 80">
              <a:extLst>
                <a:ext uri="{FF2B5EF4-FFF2-40B4-BE49-F238E27FC236}">
                  <a16:creationId xmlns:a16="http://schemas.microsoft.com/office/drawing/2014/main" id="{68BE08B6-A62F-475C-8C10-6E51798F7FEF}"/>
                </a:ext>
              </a:extLst>
            </p:cNvPr>
            <p:cNvGrpSpPr/>
            <p:nvPr/>
          </p:nvGrpSpPr>
          <p:grpSpPr>
            <a:xfrm>
              <a:off x="5251450" y="5762625"/>
              <a:ext cx="1271588" cy="327025"/>
              <a:chOff x="5251450" y="5762625"/>
              <a:chExt cx="1271588" cy="327025"/>
            </a:xfrm>
            <a:grpFill/>
          </p:grpSpPr>
          <p:sp>
            <p:nvSpPr>
              <p:cNvPr id="85" name="Freeform 28">
                <a:extLst>
                  <a:ext uri="{FF2B5EF4-FFF2-40B4-BE49-F238E27FC236}">
                    <a16:creationId xmlns:a16="http://schemas.microsoft.com/office/drawing/2014/main" id="{28DEF712-A814-4F0B-BEF6-EE18CB95B1D5}"/>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6" name="Freeform 29">
                <a:extLst>
                  <a:ext uri="{FF2B5EF4-FFF2-40B4-BE49-F238E27FC236}">
                    <a16:creationId xmlns:a16="http://schemas.microsoft.com/office/drawing/2014/main" id="{9EE86AEE-249E-4A53-9DAB-F8CF27611B69}"/>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7" name="Freeform 30">
                <a:extLst>
                  <a:ext uri="{FF2B5EF4-FFF2-40B4-BE49-F238E27FC236}">
                    <a16:creationId xmlns:a16="http://schemas.microsoft.com/office/drawing/2014/main" id="{8BDF952D-FABD-4013-8171-DAAB2341A69C}"/>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8" name="Freeform 31">
                <a:extLst>
                  <a:ext uri="{FF2B5EF4-FFF2-40B4-BE49-F238E27FC236}">
                    <a16:creationId xmlns:a16="http://schemas.microsoft.com/office/drawing/2014/main" id="{7BA87A9B-6444-41F5-9563-0CFA82045D48}"/>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9" name="Freeform 32">
                <a:extLst>
                  <a:ext uri="{FF2B5EF4-FFF2-40B4-BE49-F238E27FC236}">
                    <a16:creationId xmlns:a16="http://schemas.microsoft.com/office/drawing/2014/main" id="{07D4E142-A350-4E18-8397-BB0EF278CACF}"/>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0" name="Freeform 33">
                <a:extLst>
                  <a:ext uri="{FF2B5EF4-FFF2-40B4-BE49-F238E27FC236}">
                    <a16:creationId xmlns:a16="http://schemas.microsoft.com/office/drawing/2014/main" id="{5B72474B-F9DE-400F-8AF8-24AE533573B4}"/>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82" name="Group 81">
              <a:extLst>
                <a:ext uri="{FF2B5EF4-FFF2-40B4-BE49-F238E27FC236}">
                  <a16:creationId xmlns:a16="http://schemas.microsoft.com/office/drawing/2014/main" id="{88F48954-D645-4C3C-AA31-4645A756F28A}"/>
                </a:ext>
              </a:extLst>
            </p:cNvPr>
            <p:cNvGrpSpPr/>
            <p:nvPr/>
          </p:nvGrpSpPr>
          <p:grpSpPr>
            <a:xfrm>
              <a:off x="4986337" y="5373688"/>
              <a:ext cx="881063" cy="452438"/>
              <a:chOff x="4986337" y="5373688"/>
              <a:chExt cx="881063" cy="452438"/>
            </a:xfrm>
            <a:grpFill/>
          </p:grpSpPr>
          <p:sp>
            <p:nvSpPr>
              <p:cNvPr id="83" name="Freeform 34">
                <a:extLst>
                  <a:ext uri="{FF2B5EF4-FFF2-40B4-BE49-F238E27FC236}">
                    <a16:creationId xmlns:a16="http://schemas.microsoft.com/office/drawing/2014/main" id="{88213E16-8AA6-4F3B-902C-79E07F6EAC06}"/>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4" name="Freeform 35">
                <a:extLst>
                  <a:ext uri="{FF2B5EF4-FFF2-40B4-BE49-F238E27FC236}">
                    <a16:creationId xmlns:a16="http://schemas.microsoft.com/office/drawing/2014/main" id="{B33B9973-5A73-4F73-AEEB-013CE7407834}"/>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91" name="Group 90">
            <a:extLst>
              <a:ext uri="{FF2B5EF4-FFF2-40B4-BE49-F238E27FC236}">
                <a16:creationId xmlns:a16="http://schemas.microsoft.com/office/drawing/2014/main" id="{338F0123-F6D2-4BFE-B395-E2368EEA11C8}"/>
              </a:ext>
            </a:extLst>
          </p:cNvPr>
          <p:cNvGrpSpPr/>
          <p:nvPr/>
        </p:nvGrpSpPr>
        <p:grpSpPr>
          <a:xfrm>
            <a:off x="9222049" y="5057211"/>
            <a:ext cx="1851025" cy="417512"/>
            <a:chOff x="2643188" y="6081713"/>
            <a:chExt cx="1851025" cy="417512"/>
          </a:xfrm>
          <a:solidFill>
            <a:srgbClr val="0078D7"/>
          </a:solidFill>
        </p:grpSpPr>
        <p:sp>
          <p:nvSpPr>
            <p:cNvPr id="92" name="Oval 39">
              <a:extLst>
                <a:ext uri="{FF2B5EF4-FFF2-40B4-BE49-F238E27FC236}">
                  <a16:creationId xmlns:a16="http://schemas.microsoft.com/office/drawing/2014/main" id="{B9DA524C-F4D6-4C02-89A4-AF96041B5E41}"/>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3" name="Freeform 40">
              <a:extLst>
                <a:ext uri="{FF2B5EF4-FFF2-40B4-BE49-F238E27FC236}">
                  <a16:creationId xmlns:a16="http://schemas.microsoft.com/office/drawing/2014/main" id="{170C9B23-694E-4474-9647-2C5054421CD0}"/>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4" name="Freeform 41">
              <a:extLst>
                <a:ext uri="{FF2B5EF4-FFF2-40B4-BE49-F238E27FC236}">
                  <a16:creationId xmlns:a16="http://schemas.microsoft.com/office/drawing/2014/main" id="{0C517FB8-B7E6-488D-BC7A-5E9C783031F5}"/>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5" name="Freeform 42">
              <a:extLst>
                <a:ext uri="{FF2B5EF4-FFF2-40B4-BE49-F238E27FC236}">
                  <a16:creationId xmlns:a16="http://schemas.microsoft.com/office/drawing/2014/main" id="{40221202-362E-40DB-8919-15778A391A30}"/>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6" name="Freeform 43">
              <a:extLst>
                <a:ext uri="{FF2B5EF4-FFF2-40B4-BE49-F238E27FC236}">
                  <a16:creationId xmlns:a16="http://schemas.microsoft.com/office/drawing/2014/main" id="{1972CBA0-A7B0-4705-999E-2DB8CD063991}"/>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7" name="Freeform 44">
              <a:extLst>
                <a:ext uri="{FF2B5EF4-FFF2-40B4-BE49-F238E27FC236}">
                  <a16:creationId xmlns:a16="http://schemas.microsoft.com/office/drawing/2014/main" id="{7CCEE747-4E87-4677-A792-A62A40FEB5DE}"/>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8" name="Freeform 45">
              <a:extLst>
                <a:ext uri="{FF2B5EF4-FFF2-40B4-BE49-F238E27FC236}">
                  <a16:creationId xmlns:a16="http://schemas.microsoft.com/office/drawing/2014/main" id="{D171B625-B91A-4CF5-A66A-13B88C610E8B}"/>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9" name="Freeform 46">
              <a:extLst>
                <a:ext uri="{FF2B5EF4-FFF2-40B4-BE49-F238E27FC236}">
                  <a16:creationId xmlns:a16="http://schemas.microsoft.com/office/drawing/2014/main" id="{D6507FC7-91D3-4CA2-8B1C-55578622646E}"/>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0" name="Group 99">
            <a:extLst>
              <a:ext uri="{FF2B5EF4-FFF2-40B4-BE49-F238E27FC236}">
                <a16:creationId xmlns:a16="http://schemas.microsoft.com/office/drawing/2014/main" id="{546199D7-5723-4368-8D21-935A217F7FA2}"/>
              </a:ext>
            </a:extLst>
          </p:cNvPr>
          <p:cNvGrpSpPr/>
          <p:nvPr/>
        </p:nvGrpSpPr>
        <p:grpSpPr>
          <a:xfrm>
            <a:off x="9203135" y="3027743"/>
            <a:ext cx="1888852" cy="549854"/>
            <a:chOff x="2880656" y="5494318"/>
            <a:chExt cx="1888852" cy="549854"/>
          </a:xfrm>
          <a:solidFill>
            <a:srgbClr val="0078D7"/>
          </a:solidFill>
        </p:grpSpPr>
        <p:grpSp>
          <p:nvGrpSpPr>
            <p:cNvPr id="101" name="Group 100">
              <a:extLst>
                <a:ext uri="{FF2B5EF4-FFF2-40B4-BE49-F238E27FC236}">
                  <a16:creationId xmlns:a16="http://schemas.microsoft.com/office/drawing/2014/main" id="{028C4A60-B6A3-48D6-B73D-9AADB18843A5}"/>
                </a:ext>
              </a:extLst>
            </p:cNvPr>
            <p:cNvGrpSpPr/>
            <p:nvPr/>
          </p:nvGrpSpPr>
          <p:grpSpPr>
            <a:xfrm>
              <a:off x="2880656" y="5494318"/>
              <a:ext cx="621131" cy="549854"/>
              <a:chOff x="2664209" y="5494318"/>
              <a:chExt cx="621131" cy="549854"/>
            </a:xfrm>
            <a:grpFill/>
          </p:grpSpPr>
          <p:sp>
            <p:nvSpPr>
              <p:cNvPr id="111" name="Freeform 50">
                <a:extLst>
                  <a:ext uri="{FF2B5EF4-FFF2-40B4-BE49-F238E27FC236}">
                    <a16:creationId xmlns:a16="http://schemas.microsoft.com/office/drawing/2014/main" id="{8B19FF5A-78B5-4D70-BF61-61938AF385FE}"/>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51">
                <a:extLst>
                  <a:ext uri="{FF2B5EF4-FFF2-40B4-BE49-F238E27FC236}">
                    <a16:creationId xmlns:a16="http://schemas.microsoft.com/office/drawing/2014/main" id="{4F5B229E-378F-4C72-8115-03EFFF4FC8E2}"/>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52">
                <a:extLst>
                  <a:ext uri="{FF2B5EF4-FFF2-40B4-BE49-F238E27FC236}">
                    <a16:creationId xmlns:a16="http://schemas.microsoft.com/office/drawing/2014/main" id="{4268DA26-E730-42D8-9E8D-E25180932994}"/>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53">
                <a:extLst>
                  <a:ext uri="{FF2B5EF4-FFF2-40B4-BE49-F238E27FC236}">
                    <a16:creationId xmlns:a16="http://schemas.microsoft.com/office/drawing/2014/main" id="{9D05CD25-AD77-432A-B8E8-A3D65AA14B58}"/>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5" name="Freeform 54">
                <a:extLst>
                  <a:ext uri="{FF2B5EF4-FFF2-40B4-BE49-F238E27FC236}">
                    <a16:creationId xmlns:a16="http://schemas.microsoft.com/office/drawing/2014/main" id="{41471176-92CB-4A2B-9792-718EFBEF0BBE}"/>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6" name="Freeform 55">
                <a:extLst>
                  <a:ext uri="{FF2B5EF4-FFF2-40B4-BE49-F238E27FC236}">
                    <a16:creationId xmlns:a16="http://schemas.microsoft.com/office/drawing/2014/main" id="{FD9C2024-2111-4571-8309-9E50091D412C}"/>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2" name="Group 101">
              <a:extLst>
                <a:ext uri="{FF2B5EF4-FFF2-40B4-BE49-F238E27FC236}">
                  <a16:creationId xmlns:a16="http://schemas.microsoft.com/office/drawing/2014/main" id="{CB406AF9-CBD3-45FD-BFF0-AD52B625439E}"/>
                </a:ext>
              </a:extLst>
            </p:cNvPr>
            <p:cNvGrpSpPr/>
            <p:nvPr/>
          </p:nvGrpSpPr>
          <p:grpSpPr>
            <a:xfrm>
              <a:off x="3639252" y="5657238"/>
              <a:ext cx="1130256" cy="313112"/>
              <a:chOff x="3422805" y="5657238"/>
              <a:chExt cx="1130256" cy="313112"/>
            </a:xfrm>
            <a:grpFill/>
          </p:grpSpPr>
          <p:sp>
            <p:nvSpPr>
              <p:cNvPr id="103" name="Freeform 56">
                <a:extLst>
                  <a:ext uri="{FF2B5EF4-FFF2-40B4-BE49-F238E27FC236}">
                    <a16:creationId xmlns:a16="http://schemas.microsoft.com/office/drawing/2014/main" id="{7C537FAE-B635-4DD0-A8C5-8E5278077B0D}"/>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4" name="Freeform 57">
                <a:extLst>
                  <a:ext uri="{FF2B5EF4-FFF2-40B4-BE49-F238E27FC236}">
                    <a16:creationId xmlns:a16="http://schemas.microsoft.com/office/drawing/2014/main" id="{49DDB2C7-2A56-459A-A755-6E2B6E0C1383}"/>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5" name="Freeform 58">
                <a:extLst>
                  <a:ext uri="{FF2B5EF4-FFF2-40B4-BE49-F238E27FC236}">
                    <a16:creationId xmlns:a16="http://schemas.microsoft.com/office/drawing/2014/main" id="{9E9F390B-56A4-4CBB-AC77-87C6A391D8C4}"/>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6" name="Freeform 59">
                <a:extLst>
                  <a:ext uri="{FF2B5EF4-FFF2-40B4-BE49-F238E27FC236}">
                    <a16:creationId xmlns:a16="http://schemas.microsoft.com/office/drawing/2014/main" id="{0DEFBFAA-6796-4FA2-9A5F-6208DE657764}"/>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7" name="Freeform 60">
                <a:extLst>
                  <a:ext uri="{FF2B5EF4-FFF2-40B4-BE49-F238E27FC236}">
                    <a16:creationId xmlns:a16="http://schemas.microsoft.com/office/drawing/2014/main" id="{57232A7A-3398-4309-85F6-BFA1557C6D11}"/>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61">
                <a:extLst>
                  <a:ext uri="{FF2B5EF4-FFF2-40B4-BE49-F238E27FC236}">
                    <a16:creationId xmlns:a16="http://schemas.microsoft.com/office/drawing/2014/main" id="{E0CBF561-BC32-4598-9A70-14C1617EF20F}"/>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9" name="Freeform 62">
                <a:extLst>
                  <a:ext uri="{FF2B5EF4-FFF2-40B4-BE49-F238E27FC236}">
                    <a16:creationId xmlns:a16="http://schemas.microsoft.com/office/drawing/2014/main" id="{2F34B6EC-02E9-4DA6-8935-0B611C558A9B}"/>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63">
                <a:extLst>
                  <a:ext uri="{FF2B5EF4-FFF2-40B4-BE49-F238E27FC236}">
                    <a16:creationId xmlns:a16="http://schemas.microsoft.com/office/drawing/2014/main" id="{E6158B81-46D1-4DB2-A57F-CF175FA4DA6C}"/>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17" name="Rectangle 116">
            <a:extLst>
              <a:ext uri="{FF2B5EF4-FFF2-40B4-BE49-F238E27FC236}">
                <a16:creationId xmlns:a16="http://schemas.microsoft.com/office/drawing/2014/main" id="{54E7FC1F-07BF-47F6-9AC9-FC08C9C13E14}"/>
              </a:ext>
            </a:extLst>
          </p:cNvPr>
          <p:cNvSpPr/>
          <p:nvPr/>
        </p:nvSpPr>
        <p:spPr bwMode="auto">
          <a:xfrm>
            <a:off x="8720567"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18" name="Rectangle 117">
            <a:extLst>
              <a:ext uri="{FF2B5EF4-FFF2-40B4-BE49-F238E27FC236}">
                <a16:creationId xmlns:a16="http://schemas.microsoft.com/office/drawing/2014/main" id="{203C8B16-AA13-4621-9D80-C5882CD6DDD7}"/>
              </a:ext>
            </a:extLst>
          </p:cNvPr>
          <p:cNvSpPr/>
          <p:nvPr/>
        </p:nvSpPr>
        <p:spPr bwMode="auto">
          <a:xfrm>
            <a:off x="5744307" y="3376382"/>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Docker containers and Kubernetes </a:t>
            </a:r>
          </a:p>
        </p:txBody>
      </p:sp>
      <p:sp>
        <p:nvSpPr>
          <p:cNvPr id="119" name="Rectangle 118">
            <a:extLst>
              <a:ext uri="{FF2B5EF4-FFF2-40B4-BE49-F238E27FC236}">
                <a16:creationId xmlns:a16="http://schemas.microsoft.com/office/drawing/2014/main" id="{4EE6BCB6-81BD-4C2C-8B20-007B7E00D5BD}"/>
              </a:ext>
            </a:extLst>
          </p:cNvPr>
          <p:cNvSpPr/>
          <p:nvPr/>
        </p:nvSpPr>
        <p:spPr bwMode="auto">
          <a:xfrm>
            <a:off x="5796943"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20" name="Group 4">
            <a:extLst>
              <a:ext uri="{FF2B5EF4-FFF2-40B4-BE49-F238E27FC236}">
                <a16:creationId xmlns:a16="http://schemas.microsoft.com/office/drawing/2014/main" id="{805DCF00-B643-47E5-BCA5-D2B77F6C32A4}"/>
              </a:ext>
            </a:extLst>
          </p:cNvPr>
          <p:cNvGrpSpPr>
            <a:grpSpLocks noChangeAspect="1"/>
          </p:cNvGrpSpPr>
          <p:nvPr/>
        </p:nvGrpSpPr>
        <p:grpSpPr bwMode="auto">
          <a:xfrm>
            <a:off x="9778796" y="1660091"/>
            <a:ext cx="737530" cy="862328"/>
            <a:chOff x="6796" y="954"/>
            <a:chExt cx="721" cy="843"/>
          </a:xfrm>
          <a:solidFill>
            <a:srgbClr val="0078D7"/>
          </a:solidFill>
        </p:grpSpPr>
        <p:sp>
          <p:nvSpPr>
            <p:cNvPr id="121" name="Freeform 5">
              <a:extLst>
                <a:ext uri="{FF2B5EF4-FFF2-40B4-BE49-F238E27FC236}">
                  <a16:creationId xmlns:a16="http://schemas.microsoft.com/office/drawing/2014/main" id="{42A95C2D-22C6-4F89-BFE2-55CDD441AA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2" name="Freeform 6">
              <a:extLst>
                <a:ext uri="{FF2B5EF4-FFF2-40B4-BE49-F238E27FC236}">
                  <a16:creationId xmlns:a16="http://schemas.microsoft.com/office/drawing/2014/main" id="{63D1421E-6118-41A9-99A8-A0B40CC2681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3" name="Freeform 7">
              <a:extLst>
                <a:ext uri="{FF2B5EF4-FFF2-40B4-BE49-F238E27FC236}">
                  <a16:creationId xmlns:a16="http://schemas.microsoft.com/office/drawing/2014/main" id="{A4B62DEA-16D9-451B-A7CE-FF7552C9E4E5}"/>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0" name="Group 9">
            <a:extLst>
              <a:ext uri="{FF2B5EF4-FFF2-40B4-BE49-F238E27FC236}">
                <a16:creationId xmlns:a16="http://schemas.microsoft.com/office/drawing/2014/main" id="{ED1FEE64-E91C-4646-B994-3D9449BE6648}"/>
              </a:ext>
            </a:extLst>
          </p:cNvPr>
          <p:cNvGrpSpPr/>
          <p:nvPr/>
        </p:nvGrpSpPr>
        <p:grpSpPr>
          <a:xfrm>
            <a:off x="5982284" y="5106259"/>
            <a:ext cx="2209216" cy="370216"/>
            <a:chOff x="1814286" y="7761330"/>
            <a:chExt cx="9662611" cy="1619249"/>
          </a:xfrm>
          <a:solidFill>
            <a:schemeClr val="accent1"/>
          </a:solidFill>
        </p:grpSpPr>
        <p:sp>
          <p:nvSpPr>
            <p:cNvPr id="125" name="Freeform: Shape 124">
              <a:extLst>
                <a:ext uri="{FF2B5EF4-FFF2-40B4-BE49-F238E27FC236}">
                  <a16:creationId xmlns:a16="http://schemas.microsoft.com/office/drawing/2014/main" id="{BBC7CF94-094E-4260-9C76-DE107DB3013A}"/>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EA9C1287-0E69-4D1E-8D27-EA8A30620C4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p>
          </p:txBody>
        </p:sp>
      </p:grpSp>
      <p:sp>
        <p:nvSpPr>
          <p:cNvPr id="4" name="Rectangle 3">
            <a:extLst>
              <a:ext uri="{FF2B5EF4-FFF2-40B4-BE49-F238E27FC236}">
                <a16:creationId xmlns:a16="http://schemas.microsoft.com/office/drawing/2014/main" id="{4613E2BA-4F72-4B3F-81AE-0756A4510822}"/>
              </a:ext>
            </a:extLst>
          </p:cNvPr>
          <p:cNvSpPr/>
          <p:nvPr/>
        </p:nvSpPr>
        <p:spPr bwMode="auto">
          <a:xfrm>
            <a:off x="3938975" y="2404336"/>
            <a:ext cx="1571084" cy="984885"/>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Vin and Bob use </a:t>
            </a:r>
            <a:r>
              <a:rPr lang="en-US" sz="1600" dirty="0">
                <a:gradFill>
                  <a:gsLst>
                    <a:gs pos="40075">
                      <a:srgbClr val="FFFFFF"/>
                    </a:gs>
                    <a:gs pos="30000">
                      <a:srgbClr val="FFFFFF"/>
                    </a:gs>
                  </a:gsLst>
                  <a:lin ang="5400000" scaled="0"/>
                </a:gradFill>
                <a:hlinkClick r:id="rId3"/>
              </a:rPr>
              <a:t>containers</a:t>
            </a:r>
            <a:endParaRPr lang="en-US" sz="1600" dirty="0">
              <a:gradFill>
                <a:gsLst>
                  <a:gs pos="40075">
                    <a:srgbClr val="FFFFFF"/>
                  </a:gs>
                  <a:gs pos="30000">
                    <a:srgbClr val="FFFFFF"/>
                  </a:gs>
                </a:gsLst>
                <a:lin ang="5400000" scaled="0"/>
              </a:gradFill>
            </a:endParaRPr>
          </a:p>
        </p:txBody>
      </p:sp>
      <p:cxnSp>
        <p:nvCxnSpPr>
          <p:cNvPr id="6" name="Straight Arrow Connector 5">
            <a:extLst>
              <a:ext uri="{FF2B5EF4-FFF2-40B4-BE49-F238E27FC236}">
                <a16:creationId xmlns:a16="http://schemas.microsoft.com/office/drawing/2014/main" id="{EC173312-FA6C-4DF1-AE2E-7F6FEA0E0E1E}"/>
              </a:ext>
            </a:extLst>
          </p:cNvPr>
          <p:cNvCxnSpPr>
            <a:cxnSpLocks/>
            <a:endCxn id="4" idx="1"/>
          </p:cNvCxnSpPr>
          <p:nvPr/>
        </p:nvCxnSpPr>
        <p:spPr>
          <a:xfrm>
            <a:off x="2594292" y="2647784"/>
            <a:ext cx="1344683" cy="2489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8D3FC682-B195-4BA2-8E74-B5396AE20857}"/>
              </a:ext>
            </a:extLst>
          </p:cNvPr>
          <p:cNvCxnSpPr>
            <a:cxnSpLocks/>
            <a:endCxn id="4" idx="1"/>
          </p:cNvCxnSpPr>
          <p:nvPr/>
        </p:nvCxnSpPr>
        <p:spPr>
          <a:xfrm flipV="1">
            <a:off x="3553130" y="2896779"/>
            <a:ext cx="385845" cy="20988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6069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6 Activity: SQL Server Linux</a:t>
            </a:r>
          </a:p>
        </p:txBody>
      </p:sp>
      <p:sp>
        <p:nvSpPr>
          <p:cNvPr id="4" name="Text Placeholder 3"/>
          <p:cNvSpPr>
            <a:spLocks noGrp="1"/>
          </p:cNvSpPr>
          <p:nvPr>
            <p:ph type="body" sz="quarter" idx="12"/>
          </p:nvPr>
        </p:nvSpPr>
        <p:spPr>
          <a:xfrm>
            <a:off x="585216" y="3977319"/>
            <a:ext cx="6400800" cy="307777"/>
          </a:xfrm>
        </p:spPr>
        <p:txBody>
          <a:bodyPr/>
          <a:lstStyle/>
          <a:p>
            <a:r>
              <a:rPr lang="en-US" dirty="0"/>
              <a:t>Deploy and Explore SQL Server on Linux</a:t>
            </a:r>
          </a:p>
        </p:txBody>
      </p:sp>
    </p:spTree>
    <p:extLst>
      <p:ext uri="{BB962C8B-B14F-4D97-AF65-F5344CB8AC3E}">
        <p14:creationId xmlns:p14="http://schemas.microsoft.com/office/powerpoint/2010/main" val="18468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038612"/>
            <a:ext cx="6400800" cy="1495794"/>
          </a:xfrm>
        </p:spPr>
        <p:txBody>
          <a:bodyPr/>
          <a:lstStyle/>
          <a:p>
            <a:r>
              <a:rPr lang="en-US" dirty="0"/>
              <a:t>Module 7: SQL Server Containers and Kubernetes (k8s)</a:t>
            </a:r>
          </a:p>
        </p:txBody>
      </p:sp>
    </p:spTree>
    <p:extLst>
      <p:ext uri="{BB962C8B-B14F-4D97-AF65-F5344CB8AC3E}">
        <p14:creationId xmlns:p14="http://schemas.microsoft.com/office/powerpoint/2010/main" val="11950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E171-AD94-4FF5-B0ED-99921A4D69DF}"/>
              </a:ext>
            </a:extLst>
          </p:cNvPr>
          <p:cNvSpPr>
            <a:spLocks noGrp="1"/>
          </p:cNvSpPr>
          <p:nvPr>
            <p:ph type="title"/>
          </p:nvPr>
        </p:nvSpPr>
        <p:spPr>
          <a:xfrm>
            <a:off x="466811" y="197562"/>
            <a:ext cx="11018520" cy="553998"/>
          </a:xfrm>
        </p:spPr>
        <p:txBody>
          <a:bodyPr/>
          <a:lstStyle/>
          <a:p>
            <a:r>
              <a:rPr lang="en-US" dirty="0"/>
              <a:t>Azure Data Modernization Choices</a:t>
            </a:r>
          </a:p>
        </p:txBody>
      </p:sp>
      <p:grpSp>
        <p:nvGrpSpPr>
          <p:cNvPr id="6" name="Group 5">
            <a:extLst>
              <a:ext uri="{FF2B5EF4-FFF2-40B4-BE49-F238E27FC236}">
                <a16:creationId xmlns:a16="http://schemas.microsoft.com/office/drawing/2014/main" id="{A178F7F2-8023-494D-885E-C50430B4C846}"/>
              </a:ext>
            </a:extLst>
          </p:cNvPr>
          <p:cNvGrpSpPr/>
          <p:nvPr/>
        </p:nvGrpSpPr>
        <p:grpSpPr>
          <a:xfrm>
            <a:off x="2795184" y="1264674"/>
            <a:ext cx="914643" cy="1001598"/>
            <a:chOff x="5638675" y="2887316"/>
            <a:chExt cx="914643" cy="1001598"/>
          </a:xfrm>
        </p:grpSpPr>
        <p:sp>
          <p:nvSpPr>
            <p:cNvPr id="7" name="Freeform: Shape 829">
              <a:extLst>
                <a:ext uri="{FF2B5EF4-FFF2-40B4-BE49-F238E27FC236}">
                  <a16:creationId xmlns:a16="http://schemas.microsoft.com/office/drawing/2014/main" id="{43693AC7-E06D-4291-9043-AA1626234C11}"/>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8" name="Rectangle 7">
              <a:extLst>
                <a:ext uri="{FF2B5EF4-FFF2-40B4-BE49-F238E27FC236}">
                  <a16:creationId xmlns:a16="http://schemas.microsoft.com/office/drawing/2014/main" id="{304E3E02-3A9B-42ED-B6CA-53291EAB4C11}"/>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9" name="Picture 2" descr="http://www.bojanglesmuseum.com/wp-content/uploads/2017/07/Cool-Microsoft-Sql-Server-Logo-98-On-Create-A-Free-Logo-with-Microsoft-Sql-Server-Logo.jpg">
            <a:extLst>
              <a:ext uri="{FF2B5EF4-FFF2-40B4-BE49-F238E27FC236}">
                <a16:creationId xmlns:a16="http://schemas.microsoft.com/office/drawing/2014/main" id="{E1D1930B-C020-4A76-B80B-3B2F3DDD26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912" y="3008473"/>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sign&#10;&#10;Description automatically generated">
            <a:extLst>
              <a:ext uri="{FF2B5EF4-FFF2-40B4-BE49-F238E27FC236}">
                <a16:creationId xmlns:a16="http://schemas.microsoft.com/office/drawing/2014/main" id="{6F5585C5-3A18-462B-855A-E57B29DB4EDE}"/>
              </a:ext>
            </a:extLst>
          </p:cNvPr>
          <p:cNvPicPr>
            <a:picLocks noChangeAspect="1"/>
          </p:cNvPicPr>
          <p:nvPr/>
        </p:nvPicPr>
        <p:blipFill>
          <a:blip r:embed="rId3"/>
          <a:stretch>
            <a:fillRect/>
          </a:stretch>
        </p:blipFill>
        <p:spPr>
          <a:xfrm>
            <a:off x="6254711" y="3914983"/>
            <a:ext cx="1115096" cy="1115096"/>
          </a:xfrm>
          <a:prstGeom prst="rect">
            <a:avLst/>
          </a:prstGeom>
        </p:spPr>
      </p:pic>
      <p:grpSp>
        <p:nvGrpSpPr>
          <p:cNvPr id="3" name="Group 2">
            <a:extLst>
              <a:ext uri="{FF2B5EF4-FFF2-40B4-BE49-F238E27FC236}">
                <a16:creationId xmlns:a16="http://schemas.microsoft.com/office/drawing/2014/main" id="{FEF7A895-B93F-4494-A2F5-A92203252510}"/>
              </a:ext>
            </a:extLst>
          </p:cNvPr>
          <p:cNvGrpSpPr/>
          <p:nvPr/>
        </p:nvGrpSpPr>
        <p:grpSpPr>
          <a:xfrm>
            <a:off x="4300159" y="2653582"/>
            <a:ext cx="1444101" cy="1217034"/>
            <a:chOff x="4300159" y="2653582"/>
            <a:chExt cx="1444101" cy="1217034"/>
          </a:xfrm>
        </p:grpSpPr>
        <p:pic>
          <p:nvPicPr>
            <p:cNvPr id="1032" name="Picture 8" descr="Image result for azure virtual machine logo">
              <a:extLst>
                <a:ext uri="{FF2B5EF4-FFF2-40B4-BE49-F238E27FC236}">
                  <a16:creationId xmlns:a16="http://schemas.microsoft.com/office/drawing/2014/main" id="{611B8EA1-91C3-4EFE-A817-963D75D884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0159" y="2653582"/>
              <a:ext cx="958360" cy="95836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ED78680-94EA-47E7-8DC6-282F8CA0C744}"/>
                </a:ext>
              </a:extLst>
            </p:cNvPr>
            <p:cNvGrpSpPr/>
            <p:nvPr/>
          </p:nvGrpSpPr>
          <p:grpSpPr>
            <a:xfrm>
              <a:off x="5017711" y="3126862"/>
              <a:ext cx="726549" cy="743754"/>
              <a:chOff x="5638675" y="2887316"/>
              <a:chExt cx="914643" cy="1100820"/>
            </a:xfrm>
          </p:grpSpPr>
          <p:sp>
            <p:nvSpPr>
              <p:cNvPr id="16" name="Freeform: Shape 829">
                <a:extLst>
                  <a:ext uri="{FF2B5EF4-FFF2-40B4-BE49-F238E27FC236}">
                    <a16:creationId xmlns:a16="http://schemas.microsoft.com/office/drawing/2014/main" id="{D677FF46-7C76-4946-95B8-FDA5112B53C5}"/>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95200D0A-E7AD-470C-9649-81B37C4BCE2E}"/>
                  </a:ext>
                </a:extLst>
              </p:cNvPr>
              <p:cNvSpPr/>
              <p:nvPr/>
            </p:nvSpPr>
            <p:spPr>
              <a:xfrm>
                <a:off x="5792073" y="3279118"/>
                <a:ext cx="607860" cy="709018"/>
              </a:xfrm>
              <a:prstGeom prst="rect">
                <a:avLst/>
              </a:prstGeom>
            </p:spPr>
            <p:txBody>
              <a:bodyPr wrap="square">
                <a:spAutoFit/>
              </a:bodyPr>
              <a:lstStyle/>
              <a:p>
                <a:pPr algn="ctr">
                  <a:lnSpc>
                    <a:spcPct val="90000"/>
                  </a:lnSpc>
                  <a:spcAft>
                    <a:spcPts val="600"/>
                  </a:spcAft>
                </a:pPr>
                <a:r>
                  <a:rPr lang="en-US" sz="1200" b="1" dirty="0">
                    <a:solidFill>
                      <a:srgbClr val="50E6FF"/>
                    </a:solidFill>
                    <a:latin typeface="Segoe UI" panose="020B0502040204020203" pitchFamily="34" charset="0"/>
                    <a:cs typeface="Segoe UI" panose="020B0502040204020203" pitchFamily="34" charset="0"/>
                  </a:rPr>
                  <a:t>SQL</a:t>
                </a:r>
              </a:p>
            </p:txBody>
          </p:sp>
        </p:grpSp>
      </p:grpSp>
      <p:pic>
        <p:nvPicPr>
          <p:cNvPr id="1034" name="Picture 10" descr="Image result for azure sql data warehouse">
            <a:extLst>
              <a:ext uri="{FF2B5EF4-FFF2-40B4-BE49-F238E27FC236}">
                <a16:creationId xmlns:a16="http://schemas.microsoft.com/office/drawing/2014/main" id="{7954E7A4-F30B-4139-BEFE-196931AFE9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1736" y="5088996"/>
            <a:ext cx="1483939" cy="148393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4301970-8EF5-4AED-8FB7-A51120ECD60F}"/>
              </a:ext>
            </a:extLst>
          </p:cNvPr>
          <p:cNvSpPr txBox="1"/>
          <p:nvPr/>
        </p:nvSpPr>
        <p:spPr>
          <a:xfrm>
            <a:off x="354243" y="3568679"/>
            <a:ext cx="2151999" cy="1231106"/>
          </a:xfrm>
          <a:prstGeom prst="rect">
            <a:avLst/>
          </a:prstGeom>
          <a:solidFill>
            <a:schemeClr val="bg1">
              <a:lumMod val="75000"/>
            </a:schemeClr>
          </a:solid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08</a:t>
            </a:r>
          </a:p>
          <a:p>
            <a:pPr algn="l"/>
            <a:r>
              <a:rPr lang="en-US" sz="2000" dirty="0">
                <a:gradFill>
                  <a:gsLst>
                    <a:gs pos="2917">
                      <a:schemeClr val="tx1"/>
                    </a:gs>
                    <a:gs pos="30000">
                      <a:schemeClr val="tx1"/>
                    </a:gs>
                  </a:gsLst>
                  <a:lin ang="5400000" scaled="0"/>
                </a:gradFill>
              </a:rPr>
              <a:t>SQL Server 2008R2</a:t>
            </a:r>
          </a:p>
          <a:p>
            <a:pPr algn="l"/>
            <a:r>
              <a:rPr lang="en-US" sz="2000" dirty="0">
                <a:gradFill>
                  <a:gsLst>
                    <a:gs pos="2917">
                      <a:schemeClr val="tx1"/>
                    </a:gs>
                    <a:gs pos="30000">
                      <a:schemeClr val="tx1"/>
                    </a:gs>
                  </a:gsLst>
                  <a:lin ang="5400000" scaled="0"/>
                </a:gradFill>
              </a:rPr>
              <a:t>SQL Server 2012</a:t>
            </a:r>
          </a:p>
          <a:p>
            <a:pPr algn="l"/>
            <a:r>
              <a:rPr lang="en-US" sz="2000" dirty="0">
                <a:gradFill>
                  <a:gsLst>
                    <a:gs pos="2917">
                      <a:schemeClr val="tx1"/>
                    </a:gs>
                    <a:gs pos="30000">
                      <a:schemeClr val="tx1"/>
                    </a:gs>
                  </a:gsLst>
                  <a:lin ang="5400000" scaled="0"/>
                </a:gradFill>
              </a:rPr>
              <a:t>SQL Server 2014</a:t>
            </a:r>
          </a:p>
        </p:txBody>
      </p:sp>
      <p:sp>
        <p:nvSpPr>
          <p:cNvPr id="18" name="TextBox 17">
            <a:extLst>
              <a:ext uri="{FF2B5EF4-FFF2-40B4-BE49-F238E27FC236}">
                <a16:creationId xmlns:a16="http://schemas.microsoft.com/office/drawing/2014/main" id="{D3B423A7-4BAB-40D3-9FD6-0F038240FEAF}"/>
              </a:ext>
            </a:extLst>
          </p:cNvPr>
          <p:cNvSpPr txBox="1"/>
          <p:nvPr/>
        </p:nvSpPr>
        <p:spPr>
          <a:xfrm>
            <a:off x="4016775" y="1303808"/>
            <a:ext cx="1860253"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6</a:t>
            </a:r>
          </a:p>
          <a:p>
            <a:pPr algn="l"/>
            <a:r>
              <a:rPr lang="en-US" sz="2000" dirty="0">
                <a:gradFill>
                  <a:gsLst>
                    <a:gs pos="2917">
                      <a:schemeClr val="tx1"/>
                    </a:gs>
                    <a:gs pos="30000">
                      <a:schemeClr val="tx1"/>
                    </a:gs>
                  </a:gsLst>
                  <a:lin ang="5400000" scaled="0"/>
                </a:gradFill>
              </a:rPr>
              <a:t>SQL Server 2017</a:t>
            </a:r>
          </a:p>
          <a:p>
            <a:pPr algn="l"/>
            <a:r>
              <a:rPr lang="en-US" sz="2000" dirty="0">
                <a:gradFill>
                  <a:gsLst>
                    <a:gs pos="2917">
                      <a:schemeClr val="tx1"/>
                    </a:gs>
                    <a:gs pos="30000">
                      <a:schemeClr val="tx1"/>
                    </a:gs>
                  </a:gsLst>
                  <a:lin ang="5400000" scaled="0"/>
                </a:gradFill>
              </a:rPr>
              <a:t>SQL Server 2019</a:t>
            </a:r>
          </a:p>
        </p:txBody>
      </p:sp>
      <p:sp>
        <p:nvSpPr>
          <p:cNvPr id="30" name="TextBox 29">
            <a:extLst>
              <a:ext uri="{FF2B5EF4-FFF2-40B4-BE49-F238E27FC236}">
                <a16:creationId xmlns:a16="http://schemas.microsoft.com/office/drawing/2014/main" id="{2FD6E315-25EA-4D82-9B44-27928B1FA5C7}"/>
              </a:ext>
            </a:extLst>
          </p:cNvPr>
          <p:cNvSpPr txBox="1"/>
          <p:nvPr/>
        </p:nvSpPr>
        <p:spPr>
          <a:xfrm>
            <a:off x="5976071" y="2793569"/>
            <a:ext cx="3259675"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in </a:t>
            </a:r>
          </a:p>
          <a:p>
            <a:pPr algn="l"/>
            <a:r>
              <a:rPr lang="en-US" sz="2000" dirty="0">
                <a:gradFill>
                  <a:gsLst>
                    <a:gs pos="2917">
                      <a:schemeClr val="tx1"/>
                    </a:gs>
                    <a:gs pos="30000">
                      <a:schemeClr val="tx1"/>
                    </a:gs>
                  </a:gsLst>
                  <a:lin ang="5400000" scaled="0"/>
                </a:gradFill>
              </a:rPr>
              <a:t>Azure Virtual Machine (IAAS)</a:t>
            </a:r>
          </a:p>
        </p:txBody>
      </p:sp>
      <p:sp>
        <p:nvSpPr>
          <p:cNvPr id="31" name="TextBox 30">
            <a:extLst>
              <a:ext uri="{FF2B5EF4-FFF2-40B4-BE49-F238E27FC236}">
                <a16:creationId xmlns:a16="http://schemas.microsoft.com/office/drawing/2014/main" id="{7846A372-933D-43B9-9295-24938FD821D9}"/>
              </a:ext>
            </a:extLst>
          </p:cNvPr>
          <p:cNvSpPr txBox="1"/>
          <p:nvPr/>
        </p:nvSpPr>
        <p:spPr>
          <a:xfrm>
            <a:off x="7369807" y="3936956"/>
            <a:ext cx="4438331"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base</a:t>
            </a:r>
          </a:p>
          <a:p>
            <a:pPr algn="l"/>
            <a:r>
              <a:rPr lang="en-US" sz="2000" dirty="0">
                <a:gradFill>
                  <a:gsLst>
                    <a:gs pos="2917">
                      <a:schemeClr val="tx1"/>
                    </a:gs>
                    <a:gs pos="30000">
                      <a:schemeClr val="tx1"/>
                    </a:gs>
                  </a:gsLst>
                  <a:lin ang="5400000" scaled="0"/>
                </a:gradFill>
              </a:rPr>
              <a:t>Azure SQL Database Managed Instance</a:t>
            </a:r>
          </a:p>
        </p:txBody>
      </p:sp>
      <p:sp>
        <p:nvSpPr>
          <p:cNvPr id="32" name="TextBox 31">
            <a:extLst>
              <a:ext uri="{FF2B5EF4-FFF2-40B4-BE49-F238E27FC236}">
                <a16:creationId xmlns:a16="http://schemas.microsoft.com/office/drawing/2014/main" id="{573B6922-C7FD-40F5-BCC4-3C14DAB2DA3D}"/>
              </a:ext>
            </a:extLst>
          </p:cNvPr>
          <p:cNvSpPr txBox="1"/>
          <p:nvPr/>
        </p:nvSpPr>
        <p:spPr>
          <a:xfrm>
            <a:off x="9355675" y="5464271"/>
            <a:ext cx="1835246"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 </a:t>
            </a:r>
          </a:p>
          <a:p>
            <a:pPr algn="l"/>
            <a:r>
              <a:rPr lang="en-US" sz="2000" dirty="0">
                <a:gradFill>
                  <a:gsLst>
                    <a:gs pos="2917">
                      <a:schemeClr val="tx1"/>
                    </a:gs>
                    <a:gs pos="30000">
                      <a:schemeClr val="tx1"/>
                    </a:gs>
                  </a:gsLst>
                  <a:lin ang="5400000" scaled="0"/>
                </a:gradFill>
              </a:rPr>
              <a:t>Warehouse</a:t>
            </a:r>
          </a:p>
        </p:txBody>
      </p:sp>
      <p:sp>
        <p:nvSpPr>
          <p:cNvPr id="19" name="TextBox 18">
            <a:extLst>
              <a:ext uri="{FF2B5EF4-FFF2-40B4-BE49-F238E27FC236}">
                <a16:creationId xmlns:a16="http://schemas.microsoft.com/office/drawing/2014/main" id="{99C21293-60A9-45E5-9AB7-65627526FC21}"/>
              </a:ext>
            </a:extLst>
          </p:cNvPr>
          <p:cNvSpPr txBox="1"/>
          <p:nvPr/>
        </p:nvSpPr>
        <p:spPr>
          <a:xfrm>
            <a:off x="7402316" y="4644808"/>
            <a:ext cx="74481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AAS)</a:t>
            </a:r>
          </a:p>
        </p:txBody>
      </p:sp>
      <p:cxnSp>
        <p:nvCxnSpPr>
          <p:cNvPr id="21" name="Straight Arrow Connector 20">
            <a:extLst>
              <a:ext uri="{FF2B5EF4-FFF2-40B4-BE49-F238E27FC236}">
                <a16:creationId xmlns:a16="http://schemas.microsoft.com/office/drawing/2014/main" id="{61FA6561-EA1F-4B40-AFEC-5E7A0384C2DB}"/>
              </a:ext>
            </a:extLst>
          </p:cNvPr>
          <p:cNvCxnSpPr>
            <a:cxnSpLocks/>
            <a:stCxn id="14" idx="3"/>
            <a:endCxn id="7" idx="8"/>
          </p:cNvCxnSpPr>
          <p:nvPr/>
        </p:nvCxnSpPr>
        <p:spPr>
          <a:xfrm flipV="1">
            <a:off x="2506242" y="2266272"/>
            <a:ext cx="746263" cy="1917960"/>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878C043-297E-4E46-8EE4-6123B540474F}"/>
              </a:ext>
            </a:extLst>
          </p:cNvPr>
          <p:cNvCxnSpPr>
            <a:cxnSpLocks/>
            <a:stCxn id="14" idx="3"/>
          </p:cNvCxnSpPr>
          <p:nvPr/>
        </p:nvCxnSpPr>
        <p:spPr>
          <a:xfrm flipV="1">
            <a:off x="2506242" y="3158004"/>
            <a:ext cx="1793917" cy="1026228"/>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DA199D8-3AB2-4504-B9C6-26E47F0D785E}"/>
              </a:ext>
            </a:extLst>
          </p:cNvPr>
          <p:cNvCxnSpPr>
            <a:cxnSpLocks/>
            <a:stCxn id="14" idx="3"/>
            <a:endCxn id="10" idx="1"/>
          </p:cNvCxnSpPr>
          <p:nvPr/>
        </p:nvCxnSpPr>
        <p:spPr>
          <a:xfrm>
            <a:off x="2506242" y="4184232"/>
            <a:ext cx="3748469" cy="288299"/>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5FCABA1-FA39-47C6-B00E-A7F189C7F98C}"/>
              </a:ext>
            </a:extLst>
          </p:cNvPr>
          <p:cNvCxnSpPr>
            <a:cxnSpLocks/>
            <a:stCxn id="14" idx="3"/>
            <a:endCxn id="1034" idx="1"/>
          </p:cNvCxnSpPr>
          <p:nvPr/>
        </p:nvCxnSpPr>
        <p:spPr>
          <a:xfrm>
            <a:off x="2506242" y="4184232"/>
            <a:ext cx="5365494" cy="1646734"/>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517A6A0-F210-4B66-897A-D239B79CD65B}"/>
              </a:ext>
            </a:extLst>
          </p:cNvPr>
          <p:cNvGrpSpPr/>
          <p:nvPr/>
        </p:nvGrpSpPr>
        <p:grpSpPr>
          <a:xfrm>
            <a:off x="6254711" y="1757783"/>
            <a:ext cx="2186917" cy="424535"/>
            <a:chOff x="5953153" y="1730774"/>
            <a:chExt cx="2186917" cy="424535"/>
          </a:xfrm>
        </p:grpSpPr>
        <p:grpSp>
          <p:nvGrpSpPr>
            <p:cNvPr id="22" name="Group 21">
              <a:extLst>
                <a:ext uri="{FF2B5EF4-FFF2-40B4-BE49-F238E27FC236}">
                  <a16:creationId xmlns:a16="http://schemas.microsoft.com/office/drawing/2014/main" id="{AA32D583-4349-4D4D-A1B6-AA6EA3E042A8}"/>
                </a:ext>
              </a:extLst>
            </p:cNvPr>
            <p:cNvGrpSpPr/>
            <p:nvPr/>
          </p:nvGrpSpPr>
          <p:grpSpPr>
            <a:xfrm>
              <a:off x="5953153" y="1765473"/>
              <a:ext cx="1530672" cy="355140"/>
              <a:chOff x="6576577" y="3318208"/>
              <a:chExt cx="2213304" cy="504999"/>
            </a:xfrm>
          </p:grpSpPr>
          <p:sp>
            <p:nvSpPr>
              <p:cNvPr id="23" name="Freeform 130">
                <a:extLst>
                  <a:ext uri="{FF2B5EF4-FFF2-40B4-BE49-F238E27FC236}">
                    <a16:creationId xmlns:a16="http://schemas.microsoft.com/office/drawing/2014/main" id="{CEDD5523-29E3-46F6-B032-811106C19696}"/>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24" name="Freeform: Shape 390">
                <a:extLst>
                  <a:ext uri="{FF2B5EF4-FFF2-40B4-BE49-F238E27FC236}">
                    <a16:creationId xmlns:a16="http://schemas.microsoft.com/office/drawing/2014/main" id="{AB00A115-0C08-48F7-A68D-14ED4154B188}"/>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25" name="Picture 24">
                <a:extLst>
                  <a:ext uri="{FF2B5EF4-FFF2-40B4-BE49-F238E27FC236}">
                    <a16:creationId xmlns:a16="http://schemas.microsoft.com/office/drawing/2014/main" id="{A366C0BA-6170-44C9-8FF4-4322374C0FF0}"/>
                  </a:ext>
                </a:extLst>
              </p:cNvPr>
              <p:cNvPicPr>
                <a:picLocks noChangeAspect="1"/>
              </p:cNvPicPr>
              <p:nvPr/>
            </p:nvPicPr>
            <p:blipFill>
              <a:blip r:embed="rId6"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pic>
          <p:nvPicPr>
            <p:cNvPr id="29" name="Picture 28">
              <a:extLst>
                <a:ext uri="{FF2B5EF4-FFF2-40B4-BE49-F238E27FC236}">
                  <a16:creationId xmlns:a16="http://schemas.microsoft.com/office/drawing/2014/main" id="{B6C0260D-054A-478F-8995-0D4A5835DB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68195" y="1730774"/>
              <a:ext cx="571875" cy="424535"/>
            </a:xfrm>
            <a:prstGeom prst="rect">
              <a:avLst/>
            </a:prstGeom>
          </p:spPr>
        </p:pic>
      </p:grpSp>
      <p:sp>
        <p:nvSpPr>
          <p:cNvPr id="5" name="Right Brace 4">
            <a:extLst>
              <a:ext uri="{FF2B5EF4-FFF2-40B4-BE49-F238E27FC236}">
                <a16:creationId xmlns:a16="http://schemas.microsoft.com/office/drawing/2014/main" id="{8FC618D1-0564-4058-BC54-557B11D15E73}"/>
              </a:ext>
            </a:extLst>
          </p:cNvPr>
          <p:cNvSpPr/>
          <p:nvPr/>
        </p:nvSpPr>
        <p:spPr>
          <a:xfrm>
            <a:off x="5913350" y="1705601"/>
            <a:ext cx="207905" cy="466814"/>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173525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1034"/>
                                        </p:tgtEl>
                                        <p:attrNameLst>
                                          <p:attrName>style.visibility</p:attrName>
                                        </p:attrNameLst>
                                      </p:cBhvr>
                                      <p:to>
                                        <p:strVal val="visible"/>
                                      </p:to>
                                    </p:set>
                                    <p:animEffect transition="in" filter="fade">
                                      <p:cBhvr>
                                        <p:cTn id="49" dur="500"/>
                                        <p:tgtEl>
                                          <p:spTgt spid="103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0" grpId="0"/>
      <p:bldP spid="31" grpId="0"/>
      <p:bldP spid="32" grpId="0"/>
      <p:bldP spid="19" grpId="0"/>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1BD2D-C217-4297-BE95-ED0B34225824}"/>
              </a:ext>
            </a:extLst>
          </p:cNvPr>
          <p:cNvSpPr>
            <a:spLocks noGrp="1"/>
          </p:cNvSpPr>
          <p:nvPr>
            <p:ph type="title"/>
          </p:nvPr>
        </p:nvSpPr>
        <p:spPr/>
        <p:txBody>
          <a:bodyPr/>
          <a:lstStyle/>
          <a:p>
            <a:r>
              <a:rPr lang="en-US" dirty="0"/>
              <a:t>Why Containers?</a:t>
            </a:r>
          </a:p>
        </p:txBody>
      </p:sp>
      <p:grpSp>
        <p:nvGrpSpPr>
          <p:cNvPr id="4" name="Group 3">
            <a:extLst>
              <a:ext uri="{FF2B5EF4-FFF2-40B4-BE49-F238E27FC236}">
                <a16:creationId xmlns:a16="http://schemas.microsoft.com/office/drawing/2014/main" id="{4913388A-BFF6-41A1-A434-5E6C87AEE646}"/>
              </a:ext>
            </a:extLst>
          </p:cNvPr>
          <p:cNvGrpSpPr/>
          <p:nvPr/>
        </p:nvGrpSpPr>
        <p:grpSpPr>
          <a:xfrm>
            <a:off x="6999075" y="3799843"/>
            <a:ext cx="1176882" cy="1269632"/>
            <a:chOff x="6999202" y="3799896"/>
            <a:chExt cx="1177049" cy="1269812"/>
          </a:xfrm>
        </p:grpSpPr>
        <p:sp>
          <p:nvSpPr>
            <p:cNvPr id="5" name="Rectangle 4">
              <a:extLst>
                <a:ext uri="{FF2B5EF4-FFF2-40B4-BE49-F238E27FC236}">
                  <a16:creationId xmlns:a16="http://schemas.microsoft.com/office/drawing/2014/main" id="{C25E6AD4-A7B6-425F-B8F3-9CE7DAAC54A6}"/>
                </a:ext>
              </a:extLst>
            </p:cNvPr>
            <p:cNvSpPr/>
            <p:nvPr/>
          </p:nvSpPr>
          <p:spPr bwMode="auto">
            <a:xfrm>
              <a:off x="6999202" y="4688856"/>
              <a:ext cx="1177049"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6" name="Rectangle 5">
              <a:extLst>
                <a:ext uri="{FF2B5EF4-FFF2-40B4-BE49-F238E27FC236}">
                  <a16:creationId xmlns:a16="http://schemas.microsoft.com/office/drawing/2014/main" id="{6239AFFE-2F6E-481A-9AD4-1EE991C65CFC}"/>
                </a:ext>
              </a:extLst>
            </p:cNvPr>
            <p:cNvSpPr/>
            <p:nvPr/>
          </p:nvSpPr>
          <p:spPr bwMode="auto">
            <a:xfrm>
              <a:off x="6999202" y="4344952"/>
              <a:ext cx="1177049"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7" name="Rectangle 6">
              <a:extLst>
                <a:ext uri="{FF2B5EF4-FFF2-40B4-BE49-F238E27FC236}">
                  <a16:creationId xmlns:a16="http://schemas.microsoft.com/office/drawing/2014/main" id="{CF16C8CF-EA6C-43F0-A894-8848F8FDC7DB}"/>
                </a:ext>
              </a:extLst>
            </p:cNvPr>
            <p:cNvSpPr/>
            <p:nvPr/>
          </p:nvSpPr>
          <p:spPr bwMode="auto">
            <a:xfrm>
              <a:off x="6999202"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D4552E0D-1144-4206-BB48-907B982A73AA}"/>
                </a:ext>
              </a:extLst>
            </p:cNvPr>
            <p:cNvSpPr txBox="1"/>
            <p:nvPr/>
          </p:nvSpPr>
          <p:spPr>
            <a:xfrm>
              <a:off x="720220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9" name="Group 8">
            <a:extLst>
              <a:ext uri="{FF2B5EF4-FFF2-40B4-BE49-F238E27FC236}">
                <a16:creationId xmlns:a16="http://schemas.microsoft.com/office/drawing/2014/main" id="{0B44AEFD-AD98-463E-AC7C-8E40AC686777}"/>
              </a:ext>
            </a:extLst>
          </p:cNvPr>
          <p:cNvGrpSpPr/>
          <p:nvPr/>
        </p:nvGrpSpPr>
        <p:grpSpPr>
          <a:xfrm>
            <a:off x="8319534" y="3799843"/>
            <a:ext cx="1176882" cy="1269632"/>
            <a:chOff x="8319848" y="3799896"/>
            <a:chExt cx="1177049" cy="1269812"/>
          </a:xfrm>
        </p:grpSpPr>
        <p:sp>
          <p:nvSpPr>
            <p:cNvPr id="10" name="Rectangle 9">
              <a:extLst>
                <a:ext uri="{FF2B5EF4-FFF2-40B4-BE49-F238E27FC236}">
                  <a16:creationId xmlns:a16="http://schemas.microsoft.com/office/drawing/2014/main" id="{4C183AF7-2147-4879-802C-2BE413D89F1C}"/>
                </a:ext>
              </a:extLst>
            </p:cNvPr>
            <p:cNvSpPr/>
            <p:nvPr/>
          </p:nvSpPr>
          <p:spPr bwMode="auto">
            <a:xfrm>
              <a:off x="8329594" y="4688856"/>
              <a:ext cx="1167303"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1" name="Rectangle 10">
              <a:extLst>
                <a:ext uri="{FF2B5EF4-FFF2-40B4-BE49-F238E27FC236}">
                  <a16:creationId xmlns:a16="http://schemas.microsoft.com/office/drawing/2014/main" id="{7AFC5CA9-EDBA-4195-AD32-7CB5B2CE3364}"/>
                </a:ext>
              </a:extLst>
            </p:cNvPr>
            <p:cNvSpPr/>
            <p:nvPr/>
          </p:nvSpPr>
          <p:spPr bwMode="auto">
            <a:xfrm>
              <a:off x="8329594" y="4344952"/>
              <a:ext cx="1167303"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12" name="Rectangle 11">
              <a:extLst>
                <a:ext uri="{FF2B5EF4-FFF2-40B4-BE49-F238E27FC236}">
                  <a16:creationId xmlns:a16="http://schemas.microsoft.com/office/drawing/2014/main" id="{472C733C-C133-4323-9B39-C42BE6E1EFC2}"/>
                </a:ext>
              </a:extLst>
            </p:cNvPr>
            <p:cNvSpPr/>
            <p:nvPr/>
          </p:nvSpPr>
          <p:spPr bwMode="auto">
            <a:xfrm>
              <a:off x="8319848"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B6DCFF12-2C88-4514-8643-36A61D099E6A}"/>
                </a:ext>
              </a:extLst>
            </p:cNvPr>
            <p:cNvSpPr txBox="1"/>
            <p:nvPr/>
          </p:nvSpPr>
          <p:spPr>
            <a:xfrm>
              <a:off x="852221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14" name="Group 13">
            <a:extLst>
              <a:ext uri="{FF2B5EF4-FFF2-40B4-BE49-F238E27FC236}">
                <a16:creationId xmlns:a16="http://schemas.microsoft.com/office/drawing/2014/main" id="{BB34921C-724A-49AC-9294-22F993987071}"/>
              </a:ext>
            </a:extLst>
          </p:cNvPr>
          <p:cNvGrpSpPr/>
          <p:nvPr/>
        </p:nvGrpSpPr>
        <p:grpSpPr>
          <a:xfrm>
            <a:off x="6854052" y="3672817"/>
            <a:ext cx="4111907" cy="2689148"/>
            <a:chOff x="6854159" y="3672851"/>
            <a:chExt cx="4112490" cy="2689529"/>
          </a:xfrm>
        </p:grpSpPr>
        <p:sp>
          <p:nvSpPr>
            <p:cNvPr id="15" name="Rectangle 14">
              <a:extLst>
                <a:ext uri="{FF2B5EF4-FFF2-40B4-BE49-F238E27FC236}">
                  <a16:creationId xmlns:a16="http://schemas.microsoft.com/office/drawing/2014/main" id="{57CCD697-0230-4E63-A054-A4B2694C0501}"/>
                </a:ext>
              </a:extLst>
            </p:cNvPr>
            <p:cNvSpPr/>
            <p:nvPr/>
          </p:nvSpPr>
          <p:spPr bwMode="auto">
            <a:xfrm>
              <a:off x="6854159" y="3672851"/>
              <a:ext cx="4112490" cy="268952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ED070-2B0B-4CB3-B930-7A33062BE206}"/>
                </a:ext>
              </a:extLst>
            </p:cNvPr>
            <p:cNvSpPr/>
            <p:nvPr/>
          </p:nvSpPr>
          <p:spPr bwMode="auto">
            <a:xfrm>
              <a:off x="7001234" y="5943732"/>
              <a:ext cx="3818341"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nfrastructure</a:t>
              </a:r>
            </a:p>
          </p:txBody>
        </p:sp>
        <p:sp>
          <p:nvSpPr>
            <p:cNvPr id="17" name="Rectangle 16">
              <a:extLst>
                <a:ext uri="{FF2B5EF4-FFF2-40B4-BE49-F238E27FC236}">
                  <a16:creationId xmlns:a16="http://schemas.microsoft.com/office/drawing/2014/main" id="{C8E00A58-D1CF-443B-B24C-2D18125E2CAA}"/>
                </a:ext>
              </a:extLst>
            </p:cNvPr>
            <p:cNvSpPr/>
            <p:nvPr/>
          </p:nvSpPr>
          <p:spPr bwMode="auto">
            <a:xfrm>
              <a:off x="7001233" y="5586691"/>
              <a:ext cx="3818342"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Host OS</a:t>
              </a:r>
            </a:p>
          </p:txBody>
        </p:sp>
        <p:sp>
          <p:nvSpPr>
            <p:cNvPr id="18" name="Rectangle 17">
              <a:extLst>
                <a:ext uri="{FF2B5EF4-FFF2-40B4-BE49-F238E27FC236}">
                  <a16:creationId xmlns:a16="http://schemas.microsoft.com/office/drawing/2014/main" id="{9577097F-6B99-42C7-9477-E83E1A63FB62}"/>
                </a:ext>
              </a:extLst>
            </p:cNvPr>
            <p:cNvSpPr/>
            <p:nvPr/>
          </p:nvSpPr>
          <p:spPr bwMode="auto">
            <a:xfrm>
              <a:off x="9640494" y="4688856"/>
              <a:ext cx="1177050"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9" name="Rectangle 18">
              <a:extLst>
                <a:ext uri="{FF2B5EF4-FFF2-40B4-BE49-F238E27FC236}">
                  <a16:creationId xmlns:a16="http://schemas.microsoft.com/office/drawing/2014/main" id="{61B9F392-07BC-4820-90D9-8AE1397B51B8}"/>
                </a:ext>
              </a:extLst>
            </p:cNvPr>
            <p:cNvSpPr/>
            <p:nvPr/>
          </p:nvSpPr>
          <p:spPr bwMode="auto">
            <a:xfrm>
              <a:off x="9640494" y="4344952"/>
              <a:ext cx="1177050"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20" name="Rectangle 19">
              <a:extLst>
                <a:ext uri="{FF2B5EF4-FFF2-40B4-BE49-F238E27FC236}">
                  <a16:creationId xmlns:a16="http://schemas.microsoft.com/office/drawing/2014/main" id="{0878B403-13A7-4EB0-97A8-7F020D644DE7}"/>
                </a:ext>
              </a:extLst>
            </p:cNvPr>
            <p:cNvSpPr/>
            <p:nvPr/>
          </p:nvSpPr>
          <p:spPr bwMode="auto">
            <a:xfrm>
              <a:off x="9640495"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8282317-3735-45BF-8A89-8A36ED6BED99}"/>
                </a:ext>
              </a:extLst>
            </p:cNvPr>
            <p:cNvSpPr/>
            <p:nvPr/>
          </p:nvSpPr>
          <p:spPr bwMode="auto">
            <a:xfrm>
              <a:off x="7001233" y="5229326"/>
              <a:ext cx="3818342" cy="2743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Docker</a:t>
              </a:r>
            </a:p>
          </p:txBody>
        </p:sp>
        <p:sp>
          <p:nvSpPr>
            <p:cNvPr id="22" name="TextBox 21">
              <a:extLst>
                <a:ext uri="{FF2B5EF4-FFF2-40B4-BE49-F238E27FC236}">
                  <a16:creationId xmlns:a16="http://schemas.microsoft.com/office/drawing/2014/main" id="{B0A39F65-B2F9-4FB9-8A14-FDF4F8066D92}"/>
                </a:ext>
              </a:extLst>
            </p:cNvPr>
            <p:cNvSpPr txBox="1"/>
            <p:nvPr/>
          </p:nvSpPr>
          <p:spPr>
            <a:xfrm>
              <a:off x="9843497"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sp>
        <p:nvSpPr>
          <p:cNvPr id="23" name="TextBox 22">
            <a:extLst>
              <a:ext uri="{FF2B5EF4-FFF2-40B4-BE49-F238E27FC236}">
                <a16:creationId xmlns:a16="http://schemas.microsoft.com/office/drawing/2014/main" id="{32169F1A-F17B-42CA-9E8D-91C696DC3BFB}"/>
              </a:ext>
            </a:extLst>
          </p:cNvPr>
          <p:cNvSpPr txBox="1"/>
          <p:nvPr/>
        </p:nvSpPr>
        <p:spPr>
          <a:xfrm>
            <a:off x="1062391" y="1317952"/>
            <a:ext cx="4589074" cy="3200876"/>
          </a:xfrm>
          <a:prstGeom prst="rect">
            <a:avLst/>
          </a:prstGeom>
          <a:noFill/>
        </p:spPr>
        <p:txBody>
          <a:bodyPr wrap="square" lIns="0" tIns="0" rIns="0" bIns="0" rtlCol="0">
            <a:spAutoFit/>
          </a:bodyPr>
          <a:lstStyle/>
          <a:p>
            <a:pPr algn="l"/>
            <a:r>
              <a:rPr lang="en-US" sz="1600" b="1" dirty="0">
                <a:solidFill>
                  <a:schemeClr val="tx2"/>
                </a:solidFill>
                <a:latin typeface="Segoe UI Semibold" panose="020B0502040204020203" pitchFamily="34" charset="0"/>
                <a:cs typeface="Segoe UI Semibold" panose="020B0502040204020203" pitchFamily="34" charset="0"/>
              </a:rPr>
              <a:t>Portable</a:t>
            </a:r>
          </a:p>
          <a:p>
            <a:pPr algn="l"/>
            <a:r>
              <a:rPr lang="en-US" sz="1600" dirty="0">
                <a:solidFill>
                  <a:schemeClr val="accent1"/>
                </a:solidFill>
              </a:rPr>
              <a:t>Run anywhere Docker is supported</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Lightweight</a:t>
            </a:r>
          </a:p>
          <a:p>
            <a:pPr algn="l"/>
            <a:r>
              <a:rPr lang="en-US" sz="1600" dirty="0">
                <a:solidFill>
                  <a:schemeClr val="accent1"/>
                </a:solidFill>
              </a:rPr>
              <a:t>Reduced disk, CPU, and memory footprint</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Consistent</a:t>
            </a:r>
          </a:p>
          <a:p>
            <a:pPr algn="l"/>
            <a:r>
              <a:rPr lang="en-US" sz="1600" dirty="0">
                <a:solidFill>
                  <a:schemeClr val="accent1"/>
                </a:solidFill>
              </a:rPr>
              <a:t>Consistent image of SQL Server, scripts, and tools</a:t>
            </a:r>
          </a:p>
          <a:p>
            <a:pPr algn="l"/>
            <a:endParaRPr lang="en-US" sz="1600" dirty="0">
              <a:solidFill>
                <a:schemeClr val="accent1"/>
              </a:solidFill>
            </a:endParaRPr>
          </a:p>
          <a:p>
            <a:pPr algn="l"/>
            <a:r>
              <a:rPr lang="en-US" sz="1600" dirty="0">
                <a:solidFill>
                  <a:schemeClr val="tx2"/>
                </a:solidFill>
                <a:latin typeface="Segoe UI Semibold" panose="020B0502040204020203" pitchFamily="34" charset="0"/>
                <a:cs typeface="Segoe UI Semibold" panose="020B0502040204020203" pitchFamily="34" charset="0"/>
              </a:rPr>
              <a:t>Efficient</a:t>
            </a:r>
          </a:p>
          <a:p>
            <a:pPr algn="l"/>
            <a:r>
              <a:rPr lang="en-US" sz="1600" dirty="0">
                <a:solidFill>
                  <a:schemeClr val="accent1"/>
                </a:solidFill>
              </a:rPr>
              <a:t>Faster deployment, reduced patching, and </a:t>
            </a:r>
            <a:br>
              <a:rPr lang="en-US" sz="1600" dirty="0">
                <a:solidFill>
                  <a:schemeClr val="accent1"/>
                </a:solidFill>
              </a:rPr>
            </a:br>
            <a:r>
              <a:rPr lang="en-US" sz="1600" dirty="0">
                <a:solidFill>
                  <a:schemeClr val="accent1"/>
                </a:solidFill>
              </a:rPr>
              <a:t>less downtime</a:t>
            </a:r>
          </a:p>
          <a:p>
            <a:pPr algn="l"/>
            <a:endParaRPr lang="en-US" sz="1600" dirty="0">
              <a:solidFill>
                <a:schemeClr val="accent1"/>
              </a:solidFill>
            </a:endParaRPr>
          </a:p>
        </p:txBody>
      </p:sp>
      <p:sp>
        <p:nvSpPr>
          <p:cNvPr id="24" name="TextBox 23">
            <a:extLst>
              <a:ext uri="{FF2B5EF4-FFF2-40B4-BE49-F238E27FC236}">
                <a16:creationId xmlns:a16="http://schemas.microsoft.com/office/drawing/2014/main" id="{8B73CA59-AD0B-471A-B50B-BB6166E8D0DF}"/>
              </a:ext>
            </a:extLst>
          </p:cNvPr>
          <p:cNvSpPr txBox="1"/>
          <p:nvPr/>
        </p:nvSpPr>
        <p:spPr>
          <a:xfrm>
            <a:off x="7402536" y="1321194"/>
            <a:ext cx="3014936" cy="215444"/>
          </a:xfrm>
          <a:prstGeom prst="rect">
            <a:avLst/>
          </a:prstGeom>
          <a:noFill/>
        </p:spPr>
        <p:txBody>
          <a:bodyPr wrap="square" lIns="0" tIns="0" rIns="0" bIns="0" rtlCol="0">
            <a:spAutoFit/>
          </a:bodyPr>
          <a:lstStyle/>
          <a:p>
            <a:pPr algn="ctr"/>
            <a:r>
              <a:rPr lang="en-US" sz="1400" b="1" dirty="0">
                <a:solidFill>
                  <a:schemeClr val="accent1"/>
                </a:solidFill>
              </a:rPr>
              <a:t>Container configuration</a:t>
            </a:r>
          </a:p>
        </p:txBody>
      </p:sp>
      <p:sp>
        <p:nvSpPr>
          <p:cNvPr id="25" name="Cylinder 812">
            <a:extLst>
              <a:ext uri="{FF2B5EF4-FFF2-40B4-BE49-F238E27FC236}">
                <a16:creationId xmlns:a16="http://schemas.microsoft.com/office/drawing/2014/main" id="{3D424405-E94E-44C6-A676-5B5E90393BEB}"/>
              </a:ext>
            </a:extLst>
          </p:cNvPr>
          <p:cNvSpPr/>
          <p:nvPr/>
        </p:nvSpPr>
        <p:spPr bwMode="auto">
          <a:xfrm>
            <a:off x="8629850" y="2125934"/>
            <a:ext cx="608862" cy="7999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800" dirty="0">
                <a:solidFill>
                  <a:schemeClr val="tx2"/>
                </a:solidFill>
                <a:ea typeface="Segoe UI" pitchFamily="34" charset="0"/>
                <a:cs typeface="Segoe UI Semilight" panose="020B0402040204020203" pitchFamily="34" charset="0"/>
              </a:rPr>
              <a:t>Database</a:t>
            </a:r>
          </a:p>
        </p:txBody>
      </p:sp>
      <p:sp>
        <p:nvSpPr>
          <p:cNvPr id="26" name="Rectangle 25">
            <a:extLst>
              <a:ext uri="{FF2B5EF4-FFF2-40B4-BE49-F238E27FC236}">
                <a16:creationId xmlns:a16="http://schemas.microsoft.com/office/drawing/2014/main" id="{9B229649-EFED-4FC1-9C6E-F0552A6C81CC}"/>
              </a:ext>
            </a:extLst>
          </p:cNvPr>
          <p:cNvSpPr/>
          <p:nvPr/>
        </p:nvSpPr>
        <p:spPr bwMode="auto">
          <a:xfrm>
            <a:off x="6854052" y="1636955"/>
            <a:ext cx="4111907" cy="153063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CD200F81-F71E-4CE6-8686-A44D5FD5F79D}"/>
              </a:ext>
            </a:extLst>
          </p:cNvPr>
          <p:cNvSpPr txBox="1"/>
          <p:nvPr/>
        </p:nvSpPr>
        <p:spPr>
          <a:xfrm>
            <a:off x="8229492" y="1719247"/>
            <a:ext cx="1355884" cy="215444"/>
          </a:xfrm>
          <a:prstGeom prst="rect">
            <a:avLst/>
          </a:prstGeom>
          <a:noFill/>
        </p:spPr>
        <p:txBody>
          <a:bodyPr wrap="none" lIns="0" tIns="0" rIns="0" bIns="0" rtlCol="0">
            <a:spAutoFit/>
          </a:bodyPr>
          <a:lstStyle/>
          <a:p>
            <a:pPr algn="l"/>
            <a:r>
              <a:rPr lang="en-US" sz="1400" dirty="0">
                <a:solidFill>
                  <a:schemeClr val="accent1"/>
                </a:solidFill>
              </a:rPr>
              <a:t>Persisted storage</a:t>
            </a:r>
          </a:p>
        </p:txBody>
      </p:sp>
      <p:sp>
        <p:nvSpPr>
          <p:cNvPr id="28" name="TextBox 27">
            <a:extLst>
              <a:ext uri="{FF2B5EF4-FFF2-40B4-BE49-F238E27FC236}">
                <a16:creationId xmlns:a16="http://schemas.microsoft.com/office/drawing/2014/main" id="{71814971-CF4F-4C21-871F-762FF8F34E14}"/>
              </a:ext>
            </a:extLst>
          </p:cNvPr>
          <p:cNvSpPr txBox="1"/>
          <p:nvPr/>
        </p:nvSpPr>
        <p:spPr>
          <a:xfrm>
            <a:off x="7641051" y="2556577"/>
            <a:ext cx="588442" cy="484648"/>
          </a:xfrm>
          <a:prstGeom prst="rect">
            <a:avLst/>
          </a:prstGeom>
          <a:noFill/>
        </p:spPr>
        <p:txBody>
          <a:bodyPr wrap="square" lIns="0" tIns="0" rIns="0" bIns="0" rtlCol="0">
            <a:spAutoFit/>
          </a:bodyPr>
          <a:lstStyle/>
          <a:p>
            <a:pPr algn="l"/>
            <a:r>
              <a:rPr lang="en-US" sz="1050" dirty="0">
                <a:solidFill>
                  <a:schemeClr val="accent1"/>
                </a:solidFill>
              </a:rPr>
              <a:t>Switch for </a:t>
            </a:r>
          </a:p>
          <a:p>
            <a:pPr algn="l"/>
            <a:r>
              <a:rPr lang="en-US" sz="1050" dirty="0">
                <a:solidFill>
                  <a:schemeClr val="accent1"/>
                </a:solidFill>
              </a:rPr>
              <a:t>simple upgrades</a:t>
            </a:r>
          </a:p>
        </p:txBody>
      </p:sp>
      <p:cxnSp>
        <p:nvCxnSpPr>
          <p:cNvPr id="29" name="Elbow Connector 5">
            <a:extLst>
              <a:ext uri="{FF2B5EF4-FFF2-40B4-BE49-F238E27FC236}">
                <a16:creationId xmlns:a16="http://schemas.microsoft.com/office/drawing/2014/main" id="{EDCE725E-98A6-45E2-8059-2ACFC7299794}"/>
              </a:ext>
            </a:extLst>
          </p:cNvPr>
          <p:cNvCxnSpPr>
            <a:stCxn id="25" idx="2"/>
            <a:endCxn id="7" idx="0"/>
          </p:cNvCxnSpPr>
          <p:nvPr/>
        </p:nvCxnSpPr>
        <p:spPr>
          <a:xfrm rot="10800000" flipV="1">
            <a:off x="7587516" y="2525885"/>
            <a:ext cx="1042334" cy="1273958"/>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3B9112B-860F-453F-A920-B7FB9C48F444}"/>
              </a:ext>
            </a:extLst>
          </p:cNvPr>
          <p:cNvGrpSpPr/>
          <p:nvPr/>
        </p:nvGrpSpPr>
        <p:grpSpPr>
          <a:xfrm>
            <a:off x="523315" y="2802035"/>
            <a:ext cx="349876" cy="438691"/>
            <a:chOff x="13906501" y="3886200"/>
            <a:chExt cx="619125" cy="776287"/>
          </a:xfrm>
        </p:grpSpPr>
        <p:sp>
          <p:nvSpPr>
            <p:cNvPr id="31" name="Freeform 17">
              <a:extLst>
                <a:ext uri="{FF2B5EF4-FFF2-40B4-BE49-F238E27FC236}">
                  <a16:creationId xmlns:a16="http://schemas.microsoft.com/office/drawing/2014/main" id="{66DC7ABB-1F68-4016-8EB8-CDEA81139D4C}"/>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2" name="Freeform 18">
              <a:extLst>
                <a:ext uri="{FF2B5EF4-FFF2-40B4-BE49-F238E27FC236}">
                  <a16:creationId xmlns:a16="http://schemas.microsoft.com/office/drawing/2014/main" id="{F0E4F453-76FF-47CD-8F0D-A1EFD8D2F546}"/>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3" name="Line 19">
              <a:extLst>
                <a:ext uri="{FF2B5EF4-FFF2-40B4-BE49-F238E27FC236}">
                  <a16:creationId xmlns:a16="http://schemas.microsoft.com/office/drawing/2014/main" id="{41DC8943-D192-4CAA-9E4C-D0E4B58C27B6}"/>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4" name="Freeform 20">
              <a:extLst>
                <a:ext uri="{FF2B5EF4-FFF2-40B4-BE49-F238E27FC236}">
                  <a16:creationId xmlns:a16="http://schemas.microsoft.com/office/drawing/2014/main" id="{5EAE7BD0-6A8E-434E-A386-700A090E155E}"/>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5" name="Line 21">
              <a:extLst>
                <a:ext uri="{FF2B5EF4-FFF2-40B4-BE49-F238E27FC236}">
                  <a16:creationId xmlns:a16="http://schemas.microsoft.com/office/drawing/2014/main" id="{657B730D-73EC-4C25-BEA9-75647F96CF13}"/>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6" name="Freeform 22">
              <a:extLst>
                <a:ext uri="{FF2B5EF4-FFF2-40B4-BE49-F238E27FC236}">
                  <a16:creationId xmlns:a16="http://schemas.microsoft.com/office/drawing/2014/main" id="{1AE5E43F-FAC4-4828-A6E3-23F32CF52A87}"/>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7" name="Line 23">
              <a:extLst>
                <a:ext uri="{FF2B5EF4-FFF2-40B4-BE49-F238E27FC236}">
                  <a16:creationId xmlns:a16="http://schemas.microsoft.com/office/drawing/2014/main" id="{D4037741-C096-4964-981B-A5C33536181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grpSp>
      <p:grpSp>
        <p:nvGrpSpPr>
          <p:cNvPr id="38" name="Group 37">
            <a:extLst>
              <a:ext uri="{FF2B5EF4-FFF2-40B4-BE49-F238E27FC236}">
                <a16:creationId xmlns:a16="http://schemas.microsoft.com/office/drawing/2014/main" id="{EB8D1E95-73A0-40C0-A7C0-C82FB1116A22}"/>
              </a:ext>
            </a:extLst>
          </p:cNvPr>
          <p:cNvGrpSpPr/>
          <p:nvPr/>
        </p:nvGrpSpPr>
        <p:grpSpPr>
          <a:xfrm>
            <a:off x="509324" y="3581583"/>
            <a:ext cx="377858" cy="377856"/>
            <a:chOff x="2335756" y="3558618"/>
            <a:chExt cx="318744" cy="318742"/>
          </a:xfrm>
        </p:grpSpPr>
        <p:sp>
          <p:nvSpPr>
            <p:cNvPr id="39" name="Freeform 22">
              <a:extLst>
                <a:ext uri="{FF2B5EF4-FFF2-40B4-BE49-F238E27FC236}">
                  <a16:creationId xmlns:a16="http://schemas.microsoft.com/office/drawing/2014/main" id="{B9E605E0-EC13-464E-BE80-85F4D315786F}"/>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p:nvSpPr>
            <p:cNvPr id="40" name="Oval 39">
              <a:extLst>
                <a:ext uri="{FF2B5EF4-FFF2-40B4-BE49-F238E27FC236}">
                  <a16:creationId xmlns:a16="http://schemas.microsoft.com/office/drawing/2014/main" id="{8FEF6C1A-AD27-40C3-B203-E8812479EF8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
        <p:nvSpPr>
          <p:cNvPr id="41" name="arrow_24">
            <a:extLst>
              <a:ext uri="{FF2B5EF4-FFF2-40B4-BE49-F238E27FC236}">
                <a16:creationId xmlns:a16="http://schemas.microsoft.com/office/drawing/2014/main" id="{4DC6598F-C4DE-4358-B2AF-C5C002575A83}"/>
              </a:ext>
            </a:extLst>
          </p:cNvPr>
          <p:cNvSpPr>
            <a:spLocks noChangeAspect="1" noEditPoints="1"/>
          </p:cNvSpPr>
          <p:nvPr/>
        </p:nvSpPr>
        <p:spPr bwMode="auto">
          <a:xfrm>
            <a:off x="523314" y="1401416"/>
            <a:ext cx="399858" cy="305374"/>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dirty="0"/>
          </a:p>
        </p:txBody>
      </p:sp>
      <p:pic>
        <p:nvPicPr>
          <p:cNvPr id="42" name="Picture 41">
            <a:extLst>
              <a:ext uri="{FF2B5EF4-FFF2-40B4-BE49-F238E27FC236}">
                <a16:creationId xmlns:a16="http://schemas.microsoft.com/office/drawing/2014/main" id="{D64FF969-E80C-4D3F-A7A1-06F05CF69A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546" y="2087893"/>
            <a:ext cx="393645" cy="419040"/>
          </a:xfrm>
          <a:prstGeom prst="rect">
            <a:avLst/>
          </a:prstGeom>
        </p:spPr>
      </p:pic>
      <p:cxnSp>
        <p:nvCxnSpPr>
          <p:cNvPr id="43" name="Straight Arrow Connector 42">
            <a:extLst>
              <a:ext uri="{FF2B5EF4-FFF2-40B4-BE49-F238E27FC236}">
                <a16:creationId xmlns:a16="http://schemas.microsoft.com/office/drawing/2014/main" id="{86857419-694A-4F19-93A6-F7E452E9FEFE}"/>
              </a:ext>
            </a:extLst>
          </p:cNvPr>
          <p:cNvCxnSpPr>
            <a:cxnSpLocks/>
          </p:cNvCxnSpPr>
          <p:nvPr/>
        </p:nvCxnSpPr>
        <p:spPr>
          <a:xfrm flipV="1">
            <a:off x="8910004" y="2945410"/>
            <a:ext cx="0" cy="837505"/>
          </a:xfrm>
          <a:prstGeom prst="straightConnector1">
            <a:avLst/>
          </a:prstGeom>
          <a:ln w="1270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Picture 43" descr="A close up of a sign&#10;&#10;Description automatically generated">
            <a:extLst>
              <a:ext uri="{FF2B5EF4-FFF2-40B4-BE49-F238E27FC236}">
                <a16:creationId xmlns:a16="http://schemas.microsoft.com/office/drawing/2014/main" id="{BAE509EB-C892-4046-9EF8-ECFD565117E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53444" y="4610765"/>
            <a:ext cx="3445727" cy="1751200"/>
          </a:xfrm>
          <a:prstGeom prst="rect">
            <a:avLst/>
          </a:prstGeom>
        </p:spPr>
      </p:pic>
    </p:spTree>
    <p:extLst>
      <p:ext uri="{BB962C8B-B14F-4D97-AF65-F5344CB8AC3E}">
        <p14:creationId xmlns:p14="http://schemas.microsoft.com/office/powerpoint/2010/main" val="516492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1000"/>
                                        <p:tgtEl>
                                          <p:spTgt spid="43"/>
                                        </p:tgtEl>
                                      </p:cBhvr>
                                    </p:animEffect>
                                  </p:childTnLst>
                                </p:cTn>
                              </p:par>
                            </p:childTnLst>
                          </p:cTn>
                        </p:par>
                        <p:par>
                          <p:cTn id="8" fill="hold">
                            <p:stCondLst>
                              <p:cond delay="1500"/>
                            </p:stCondLst>
                            <p:childTnLst>
                              <p:par>
                                <p:cTn id="9" presetID="1"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22" presetClass="entr" presetSubtype="1"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par>
                                <p:cTn id="16" presetID="9" presetClass="emph" presetSubtype="0" nodeType="withEffect">
                                  <p:stCondLst>
                                    <p:cond delay="0"/>
                                  </p:stCondLst>
                                  <p:childTnLst>
                                    <p:set>
                                      <p:cBhvr>
                                        <p:cTn id="17" dur="indefinite"/>
                                        <p:tgtEl>
                                          <p:spTgt spid="9"/>
                                        </p:tgtEl>
                                        <p:attrNameLst>
                                          <p:attrName>style.opacity</p:attrName>
                                        </p:attrNameLst>
                                      </p:cBhvr>
                                      <p:to>
                                        <p:strVal val="0.25"/>
                                      </p:to>
                                    </p:set>
                                    <p:animEffect filter="image" prLst="opacity: 0.25">
                                      <p:cBhvr rctx="IE">
                                        <p:cTn id="18" dur="indefinite"/>
                                        <p:tgtEl>
                                          <p:spTgt spid="9"/>
                                        </p:tgtEl>
                                      </p:cBhvr>
                                    </p:animEffect>
                                  </p:childTnLst>
                                </p:cTn>
                              </p:par>
                              <p:par>
                                <p:cTn id="19" presetID="22" presetClass="exit" presetSubtype="1" fill="hold" nodeType="withEffect">
                                  <p:stCondLst>
                                    <p:cond delay="0"/>
                                  </p:stCondLst>
                                  <p:childTnLst>
                                    <p:animEffect transition="out" filter="wipe(up)">
                                      <p:cBhvr>
                                        <p:cTn id="20" dur="500"/>
                                        <p:tgtEl>
                                          <p:spTgt spid="43"/>
                                        </p:tgtEl>
                                      </p:cBhvr>
                                    </p:animEffect>
                                    <p:set>
                                      <p:cBhvr>
                                        <p:cTn id="21" dur="1" fill="hold">
                                          <p:stCondLst>
                                            <p:cond delay="499"/>
                                          </p:stCondLst>
                                        </p:cTn>
                                        <p:tgtEl>
                                          <p:spTgt spid="43"/>
                                        </p:tgtEl>
                                        <p:attrNameLst>
                                          <p:attrName>style.visibility</p:attrName>
                                        </p:attrNameLst>
                                      </p:cBhvr>
                                      <p:to>
                                        <p:strVal val="hidden"/>
                                      </p:to>
                                    </p:set>
                                  </p:childTnLst>
                                </p:cTn>
                              </p:par>
                              <p:par>
                                <p:cTn id="22" presetID="1"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9A2FE-8CC5-4777-ACCD-80A364F2B966}"/>
              </a:ext>
            </a:extLst>
          </p:cNvPr>
          <p:cNvSpPr>
            <a:spLocks noGrp="1"/>
          </p:cNvSpPr>
          <p:nvPr>
            <p:ph type="title"/>
          </p:nvPr>
        </p:nvSpPr>
        <p:spPr/>
        <p:txBody>
          <a:bodyPr/>
          <a:lstStyle/>
          <a:p>
            <a:r>
              <a:rPr lang="en-US" dirty="0"/>
              <a:t>Containers Explained</a:t>
            </a:r>
          </a:p>
        </p:txBody>
      </p:sp>
      <p:graphicFrame>
        <p:nvGraphicFramePr>
          <p:cNvPr id="4" name="Diagram 3">
            <a:extLst>
              <a:ext uri="{FF2B5EF4-FFF2-40B4-BE49-F238E27FC236}">
                <a16:creationId xmlns:a16="http://schemas.microsoft.com/office/drawing/2014/main" id="{58232748-CA48-44BD-810D-647BA61293B1}"/>
              </a:ext>
            </a:extLst>
          </p:cNvPr>
          <p:cNvGraphicFramePr/>
          <p:nvPr>
            <p:extLst>
              <p:ext uri="{D42A27DB-BD31-4B8C-83A1-F6EECF244321}">
                <p14:modId xmlns:p14="http://schemas.microsoft.com/office/powerpoint/2010/main" val="3810793505"/>
              </p:ext>
            </p:extLst>
          </p:nvPr>
        </p:nvGraphicFramePr>
        <p:xfrm>
          <a:off x="586740" y="1717288"/>
          <a:ext cx="11136909" cy="4683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28C5BCF4-F4F2-42AB-AB1D-C1EF4637206A}"/>
              </a:ext>
            </a:extLst>
          </p:cNvPr>
          <p:cNvGraphicFramePr/>
          <p:nvPr>
            <p:extLst>
              <p:ext uri="{D42A27DB-BD31-4B8C-83A1-F6EECF244321}">
                <p14:modId xmlns:p14="http://schemas.microsoft.com/office/powerpoint/2010/main" val="3434343635"/>
              </p:ext>
            </p:extLst>
          </p:nvPr>
        </p:nvGraphicFramePr>
        <p:xfrm>
          <a:off x="7196255" y="104078"/>
          <a:ext cx="4527394" cy="1330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FE9401D3-768A-4894-9F4D-48AB264717A6}"/>
              </a:ext>
            </a:extLst>
          </p:cNvPr>
          <p:cNvSpPr/>
          <p:nvPr/>
        </p:nvSpPr>
        <p:spPr bwMode="auto">
          <a:xfrm>
            <a:off x="2862146" y="2416097"/>
            <a:ext cx="1129991" cy="34197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56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dgm id="{58E0E3DC-DE7B-4306-B6DE-99EFD7E06822}"/>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CB54E232-A062-433F-8704-9A51A4E20B7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1D8D2521-0363-4DBB-BE31-514C0BE79BBD}"/>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dgm id="{00F54136-19DD-4DE9-949D-37C7111CF126}"/>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BAF74BD-8F95-4592-97C5-9142AFBD218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5" grpId="0">
        <p:bldAsOne/>
      </p:bldGraphic>
      <p:bldP spid="6"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0" y="222716"/>
            <a:ext cx="11018520" cy="553998"/>
          </a:xfrm>
        </p:spPr>
        <p:txBody>
          <a:bodyPr/>
          <a:lstStyle/>
          <a:p>
            <a:r>
              <a:rPr lang="en-US" dirty="0"/>
              <a:t>SQL Server Images</a:t>
            </a:r>
          </a:p>
        </p:txBody>
      </p:sp>
      <p:sp>
        <p:nvSpPr>
          <p:cNvPr id="6" name="Text Placeholder 5"/>
          <p:cNvSpPr>
            <a:spLocks noGrp="1"/>
          </p:cNvSpPr>
          <p:nvPr>
            <p:ph type="body" sz="quarter" idx="10"/>
          </p:nvPr>
        </p:nvSpPr>
        <p:spPr>
          <a:xfrm>
            <a:off x="586740" y="873157"/>
            <a:ext cx="11018520" cy="5453801"/>
          </a:xfrm>
        </p:spPr>
        <p:txBody>
          <a:bodyPr/>
          <a:lstStyle/>
          <a:p>
            <a:r>
              <a:rPr lang="en-US" dirty="0"/>
              <a:t>Public Registries</a:t>
            </a:r>
          </a:p>
          <a:p>
            <a:pPr lvl="1"/>
            <a:r>
              <a:rPr lang="en-US" dirty="0"/>
              <a:t>Docker Hub (</a:t>
            </a:r>
            <a:r>
              <a:rPr lang="en-US" dirty="0">
                <a:hlinkClick r:id="rId3"/>
              </a:rPr>
              <a:t>https://hub.docker.com</a:t>
            </a:r>
            <a:r>
              <a:rPr lang="en-US" dirty="0"/>
              <a:t>)</a:t>
            </a:r>
          </a:p>
          <a:p>
            <a:pPr lvl="1"/>
            <a:r>
              <a:rPr lang="en-US" dirty="0"/>
              <a:t>Red Hat Container Catalog (</a:t>
            </a:r>
            <a:r>
              <a:rPr lang="en-US" dirty="0">
                <a:hlinkClick r:id="rId4"/>
              </a:rPr>
              <a:t>https://access.redhat.com/containers</a:t>
            </a:r>
            <a:r>
              <a:rPr lang="en-US" dirty="0"/>
              <a:t>)</a:t>
            </a:r>
          </a:p>
          <a:p>
            <a:pPr lvl="1"/>
            <a:r>
              <a:rPr lang="en-US" dirty="0"/>
              <a:t>The Microsoft Container Registry (</a:t>
            </a:r>
            <a:r>
              <a:rPr lang="en-US" dirty="0">
                <a:hlinkClick r:id="rId5"/>
              </a:rPr>
              <a:t>mcr.microsoft.com</a:t>
            </a:r>
            <a:r>
              <a:rPr lang="en-US" dirty="0"/>
              <a:t>)</a:t>
            </a:r>
          </a:p>
          <a:p>
            <a:endParaRPr lang="en-US" dirty="0"/>
          </a:p>
          <a:p>
            <a:r>
              <a:rPr lang="en-US" dirty="0"/>
              <a:t>SQL Server 2017</a:t>
            </a:r>
          </a:p>
          <a:p>
            <a:pPr lvl="1"/>
            <a:r>
              <a:rPr lang="en-US" dirty="0"/>
              <a:t>Ubuntu based Images</a:t>
            </a:r>
          </a:p>
          <a:p>
            <a:pPr lvl="1"/>
            <a:r>
              <a:rPr lang="en-US" dirty="0"/>
              <a:t>RTM plus each CU and GDR has separate image</a:t>
            </a:r>
          </a:p>
          <a:p>
            <a:pPr lvl="1"/>
            <a:r>
              <a:rPr lang="en-US" dirty="0"/>
              <a:t>Includes mssql-server and mssql-tools packages</a:t>
            </a:r>
          </a:p>
          <a:p>
            <a:endParaRPr lang="en-US" dirty="0"/>
          </a:p>
          <a:p>
            <a:r>
              <a:rPr lang="en-US" dirty="0"/>
              <a:t>SQL Server 2019 Preview images</a:t>
            </a:r>
          </a:p>
          <a:p>
            <a:pPr lvl="1"/>
            <a:r>
              <a:rPr lang="en-US" dirty="0"/>
              <a:t>Ubuntu and RHEL based images</a:t>
            </a:r>
          </a:p>
          <a:p>
            <a:pPr lvl="1"/>
            <a:r>
              <a:rPr lang="en-US" dirty="0"/>
              <a:t>Includes mssql-server and mssql-tools</a:t>
            </a:r>
          </a:p>
        </p:txBody>
      </p:sp>
      <p:graphicFrame>
        <p:nvGraphicFramePr>
          <p:cNvPr id="3" name="Diagram 2">
            <a:extLst>
              <a:ext uri="{FF2B5EF4-FFF2-40B4-BE49-F238E27FC236}">
                <a16:creationId xmlns:a16="http://schemas.microsoft.com/office/drawing/2014/main" id="{875B29BD-31E4-4F3C-A22B-B83DF6D187FC}"/>
              </a:ext>
            </a:extLst>
          </p:cNvPr>
          <p:cNvGraphicFramePr/>
          <p:nvPr/>
        </p:nvGraphicFramePr>
        <p:xfrm>
          <a:off x="9186236" y="322865"/>
          <a:ext cx="2887696" cy="62122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Arrow: Curved Up 1">
            <a:extLst>
              <a:ext uri="{FF2B5EF4-FFF2-40B4-BE49-F238E27FC236}">
                <a16:creationId xmlns:a16="http://schemas.microsoft.com/office/drawing/2014/main" id="{5ED3CBD0-5AA9-467C-8E58-9243A1E7FF9A}"/>
              </a:ext>
            </a:extLst>
          </p:cNvPr>
          <p:cNvSpPr/>
          <p:nvPr/>
        </p:nvSpPr>
        <p:spPr bwMode="auto">
          <a:xfrm rot="5400000">
            <a:off x="-132303" y="1641637"/>
            <a:ext cx="1055914" cy="555172"/>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Curved Up 6">
            <a:extLst>
              <a:ext uri="{FF2B5EF4-FFF2-40B4-BE49-F238E27FC236}">
                <a16:creationId xmlns:a16="http://schemas.microsoft.com/office/drawing/2014/main" id="{293557B7-E214-4A58-8556-58A7220B1CDD}"/>
              </a:ext>
            </a:extLst>
          </p:cNvPr>
          <p:cNvSpPr/>
          <p:nvPr/>
        </p:nvSpPr>
        <p:spPr bwMode="auto">
          <a:xfrm rot="5400000">
            <a:off x="258311" y="1717150"/>
            <a:ext cx="447685" cy="555173"/>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47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2" y="207099"/>
            <a:ext cx="11018520" cy="553998"/>
          </a:xfrm>
        </p:spPr>
        <p:txBody>
          <a:bodyPr/>
          <a:lstStyle/>
          <a:p>
            <a:r>
              <a:rPr lang="en-US" dirty="0"/>
              <a:t>Running a SQL Server Container</a:t>
            </a:r>
          </a:p>
        </p:txBody>
      </p:sp>
      <p:sp>
        <p:nvSpPr>
          <p:cNvPr id="6" name="Text Placeholder 5"/>
          <p:cNvSpPr>
            <a:spLocks noGrp="1"/>
          </p:cNvSpPr>
          <p:nvPr>
            <p:ph type="body" sz="quarter" idx="10"/>
          </p:nvPr>
        </p:nvSpPr>
        <p:spPr>
          <a:xfrm>
            <a:off x="586739" y="987945"/>
            <a:ext cx="11018520" cy="5613845"/>
          </a:xfrm>
        </p:spPr>
        <p:txBody>
          <a:bodyPr/>
          <a:lstStyle/>
          <a:p>
            <a:r>
              <a:rPr lang="en-US" sz="2400" b="1" dirty="0"/>
              <a:t>sudo docker run</a:t>
            </a:r>
          </a:p>
          <a:p>
            <a:endParaRPr lang="en-US" sz="2400" b="1" dirty="0"/>
          </a:p>
          <a:p>
            <a:r>
              <a:rPr lang="en-US" sz="2000" b="1" dirty="0"/>
              <a:t> </a:t>
            </a:r>
            <a:r>
              <a:rPr lang="en-US" sz="2000" dirty="0"/>
              <a:t>-e 'ACCEPT_EULA=Y' -e 'MSSQL_SA_PASSWORD=Sql2017isfast’ </a:t>
            </a:r>
          </a:p>
          <a:p>
            <a:endParaRPr lang="en-US" sz="2000" dirty="0"/>
          </a:p>
          <a:p>
            <a:r>
              <a:rPr lang="en-US" sz="2000" dirty="0"/>
              <a:t>-p 1401:1433 </a:t>
            </a:r>
          </a:p>
          <a:p>
            <a:endParaRPr lang="en-US" sz="2000" dirty="0"/>
          </a:p>
          <a:p>
            <a:r>
              <a:rPr lang="en-US" sz="2000" dirty="0"/>
              <a:t>-v sqlvolume:/var/opt/mssql</a:t>
            </a:r>
          </a:p>
          <a:p>
            <a:endParaRPr lang="en-US" sz="2000" dirty="0"/>
          </a:p>
          <a:p>
            <a:r>
              <a:rPr lang="en-US" sz="2000" dirty="0"/>
              <a:t>--hostname sql1 </a:t>
            </a:r>
          </a:p>
          <a:p>
            <a:endParaRPr lang="en-US" sz="2000" dirty="0"/>
          </a:p>
          <a:p>
            <a:r>
              <a:rPr lang="en-US" sz="2000" dirty="0"/>
              <a:t>--name sql1 </a:t>
            </a:r>
          </a:p>
          <a:p>
            <a:endParaRPr lang="en-US" sz="2000" dirty="0"/>
          </a:p>
          <a:p>
            <a:r>
              <a:rPr lang="en-US" sz="2000" dirty="0"/>
              <a:t>-d</a:t>
            </a:r>
          </a:p>
          <a:p>
            <a:endParaRPr lang="en-US" sz="2000" dirty="0"/>
          </a:p>
          <a:p>
            <a:r>
              <a:rPr lang="en-US" sz="2000" dirty="0"/>
              <a:t>mcr.microsoft.com/mssql/server:2017-CU8</a:t>
            </a:r>
          </a:p>
        </p:txBody>
      </p:sp>
      <p:sp>
        <p:nvSpPr>
          <p:cNvPr id="2" name="Thought Bubble: Cloud 1">
            <a:extLst>
              <a:ext uri="{FF2B5EF4-FFF2-40B4-BE49-F238E27FC236}">
                <a16:creationId xmlns:a16="http://schemas.microsoft.com/office/drawing/2014/main" id="{86526EBE-1A04-4E60-A0F0-2644FA6C341F}"/>
              </a:ext>
            </a:extLst>
          </p:cNvPr>
          <p:cNvSpPr/>
          <p:nvPr/>
        </p:nvSpPr>
        <p:spPr bwMode="auto">
          <a:xfrm>
            <a:off x="7943655" y="353411"/>
            <a:ext cx="3195484" cy="1042220"/>
          </a:xfrm>
          <a:prstGeom prst="cloudCallout">
            <a:avLst>
              <a:gd name="adj1" fmla="val -108525"/>
              <a:gd name="adj2" fmla="val 95519"/>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3"/>
              </a:rPr>
              <a:t>environment variables </a:t>
            </a:r>
            <a:r>
              <a:rPr lang="en-US" sz="1600" dirty="0">
                <a:gradFill>
                  <a:gsLst>
                    <a:gs pos="40075">
                      <a:srgbClr val="FFFFFF"/>
                    </a:gs>
                    <a:gs pos="30000">
                      <a:srgbClr val="FFFFFF"/>
                    </a:gs>
                  </a:gsLst>
                  <a:lin ang="5400000" scaled="0"/>
                </a:gradFill>
              </a:rPr>
              <a:t>(Ex. enable SQLAgent)</a:t>
            </a:r>
          </a:p>
        </p:txBody>
      </p:sp>
      <p:sp>
        <p:nvSpPr>
          <p:cNvPr id="5" name="Thought Bubble: Cloud 4">
            <a:extLst>
              <a:ext uri="{FF2B5EF4-FFF2-40B4-BE49-F238E27FC236}">
                <a16:creationId xmlns:a16="http://schemas.microsoft.com/office/drawing/2014/main" id="{784045C8-5FE0-4ED2-B185-F08DC4489F6C}"/>
              </a:ext>
            </a:extLst>
          </p:cNvPr>
          <p:cNvSpPr/>
          <p:nvPr/>
        </p:nvSpPr>
        <p:spPr bwMode="auto">
          <a:xfrm>
            <a:off x="8612764" y="2063773"/>
            <a:ext cx="3195484" cy="1042220"/>
          </a:xfrm>
          <a:prstGeom prst="cloudCallout">
            <a:avLst>
              <a:gd name="adj1" fmla="val -251842"/>
              <a:gd name="adj2" fmla="val 701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 connects to port 1401</a:t>
            </a:r>
          </a:p>
        </p:txBody>
      </p:sp>
      <p:sp>
        <p:nvSpPr>
          <p:cNvPr id="7" name="Thought Bubble: Cloud 6">
            <a:extLst>
              <a:ext uri="{FF2B5EF4-FFF2-40B4-BE49-F238E27FC236}">
                <a16:creationId xmlns:a16="http://schemas.microsoft.com/office/drawing/2014/main" id="{F62A6FBB-4E1F-4775-ABD0-4718243C75E4}"/>
              </a:ext>
            </a:extLst>
          </p:cNvPr>
          <p:cNvSpPr/>
          <p:nvPr/>
        </p:nvSpPr>
        <p:spPr bwMode="auto">
          <a:xfrm>
            <a:off x="8610936" y="3172073"/>
            <a:ext cx="3289441" cy="1159869"/>
          </a:xfrm>
          <a:prstGeom prst="cloudCallout">
            <a:avLst>
              <a:gd name="adj1" fmla="val -192285"/>
              <a:gd name="adj2" fmla="val -2559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p default directory to host volume for persisted storage</a:t>
            </a:r>
          </a:p>
        </p:txBody>
      </p:sp>
      <p:sp>
        <p:nvSpPr>
          <p:cNvPr id="8" name="Thought Bubble: Cloud 7">
            <a:extLst>
              <a:ext uri="{FF2B5EF4-FFF2-40B4-BE49-F238E27FC236}">
                <a16:creationId xmlns:a16="http://schemas.microsoft.com/office/drawing/2014/main" id="{CB5AB940-7CB7-4A73-B175-CE6C6E9FA1C7}"/>
              </a:ext>
            </a:extLst>
          </p:cNvPr>
          <p:cNvSpPr/>
          <p:nvPr/>
        </p:nvSpPr>
        <p:spPr bwMode="auto">
          <a:xfrm>
            <a:off x="5189920" y="4729380"/>
            <a:ext cx="3195484" cy="422510"/>
          </a:xfrm>
          <a:prstGeom prst="cloudCallout">
            <a:avLst>
              <a:gd name="adj1" fmla="val -164146"/>
              <a:gd name="adj2" fmla="val -3265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Use with docker client</a:t>
            </a:r>
          </a:p>
        </p:txBody>
      </p:sp>
      <p:sp>
        <p:nvSpPr>
          <p:cNvPr id="9" name="Thought Bubble: Cloud 8">
            <a:extLst>
              <a:ext uri="{FF2B5EF4-FFF2-40B4-BE49-F238E27FC236}">
                <a16:creationId xmlns:a16="http://schemas.microsoft.com/office/drawing/2014/main" id="{12E1DD41-01B5-40C4-B576-A6A4A5835EBF}"/>
              </a:ext>
            </a:extLst>
          </p:cNvPr>
          <p:cNvSpPr/>
          <p:nvPr/>
        </p:nvSpPr>
        <p:spPr bwMode="auto">
          <a:xfrm>
            <a:off x="6655332" y="5230640"/>
            <a:ext cx="4726877" cy="637405"/>
          </a:xfrm>
          <a:prstGeom prst="cloudCallout">
            <a:avLst>
              <a:gd name="adj1" fmla="val -170147"/>
              <a:gd name="adj2" fmla="val 19325"/>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Run process in background. Remove this to debug</a:t>
            </a:r>
          </a:p>
        </p:txBody>
      </p:sp>
      <p:sp>
        <p:nvSpPr>
          <p:cNvPr id="10" name="Thought Bubble: Cloud 9">
            <a:extLst>
              <a:ext uri="{FF2B5EF4-FFF2-40B4-BE49-F238E27FC236}">
                <a16:creationId xmlns:a16="http://schemas.microsoft.com/office/drawing/2014/main" id="{B65AEDD7-8A6B-40A8-A064-0E969B92BC9A}"/>
              </a:ext>
            </a:extLst>
          </p:cNvPr>
          <p:cNvSpPr/>
          <p:nvPr/>
        </p:nvSpPr>
        <p:spPr bwMode="auto">
          <a:xfrm>
            <a:off x="9235382" y="5946796"/>
            <a:ext cx="2517436" cy="637405"/>
          </a:xfrm>
          <a:prstGeom prst="cloudCallout">
            <a:avLst>
              <a:gd name="adj1" fmla="val -203261"/>
              <a:gd name="adj2" fmla="val 21201"/>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 2017 CU8 image</a:t>
            </a:r>
          </a:p>
        </p:txBody>
      </p:sp>
      <p:sp>
        <p:nvSpPr>
          <p:cNvPr id="11" name="Thought Bubble: Cloud 10">
            <a:extLst>
              <a:ext uri="{FF2B5EF4-FFF2-40B4-BE49-F238E27FC236}">
                <a16:creationId xmlns:a16="http://schemas.microsoft.com/office/drawing/2014/main" id="{53F7EDE2-4CBB-420F-84B4-D46FE2E5093C}"/>
              </a:ext>
            </a:extLst>
          </p:cNvPr>
          <p:cNvSpPr/>
          <p:nvPr/>
        </p:nvSpPr>
        <p:spPr bwMode="auto">
          <a:xfrm>
            <a:off x="5558134" y="3825184"/>
            <a:ext cx="2635706" cy="637405"/>
          </a:xfrm>
          <a:prstGeom prst="cloudCallout">
            <a:avLst>
              <a:gd name="adj1" fmla="val -164602"/>
              <a:gd name="adj2" fmla="val 2021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ERVERNAME</a:t>
            </a:r>
          </a:p>
        </p:txBody>
      </p:sp>
    </p:spTree>
    <p:extLst>
      <p:ext uri="{BB962C8B-B14F-4D97-AF65-F5344CB8AC3E}">
        <p14:creationId xmlns:p14="http://schemas.microsoft.com/office/powerpoint/2010/main" val="311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7" grpId="0" animBg="1"/>
      <p:bldP spid="8" grpId="0" animBg="1"/>
      <p:bldP spid="9" grpId="0" animBg="1"/>
      <p:bldP spid="10" grpId="0" animBg="1"/>
      <p:bldP spid="1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do I update a SQL Server Container?</a:t>
            </a:r>
          </a:p>
        </p:txBody>
      </p:sp>
      <p:sp>
        <p:nvSpPr>
          <p:cNvPr id="6" name="Text Placeholder 5"/>
          <p:cNvSpPr>
            <a:spLocks noGrp="1"/>
          </p:cNvSpPr>
          <p:nvPr>
            <p:ph type="body" sz="quarter" idx="10"/>
          </p:nvPr>
        </p:nvSpPr>
        <p:spPr>
          <a:xfrm>
            <a:off x="586389" y="1221657"/>
            <a:ext cx="11089795" cy="5244513"/>
          </a:xfrm>
        </p:spPr>
        <p:txBody>
          <a:bodyPr/>
          <a:lstStyle/>
          <a:p>
            <a:r>
              <a:rPr lang="en-US" sz="2400" dirty="0"/>
              <a:t>Interacting with Data	</a:t>
            </a:r>
          </a:p>
          <a:p>
            <a:r>
              <a:rPr lang="en-US" sz="2400" dirty="0"/>
              <a:t>	Use your normal T-SQL and app to modify data</a:t>
            </a:r>
          </a:p>
          <a:p>
            <a:r>
              <a:rPr lang="en-US" sz="2400" dirty="0"/>
              <a:t>	</a:t>
            </a:r>
            <a:r>
              <a:rPr lang="en-US" sz="2400" i="1" dirty="0"/>
              <a:t>Copy</a:t>
            </a:r>
            <a:r>
              <a:rPr lang="en-US" sz="2400" dirty="0"/>
              <a:t> into the container a database backup and restore it</a:t>
            </a:r>
          </a:p>
          <a:p>
            <a:r>
              <a:rPr lang="en-US" sz="2400" dirty="0"/>
              <a:t>	Use volumes or your changes will be lost if container removed</a:t>
            </a:r>
          </a:p>
          <a:p>
            <a:endParaRPr lang="en-US" sz="2400" dirty="0"/>
          </a:p>
          <a:p>
            <a:endParaRPr lang="en-US" sz="2400" dirty="0"/>
          </a:p>
          <a:p>
            <a:endParaRPr lang="en-US" sz="2400" dirty="0"/>
          </a:p>
          <a:p>
            <a:r>
              <a:rPr lang="en-US" sz="2400" dirty="0"/>
              <a:t>Configuration changes for SQL Server</a:t>
            </a:r>
          </a:p>
          <a:p>
            <a:r>
              <a:rPr lang="en-US" sz="2400" dirty="0"/>
              <a:t>	Use the </a:t>
            </a:r>
            <a:r>
              <a:rPr lang="en-US" sz="2400" dirty="0">
                <a:hlinkClick r:id="rId3"/>
              </a:rPr>
              <a:t>environment variables </a:t>
            </a:r>
            <a:r>
              <a:rPr lang="en-US" sz="2400" dirty="0"/>
              <a:t>(mssql-conf)	</a:t>
            </a:r>
          </a:p>
          <a:p>
            <a:r>
              <a:rPr lang="en-US" sz="2400" dirty="0"/>
              <a:t>	Modify the container directly</a:t>
            </a:r>
          </a:p>
          <a:p>
            <a:r>
              <a:rPr lang="en-US" sz="2400" dirty="0"/>
              <a:t>	Build a new image with your scripts to make changes</a:t>
            </a:r>
          </a:p>
          <a:p>
            <a:r>
              <a:rPr lang="en-US" sz="2400" dirty="0"/>
              <a:t>	</a:t>
            </a:r>
          </a:p>
        </p:txBody>
      </p:sp>
      <p:sp>
        <p:nvSpPr>
          <p:cNvPr id="4" name="Rectangle: Rounded Corners 3">
            <a:extLst>
              <a:ext uri="{FF2B5EF4-FFF2-40B4-BE49-F238E27FC236}">
                <a16:creationId xmlns:a16="http://schemas.microsoft.com/office/drawing/2014/main" id="{C2D79883-8795-4B2C-A9A5-369892E0CF46}"/>
              </a:ext>
            </a:extLst>
          </p:cNvPr>
          <p:cNvSpPr/>
          <p:nvPr/>
        </p:nvSpPr>
        <p:spPr bwMode="auto">
          <a:xfrm>
            <a:off x="8001288" y="4757906"/>
            <a:ext cx="3942735" cy="82065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p_configure</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ALTER SERVER CONFIGURATION</a:t>
            </a:r>
          </a:p>
        </p:txBody>
      </p:sp>
      <p:cxnSp>
        <p:nvCxnSpPr>
          <p:cNvPr id="8" name="Straight Arrow Connector 7">
            <a:extLst>
              <a:ext uri="{FF2B5EF4-FFF2-40B4-BE49-F238E27FC236}">
                <a16:creationId xmlns:a16="http://schemas.microsoft.com/office/drawing/2014/main" id="{4131B1D5-D595-48E4-BA51-FCE9DF5019E0}"/>
              </a:ext>
            </a:extLst>
          </p:cNvPr>
          <p:cNvCxnSpPr>
            <a:cxnSpLocks/>
          </p:cNvCxnSpPr>
          <p:nvPr/>
        </p:nvCxnSpPr>
        <p:spPr>
          <a:xfrm flipV="1">
            <a:off x="5466302" y="5168235"/>
            <a:ext cx="2534986" cy="2737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91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your own image</a:t>
            </a:r>
          </a:p>
        </p:txBody>
      </p:sp>
      <p:sp>
        <p:nvSpPr>
          <p:cNvPr id="6" name="Text Placeholder 5"/>
          <p:cNvSpPr>
            <a:spLocks noGrp="1"/>
          </p:cNvSpPr>
          <p:nvPr>
            <p:ph type="body" sz="quarter" idx="10"/>
          </p:nvPr>
        </p:nvSpPr>
        <p:spPr>
          <a:xfrm>
            <a:off x="586390" y="1434370"/>
            <a:ext cx="11018520" cy="1465016"/>
          </a:xfrm>
        </p:spPr>
        <p:txBody>
          <a:bodyPr/>
          <a:lstStyle/>
          <a:p>
            <a:r>
              <a:rPr lang="en-US" dirty="0"/>
              <a:t>FROM mcr.microsoft.com/mssql/server:2017-latest</a:t>
            </a:r>
          </a:p>
          <a:p>
            <a:r>
              <a:rPr lang="en-US" dirty="0"/>
              <a:t>COPY ./yourbackup.bak /var/opt/mssql/data/yourbackup.bak</a:t>
            </a:r>
          </a:p>
          <a:p>
            <a:r>
              <a:rPr lang="en-US" dirty="0"/>
              <a:t>CMD ["/opt/mssql/bin/sqlservr"]</a:t>
            </a:r>
          </a:p>
        </p:txBody>
      </p:sp>
      <p:sp>
        <p:nvSpPr>
          <p:cNvPr id="2" name="Thought Bubble: Cloud 1">
            <a:extLst>
              <a:ext uri="{FF2B5EF4-FFF2-40B4-BE49-F238E27FC236}">
                <a16:creationId xmlns:a16="http://schemas.microsoft.com/office/drawing/2014/main" id="{C49968AE-3A77-46CE-BCAB-C3C89ED4EB9F}"/>
              </a:ext>
            </a:extLst>
          </p:cNvPr>
          <p:cNvSpPr/>
          <p:nvPr/>
        </p:nvSpPr>
        <p:spPr bwMode="auto">
          <a:xfrm>
            <a:off x="8060671" y="328970"/>
            <a:ext cx="3989070" cy="682228"/>
          </a:xfrm>
          <a:prstGeom prst="cloudCallout">
            <a:avLst>
              <a:gd name="adj1" fmla="val -30174"/>
              <a:gd name="adj2" fmla="val 14647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Then RESTORE the backup after you start the container</a:t>
            </a:r>
          </a:p>
        </p:txBody>
      </p:sp>
      <p:sp>
        <p:nvSpPr>
          <p:cNvPr id="5" name="Text Placeholder 5">
            <a:extLst>
              <a:ext uri="{FF2B5EF4-FFF2-40B4-BE49-F238E27FC236}">
                <a16:creationId xmlns:a16="http://schemas.microsoft.com/office/drawing/2014/main" id="{6B485D60-1BD4-4646-9634-80EBD81D71CF}"/>
              </a:ext>
            </a:extLst>
          </p:cNvPr>
          <p:cNvSpPr txBox="1">
            <a:spLocks/>
          </p:cNvSpPr>
          <p:nvPr/>
        </p:nvSpPr>
        <p:spPr>
          <a:xfrm>
            <a:off x="586390" y="4149090"/>
            <a:ext cx="11018520" cy="16989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FROM mcr.microsoft.com/mssql/server:2017-latest</a:t>
            </a:r>
          </a:p>
          <a:p>
            <a:r>
              <a:rPr lang="en-US" sz="2400" dirty="0"/>
              <a:t>COPY . /</a:t>
            </a:r>
          </a:p>
          <a:p>
            <a:r>
              <a:rPr lang="en-US" sz="2400" dirty="0"/>
              <a:t>RUN chmod +x /db-init.sh</a:t>
            </a:r>
          </a:p>
          <a:p>
            <a:r>
              <a:rPr lang="en-US" sz="2400" dirty="0"/>
              <a:t>CMD /bin/bash ./entrypoint.sh</a:t>
            </a:r>
          </a:p>
        </p:txBody>
      </p:sp>
      <p:sp>
        <p:nvSpPr>
          <p:cNvPr id="4" name="Rectangle 3">
            <a:extLst>
              <a:ext uri="{FF2B5EF4-FFF2-40B4-BE49-F238E27FC236}">
                <a16:creationId xmlns:a16="http://schemas.microsoft.com/office/drawing/2014/main" id="{F0238086-BE84-434A-B5AC-FC332FDC6150}"/>
              </a:ext>
            </a:extLst>
          </p:cNvPr>
          <p:cNvSpPr/>
          <p:nvPr/>
        </p:nvSpPr>
        <p:spPr bwMode="auto">
          <a:xfrm>
            <a:off x="7691486" y="4690898"/>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sleep 15s</a:t>
            </a:r>
          </a:p>
          <a:p>
            <a:pPr defTabSz="932472" fontAlgn="base">
              <a:spcBef>
                <a:spcPct val="0"/>
              </a:spcBef>
              <a:spcAft>
                <a:spcPct val="0"/>
              </a:spcAft>
            </a:pPr>
            <a:r>
              <a:rPr lang="en-US" sz="1600" dirty="0">
                <a:gradFill>
                  <a:gsLst>
                    <a:gs pos="40075">
                      <a:srgbClr val="FFFFFF"/>
                    </a:gs>
                    <a:gs pos="30000">
                      <a:srgbClr val="FFFFFF"/>
                    </a:gs>
                  </a:gsLst>
                  <a:lin ang="5400000" scaled="0"/>
                </a:gradFill>
              </a:rPr>
              <a:t>/opt/mssql-tools/bin/sqlcmd –iddl.sql</a:t>
            </a:r>
          </a:p>
        </p:txBody>
      </p:sp>
      <p:sp>
        <p:nvSpPr>
          <p:cNvPr id="9" name="Rectangle 8">
            <a:extLst>
              <a:ext uri="{FF2B5EF4-FFF2-40B4-BE49-F238E27FC236}">
                <a16:creationId xmlns:a16="http://schemas.microsoft.com/office/drawing/2014/main" id="{91E06C9E-2058-4014-821A-2B6F02432894}"/>
              </a:ext>
            </a:extLst>
          </p:cNvPr>
          <p:cNvSpPr/>
          <p:nvPr/>
        </p:nvSpPr>
        <p:spPr bwMode="auto">
          <a:xfrm>
            <a:off x="7691486" y="5700692"/>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db-init.sh &amp; /opt/mssql/bin/sqlservr</a:t>
            </a:r>
          </a:p>
        </p:txBody>
      </p:sp>
      <p:sp>
        <p:nvSpPr>
          <p:cNvPr id="10" name="Rectangle 9">
            <a:extLst>
              <a:ext uri="{FF2B5EF4-FFF2-40B4-BE49-F238E27FC236}">
                <a16:creationId xmlns:a16="http://schemas.microsoft.com/office/drawing/2014/main" id="{905D383B-488B-427B-A27F-6897F6F21CF0}"/>
              </a:ext>
            </a:extLst>
          </p:cNvPr>
          <p:cNvSpPr/>
          <p:nvPr/>
        </p:nvSpPr>
        <p:spPr bwMode="auto">
          <a:xfrm>
            <a:off x="7691486" y="3007040"/>
            <a:ext cx="4150895" cy="127534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CREATE DATABASE mydb</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CREATE TABLE mytable (….</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a:t>
            </a:r>
          </a:p>
        </p:txBody>
      </p:sp>
      <p:sp>
        <p:nvSpPr>
          <p:cNvPr id="8" name="TextBox 7">
            <a:extLst>
              <a:ext uri="{FF2B5EF4-FFF2-40B4-BE49-F238E27FC236}">
                <a16:creationId xmlns:a16="http://schemas.microsoft.com/office/drawing/2014/main" id="{6E05253D-811D-4B16-B2E4-EC0990792D08}"/>
              </a:ext>
            </a:extLst>
          </p:cNvPr>
          <p:cNvSpPr txBox="1"/>
          <p:nvPr/>
        </p:nvSpPr>
        <p:spPr>
          <a:xfrm>
            <a:off x="7689576" y="4357225"/>
            <a:ext cx="107240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b-init.sh</a:t>
            </a:r>
          </a:p>
        </p:txBody>
      </p:sp>
      <p:sp>
        <p:nvSpPr>
          <p:cNvPr id="12" name="TextBox 11">
            <a:extLst>
              <a:ext uri="{FF2B5EF4-FFF2-40B4-BE49-F238E27FC236}">
                <a16:creationId xmlns:a16="http://schemas.microsoft.com/office/drawing/2014/main" id="{59B34A1E-700E-4B13-AEE6-B7C6663EAFCC}"/>
              </a:ext>
            </a:extLst>
          </p:cNvPr>
          <p:cNvSpPr txBox="1"/>
          <p:nvPr/>
        </p:nvSpPr>
        <p:spPr>
          <a:xfrm>
            <a:off x="7692572" y="5368921"/>
            <a:ext cx="149784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entrypoint.sh</a:t>
            </a:r>
          </a:p>
        </p:txBody>
      </p:sp>
      <p:sp>
        <p:nvSpPr>
          <p:cNvPr id="13" name="TextBox 12">
            <a:extLst>
              <a:ext uri="{FF2B5EF4-FFF2-40B4-BE49-F238E27FC236}">
                <a16:creationId xmlns:a16="http://schemas.microsoft.com/office/drawing/2014/main" id="{E380F193-BCDD-48A5-B079-832BB29CE1C7}"/>
              </a:ext>
            </a:extLst>
          </p:cNvPr>
          <p:cNvSpPr txBox="1"/>
          <p:nvPr/>
        </p:nvSpPr>
        <p:spPr>
          <a:xfrm>
            <a:off x="7689576" y="2669153"/>
            <a:ext cx="74219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dl.sql</a:t>
            </a:r>
          </a:p>
        </p:txBody>
      </p:sp>
      <p:cxnSp>
        <p:nvCxnSpPr>
          <p:cNvPr id="18" name="Straight Connector 17">
            <a:extLst>
              <a:ext uri="{FF2B5EF4-FFF2-40B4-BE49-F238E27FC236}">
                <a16:creationId xmlns:a16="http://schemas.microsoft.com/office/drawing/2014/main" id="{2D3A9A42-017A-419E-90BB-2BF60E07F59A}"/>
              </a:ext>
            </a:extLst>
          </p:cNvPr>
          <p:cNvCxnSpPr>
            <a:cxnSpLocks/>
          </p:cNvCxnSpPr>
          <p:nvPr/>
        </p:nvCxnSpPr>
        <p:spPr>
          <a:xfrm>
            <a:off x="1970314" y="4859486"/>
            <a:ext cx="53087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1720BB-199C-444A-888B-39ACF2CCB7FD}"/>
              </a:ext>
            </a:extLst>
          </p:cNvPr>
          <p:cNvCxnSpPr>
            <a:cxnSpLocks/>
          </p:cNvCxnSpPr>
          <p:nvPr/>
        </p:nvCxnSpPr>
        <p:spPr>
          <a:xfrm>
            <a:off x="7279105" y="3112928"/>
            <a:ext cx="0" cy="31041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CC015F-C08E-4659-9E95-7D971B6F0D1A}"/>
              </a:ext>
            </a:extLst>
          </p:cNvPr>
          <p:cNvCxnSpPr>
            <a:cxnSpLocks/>
          </p:cNvCxnSpPr>
          <p:nvPr/>
        </p:nvCxnSpPr>
        <p:spPr>
          <a:xfrm>
            <a:off x="7279105" y="3112928"/>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0C9141-FA55-4AE7-86C5-742596FA183F}"/>
              </a:ext>
            </a:extLst>
          </p:cNvPr>
          <p:cNvCxnSpPr>
            <a:cxnSpLocks/>
          </p:cNvCxnSpPr>
          <p:nvPr/>
        </p:nvCxnSpPr>
        <p:spPr>
          <a:xfrm>
            <a:off x="7279105" y="6217075"/>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hought Bubble: Cloud 2">
            <a:extLst>
              <a:ext uri="{FF2B5EF4-FFF2-40B4-BE49-F238E27FC236}">
                <a16:creationId xmlns:a16="http://schemas.microsoft.com/office/drawing/2014/main" id="{3CA9F171-0585-4825-A6C5-2D23B80682BE}"/>
              </a:ext>
            </a:extLst>
          </p:cNvPr>
          <p:cNvSpPr/>
          <p:nvPr/>
        </p:nvSpPr>
        <p:spPr bwMode="auto">
          <a:xfrm>
            <a:off x="806116" y="3176336"/>
            <a:ext cx="6059523" cy="734952"/>
          </a:xfrm>
          <a:prstGeom prst="cloudCallout">
            <a:avLst>
              <a:gd name="adj1" fmla="val -6735"/>
              <a:gd name="adj2" fmla="val 73959"/>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800" dirty="0">
                <a:gradFill>
                  <a:gsLst>
                    <a:gs pos="40075">
                      <a:srgbClr val="FFFFFF"/>
                    </a:gs>
                    <a:gs pos="30000">
                      <a:srgbClr val="FFFFFF"/>
                    </a:gs>
                  </a:gsLst>
                  <a:lin ang="5400000" scaled="0"/>
                </a:gradFill>
              </a:rPr>
              <a:t>The “Vin Yu” method</a:t>
            </a:r>
          </a:p>
        </p:txBody>
      </p:sp>
      <p:sp>
        <p:nvSpPr>
          <p:cNvPr id="11" name="Rectangle 10">
            <a:extLst>
              <a:ext uri="{FF2B5EF4-FFF2-40B4-BE49-F238E27FC236}">
                <a16:creationId xmlns:a16="http://schemas.microsoft.com/office/drawing/2014/main" id="{042828C9-45F5-49F5-9961-620BFEBC3605}"/>
              </a:ext>
            </a:extLst>
          </p:cNvPr>
          <p:cNvSpPr/>
          <p:nvPr/>
        </p:nvSpPr>
        <p:spPr bwMode="auto">
          <a:xfrm>
            <a:off x="348919" y="4051423"/>
            <a:ext cx="6855747" cy="57026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0C59F30-3FBA-4DE3-A1ED-D27F1C33388F}"/>
              </a:ext>
            </a:extLst>
          </p:cNvPr>
          <p:cNvSpPr/>
          <p:nvPr/>
        </p:nvSpPr>
        <p:spPr bwMode="auto">
          <a:xfrm>
            <a:off x="533763" y="1364443"/>
            <a:ext cx="7898004" cy="61357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4E6191B3-A5BB-4C0B-BBF3-3BC0084B8FD7}"/>
              </a:ext>
            </a:extLst>
          </p:cNvPr>
          <p:cNvGrpSpPr/>
          <p:nvPr/>
        </p:nvGrpSpPr>
        <p:grpSpPr>
          <a:xfrm>
            <a:off x="533762" y="6012557"/>
            <a:ext cx="6188582" cy="409036"/>
            <a:chOff x="294691" y="3221050"/>
            <a:chExt cx="2298312" cy="1378987"/>
          </a:xfrm>
        </p:grpSpPr>
        <p:sp>
          <p:nvSpPr>
            <p:cNvPr id="22" name="Rectangle 21">
              <a:extLst>
                <a:ext uri="{FF2B5EF4-FFF2-40B4-BE49-F238E27FC236}">
                  <a16:creationId xmlns:a16="http://schemas.microsoft.com/office/drawing/2014/main" id="{98E3BB3E-B0D7-4A60-B506-48C0A776F4FF}"/>
                </a:ext>
              </a:extLst>
            </p:cNvPr>
            <p:cNvSpPr/>
            <p:nvPr/>
          </p:nvSpPr>
          <p:spPr>
            <a:xfrm>
              <a:off x="294691" y="3221050"/>
              <a:ext cx="2298312" cy="137898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23709F4E-E5E9-40D2-9518-7685322583E3}"/>
                </a:ext>
              </a:extLst>
            </p:cNvPr>
            <p:cNvSpPr txBox="1"/>
            <p:nvPr/>
          </p:nvSpPr>
          <p:spPr>
            <a:xfrm>
              <a:off x="294691" y="3221050"/>
              <a:ext cx="2298312" cy="1378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r:id="rId3"/>
                </a:rPr>
                <a:t>here</a:t>
              </a:r>
              <a:r>
                <a:rPr lang="en-US" sz="2500" kern="1200" dirty="0">
                  <a:ea typeface="Segoe UI" pitchFamily="34" charset="0"/>
                  <a:cs typeface="Segoe UI" pitchFamily="34" charset="0"/>
                </a:rPr>
                <a:t> how to add other packages</a:t>
              </a:r>
              <a:endParaRPr lang="en-US" sz="2500" kern="1200" dirty="0"/>
            </a:p>
          </p:txBody>
        </p:sp>
      </p:grpSp>
      <p:sp>
        <p:nvSpPr>
          <p:cNvPr id="7" name="Rectangle 6">
            <a:extLst>
              <a:ext uri="{FF2B5EF4-FFF2-40B4-BE49-F238E27FC236}">
                <a16:creationId xmlns:a16="http://schemas.microsoft.com/office/drawing/2014/main" id="{CD9E3576-15B7-443C-9D86-128261362A25}"/>
              </a:ext>
            </a:extLst>
          </p:cNvPr>
          <p:cNvSpPr/>
          <p:nvPr/>
        </p:nvSpPr>
        <p:spPr bwMode="auto">
          <a:xfrm>
            <a:off x="10287000" y="1507331"/>
            <a:ext cx="1621631" cy="7535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Docker compos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055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21"/>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2" grpId="0" animBg="1"/>
      <p:bldP spid="5" grpId="0"/>
      <p:bldP spid="4" grpId="0" animBg="1"/>
      <p:bldP spid="9" grpId="0" animBg="1"/>
      <p:bldP spid="10" grpId="0" animBg="1"/>
      <p:bldP spid="8" grpId="0"/>
      <p:bldP spid="12" grpId="0"/>
      <p:bldP spid="13" grpId="0"/>
      <p:bldP spid="3" grpId="0" animBg="1"/>
      <p:bldP spid="11" grpId="0" animBg="1"/>
      <p:bldP spid="19" grpId="0" animBg="1"/>
      <p:bldP spid="7"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dirty="0"/>
              <a:t>But how do I patch and upgrade?</a:t>
            </a:r>
          </a:p>
        </p:txBody>
      </p:sp>
      <p:sp>
        <p:nvSpPr>
          <p:cNvPr id="5" name="Flowchart: Magnetic Disk 4">
            <a:extLst>
              <a:ext uri="{FF2B5EF4-FFF2-40B4-BE49-F238E27FC236}">
                <a16:creationId xmlns:a16="http://schemas.microsoft.com/office/drawing/2014/main" id="{AE273AB2-FE4D-4EA5-A362-A99C8D3984D3}"/>
              </a:ext>
            </a:extLst>
          </p:cNvPr>
          <p:cNvSpPr/>
          <p:nvPr/>
        </p:nvSpPr>
        <p:spPr bwMode="auto">
          <a:xfrm>
            <a:off x="1311964" y="2746176"/>
            <a:ext cx="1762540" cy="1775791"/>
          </a:xfrm>
          <a:prstGeom prst="flowChartMagneticDisk">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A70E41F2-BE49-4E55-9280-2EBA8581F026}"/>
              </a:ext>
            </a:extLst>
          </p:cNvPr>
          <p:cNvSpPr txBox="1"/>
          <p:nvPr/>
        </p:nvSpPr>
        <p:spPr>
          <a:xfrm>
            <a:off x="1538824" y="3525079"/>
            <a:ext cx="1308820"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SQL Server </a:t>
            </a:r>
          </a:p>
          <a:p>
            <a:pPr algn="ctr"/>
            <a:r>
              <a:rPr lang="en-US" sz="2000" dirty="0">
                <a:gradFill>
                  <a:gsLst>
                    <a:gs pos="2917">
                      <a:schemeClr val="tx1"/>
                    </a:gs>
                    <a:gs pos="30000">
                      <a:schemeClr val="tx1"/>
                    </a:gs>
                  </a:gsLst>
                  <a:lin ang="5400000" scaled="0"/>
                </a:gradFill>
              </a:rPr>
              <a:t>databases</a:t>
            </a:r>
          </a:p>
        </p:txBody>
      </p:sp>
      <p:sp>
        <p:nvSpPr>
          <p:cNvPr id="11" name="Rectangle: Rounded Corners 10">
            <a:extLst>
              <a:ext uri="{FF2B5EF4-FFF2-40B4-BE49-F238E27FC236}">
                <a16:creationId xmlns:a16="http://schemas.microsoft.com/office/drawing/2014/main" id="{2BBEFAF9-A4C6-47F1-917A-35C498B72D1F}"/>
              </a:ext>
            </a:extLst>
          </p:cNvPr>
          <p:cNvSpPr/>
          <p:nvPr/>
        </p:nvSpPr>
        <p:spPr bwMode="auto">
          <a:xfrm>
            <a:off x="8264189" y="157557"/>
            <a:ext cx="3339548" cy="1987826"/>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CU8 Container</a:t>
            </a:r>
          </a:p>
        </p:txBody>
      </p:sp>
      <p:cxnSp>
        <p:nvCxnSpPr>
          <p:cNvPr id="13" name="Straight Arrow Connector 12">
            <a:extLst>
              <a:ext uri="{FF2B5EF4-FFF2-40B4-BE49-F238E27FC236}">
                <a16:creationId xmlns:a16="http://schemas.microsoft.com/office/drawing/2014/main" id="{926448F2-81C5-4A02-A559-3206041F0E67}"/>
              </a:ext>
            </a:extLst>
          </p:cNvPr>
          <p:cNvCxnSpPr>
            <a:stCxn id="5" idx="4"/>
            <a:endCxn id="11" idx="1"/>
          </p:cNvCxnSpPr>
          <p:nvPr/>
        </p:nvCxnSpPr>
        <p:spPr>
          <a:xfrm flipV="1">
            <a:off x="3074504" y="1151470"/>
            <a:ext cx="5189685" cy="24826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BFB65068-F2B6-44E0-AD12-0C7951E0BCE9}"/>
              </a:ext>
            </a:extLst>
          </p:cNvPr>
          <p:cNvSpPr/>
          <p:nvPr/>
        </p:nvSpPr>
        <p:spPr bwMode="auto">
          <a:xfrm>
            <a:off x="8264189" y="2413368"/>
            <a:ext cx="3339548" cy="1987826"/>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Latest Container</a:t>
            </a:r>
          </a:p>
        </p:txBody>
      </p:sp>
      <p:cxnSp>
        <p:nvCxnSpPr>
          <p:cNvPr id="18" name="Straight Arrow Connector 17">
            <a:extLst>
              <a:ext uri="{FF2B5EF4-FFF2-40B4-BE49-F238E27FC236}">
                <a16:creationId xmlns:a16="http://schemas.microsoft.com/office/drawing/2014/main" id="{97AEEFEB-55B6-49D7-8580-3DF740D931EC}"/>
              </a:ext>
            </a:extLst>
          </p:cNvPr>
          <p:cNvCxnSpPr>
            <a:cxnSpLocks/>
            <a:stCxn id="5" idx="4"/>
            <a:endCxn id="16" idx="1"/>
          </p:cNvCxnSpPr>
          <p:nvPr/>
        </p:nvCxnSpPr>
        <p:spPr>
          <a:xfrm flipV="1">
            <a:off x="3074504" y="3407281"/>
            <a:ext cx="5189685" cy="22679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E9978D1B-FACE-4323-A0D3-D7A45A41DC88}"/>
              </a:ext>
            </a:extLst>
          </p:cNvPr>
          <p:cNvSpPr/>
          <p:nvPr/>
        </p:nvSpPr>
        <p:spPr bwMode="auto">
          <a:xfrm>
            <a:off x="8264189" y="4712617"/>
            <a:ext cx="3339548" cy="1987826"/>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9</a:t>
            </a:r>
          </a:p>
          <a:p>
            <a:pPr algn="ctr" defTabSz="932472" fontAlgn="base">
              <a:spcBef>
                <a:spcPct val="0"/>
              </a:spcBef>
              <a:spcAft>
                <a:spcPct val="0"/>
              </a:spcAft>
            </a:pPr>
            <a:r>
              <a:rPr lang="en-US" sz="2400" dirty="0">
                <a:gradFill>
                  <a:gsLst>
                    <a:gs pos="40075">
                      <a:srgbClr val="FFFFFF"/>
                    </a:gs>
                    <a:gs pos="30000">
                      <a:srgbClr val="FFFFFF"/>
                    </a:gs>
                  </a:gsLst>
                  <a:lin ang="5400000" scaled="0"/>
                </a:gradFill>
              </a:rPr>
              <a:t>Container</a:t>
            </a:r>
          </a:p>
        </p:txBody>
      </p:sp>
      <p:cxnSp>
        <p:nvCxnSpPr>
          <p:cNvPr id="23" name="Straight Arrow Connector 22">
            <a:extLst>
              <a:ext uri="{FF2B5EF4-FFF2-40B4-BE49-F238E27FC236}">
                <a16:creationId xmlns:a16="http://schemas.microsoft.com/office/drawing/2014/main" id="{6F7BEE88-4223-4E08-8772-26D2D7BEE5E3}"/>
              </a:ext>
            </a:extLst>
          </p:cNvPr>
          <p:cNvCxnSpPr>
            <a:cxnSpLocks/>
            <a:stCxn id="5" idx="4"/>
            <a:endCxn id="20" idx="1"/>
          </p:cNvCxnSpPr>
          <p:nvPr/>
        </p:nvCxnSpPr>
        <p:spPr>
          <a:xfrm>
            <a:off x="3074504" y="3634072"/>
            <a:ext cx="5189685" cy="207245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5C2D57-F03E-4332-A1AA-4EAF7086F9B5}"/>
              </a:ext>
            </a:extLst>
          </p:cNvPr>
          <p:cNvSpPr txBox="1"/>
          <p:nvPr/>
        </p:nvSpPr>
        <p:spPr>
          <a:xfrm>
            <a:off x="4419600" y="1720418"/>
            <a:ext cx="88607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rollback</a:t>
            </a:r>
          </a:p>
        </p:txBody>
      </p:sp>
      <p:sp>
        <p:nvSpPr>
          <p:cNvPr id="27" name="TextBox 26">
            <a:extLst>
              <a:ext uri="{FF2B5EF4-FFF2-40B4-BE49-F238E27FC236}">
                <a16:creationId xmlns:a16="http://schemas.microsoft.com/office/drawing/2014/main" id="{3736D3F9-72B7-4988-BAED-4611EC4D82CC}"/>
              </a:ext>
            </a:extLst>
          </p:cNvPr>
          <p:cNvSpPr txBox="1"/>
          <p:nvPr/>
        </p:nvSpPr>
        <p:spPr>
          <a:xfrm>
            <a:off x="4353492" y="4907384"/>
            <a:ext cx="95218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grade</a:t>
            </a:r>
          </a:p>
        </p:txBody>
      </p:sp>
      <p:sp>
        <p:nvSpPr>
          <p:cNvPr id="6" name="Rectangle 5">
            <a:extLst>
              <a:ext uri="{FF2B5EF4-FFF2-40B4-BE49-F238E27FC236}">
                <a16:creationId xmlns:a16="http://schemas.microsoft.com/office/drawing/2014/main" id="{3C675D0E-5665-4922-B863-B64EB082D461}"/>
              </a:ext>
            </a:extLst>
          </p:cNvPr>
          <p:cNvSpPr/>
          <p:nvPr/>
        </p:nvSpPr>
        <p:spPr bwMode="auto">
          <a:xfrm>
            <a:off x="706606" y="1889760"/>
            <a:ext cx="3089612" cy="35814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F46904A-BE77-4BA0-804E-27261AEC867C}"/>
              </a:ext>
            </a:extLst>
          </p:cNvPr>
          <p:cNvSpPr txBox="1"/>
          <p:nvPr/>
        </p:nvSpPr>
        <p:spPr>
          <a:xfrm>
            <a:off x="683072" y="1476310"/>
            <a:ext cx="83689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volume</a:t>
            </a:r>
          </a:p>
        </p:txBody>
      </p:sp>
      <p:sp>
        <p:nvSpPr>
          <p:cNvPr id="15" name="TextBox 14">
            <a:extLst>
              <a:ext uri="{FF2B5EF4-FFF2-40B4-BE49-F238E27FC236}">
                <a16:creationId xmlns:a16="http://schemas.microsoft.com/office/drawing/2014/main" id="{D658C545-C3A5-4B9E-AC41-0226D57209DD}"/>
              </a:ext>
            </a:extLst>
          </p:cNvPr>
          <p:cNvSpPr txBox="1"/>
          <p:nvPr/>
        </p:nvSpPr>
        <p:spPr>
          <a:xfrm>
            <a:off x="5245098" y="3059011"/>
            <a:ext cx="79630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e</a:t>
            </a:r>
          </a:p>
        </p:txBody>
      </p:sp>
    </p:spTree>
    <p:extLst>
      <p:ext uri="{BB962C8B-B14F-4D97-AF65-F5344CB8AC3E}">
        <p14:creationId xmlns:p14="http://schemas.microsoft.com/office/powerpoint/2010/main" val="94435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0" presetClass="emph" presetSubtype="0" fill="hold" grpId="0" nodeType="with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par>
                                <p:cTn id="10" presetID="30" presetClass="emph" presetSubtype="0" fill="hold" grpId="0" nodeType="withEffect">
                                  <p:stCondLst>
                                    <p:cond delay="0"/>
                                  </p:stCondLst>
                                  <p:childTnLst>
                                    <p:animClr clrSpc="hsl" dir="cw">
                                      <p:cBhvr override="childStyle">
                                        <p:cTn id="11" dur="500" fill="hold"/>
                                        <p:tgtEl>
                                          <p:spTgt spid="20"/>
                                        </p:tgtEl>
                                        <p:attrNameLst>
                                          <p:attrName>style.color</p:attrName>
                                        </p:attrNameLst>
                                      </p:cBhvr>
                                      <p:by>
                                        <p:hsl h="0" s="12549" l="25098"/>
                                      </p:by>
                                    </p:animClr>
                                    <p:animClr clrSpc="hsl" dir="cw">
                                      <p:cBhvr>
                                        <p:cTn id="12" dur="500" fill="hold"/>
                                        <p:tgtEl>
                                          <p:spTgt spid="20"/>
                                        </p:tgtEl>
                                        <p:attrNameLst>
                                          <p:attrName>fillcolor</p:attrName>
                                        </p:attrNameLst>
                                      </p:cBhvr>
                                      <p:by>
                                        <p:hsl h="0" s="12549" l="25098"/>
                                      </p:by>
                                    </p:animClr>
                                    <p:animClr clrSpc="hsl" dir="cw">
                                      <p:cBhvr>
                                        <p:cTn id="13" dur="500" fill="hold"/>
                                        <p:tgtEl>
                                          <p:spTgt spid="20"/>
                                        </p:tgtEl>
                                        <p:attrNameLst>
                                          <p:attrName>stroke.color</p:attrName>
                                        </p:attrNameLst>
                                      </p:cBhvr>
                                      <p:by>
                                        <p:hsl h="0" s="12549" l="25098"/>
                                      </p:by>
                                    </p:animClr>
                                    <p:set>
                                      <p:cBhvr>
                                        <p:cTn id="14" dur="500" fill="hold"/>
                                        <p:tgtEl>
                                          <p:spTgt spid="20"/>
                                        </p:tgtEl>
                                        <p:attrNameLst>
                                          <p:attrName>fill.type</p:attrName>
                                        </p:attrNameLst>
                                      </p:cBhvr>
                                      <p:to>
                                        <p:strVal val="solid"/>
                                      </p:to>
                                    </p:set>
                                  </p:childTnLst>
                                </p:cTn>
                              </p:par>
                            </p:childTnLst>
                          </p:cTn>
                        </p:par>
                      </p:childTnLst>
                    </p:cTn>
                  </p:par>
                  <p:par>
                    <p:cTn id="15" fill="hold">
                      <p:stCondLst>
                        <p:cond delay="indefinite"/>
                      </p:stCondLst>
                      <p:childTnLst>
                        <p:par>
                          <p:cTn id="16" fill="hold">
                            <p:stCondLst>
                              <p:cond delay="0"/>
                            </p:stCondLst>
                            <p:childTnLst>
                              <p:par>
                                <p:cTn id="17" presetID="30" presetClass="emph" presetSubtype="0" fill="hold" grpId="0" nodeType="clickEffect">
                                  <p:stCondLst>
                                    <p:cond delay="0"/>
                                  </p:stCondLst>
                                  <p:childTnLst>
                                    <p:animClr clrSpc="hsl" dir="cw">
                                      <p:cBhvr override="childStyle">
                                        <p:cTn id="18" dur="500" fill="hold"/>
                                        <p:tgtEl>
                                          <p:spTgt spid="11"/>
                                        </p:tgtEl>
                                        <p:attrNameLst>
                                          <p:attrName>style.color</p:attrName>
                                        </p:attrNameLst>
                                      </p:cBhvr>
                                      <p:by>
                                        <p:hsl h="0" s="12549" l="25098"/>
                                      </p:by>
                                    </p:animClr>
                                    <p:animClr clrSpc="hsl" dir="cw">
                                      <p:cBhvr>
                                        <p:cTn id="19" dur="500" fill="hold"/>
                                        <p:tgtEl>
                                          <p:spTgt spid="11"/>
                                        </p:tgtEl>
                                        <p:attrNameLst>
                                          <p:attrName>fillcolor</p:attrName>
                                        </p:attrNameLst>
                                      </p:cBhvr>
                                      <p:by>
                                        <p:hsl h="0" s="12549" l="25098"/>
                                      </p:by>
                                    </p:animClr>
                                    <p:animClr clrSpc="hsl" dir="cw">
                                      <p:cBhvr>
                                        <p:cTn id="20" dur="500" fill="hold"/>
                                        <p:tgtEl>
                                          <p:spTgt spid="11"/>
                                        </p:tgtEl>
                                        <p:attrNameLst>
                                          <p:attrName>stroke.color</p:attrName>
                                        </p:attrNameLst>
                                      </p:cBhvr>
                                      <p:by>
                                        <p:hsl h="0" s="12549" l="25098"/>
                                      </p:by>
                                    </p:animClr>
                                    <p:set>
                                      <p:cBhvr>
                                        <p:cTn id="21" dur="500" fill="hold"/>
                                        <p:tgtEl>
                                          <p:spTgt spid="11"/>
                                        </p:tgtEl>
                                        <p:attrNameLst>
                                          <p:attrName>fill.type</p:attrName>
                                        </p:attrNameLst>
                                      </p:cBhvr>
                                      <p:to>
                                        <p:strVal val="solid"/>
                                      </p:to>
                                    </p:set>
                                  </p:childTnLst>
                                </p:cTn>
                              </p:par>
                            </p:childTnLst>
                          </p:cTn>
                        </p:par>
                        <p:par>
                          <p:cTn id="22" fill="hold">
                            <p:stCondLst>
                              <p:cond delay="500"/>
                            </p:stCondLst>
                            <p:childTnLst>
                              <p:par>
                                <p:cTn id="23" presetID="1" presetClass="exit" presetSubtype="0" fill="hold" nodeType="afterEffect">
                                  <p:stCondLst>
                                    <p:cond delay="0"/>
                                  </p:stCondLst>
                                  <p:childTnLst>
                                    <p:set>
                                      <p:cBhvr>
                                        <p:cTn id="24" dur="1" fill="hold">
                                          <p:stCondLst>
                                            <p:cond delay="0"/>
                                          </p:stCondLst>
                                        </p:cTn>
                                        <p:tgtEl>
                                          <p:spTgt spid="13"/>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4" presetClass="emph" presetSubtype="0" fill="hold" grpId="1" nodeType="clickEffect">
                                  <p:stCondLst>
                                    <p:cond delay="0"/>
                                  </p:stCondLst>
                                  <p:childTnLst>
                                    <p:animClr clrSpc="hsl" dir="cw">
                                      <p:cBhvr override="childStyle">
                                        <p:cTn id="28" dur="500" fill="hold"/>
                                        <p:tgtEl>
                                          <p:spTgt spid="16"/>
                                        </p:tgtEl>
                                        <p:attrNameLst>
                                          <p:attrName>style.color</p:attrName>
                                        </p:attrNameLst>
                                      </p:cBhvr>
                                      <p:by>
                                        <p:hsl h="0" s="-12549" l="-25098"/>
                                      </p:by>
                                    </p:animClr>
                                    <p:animClr clrSpc="hsl" dir="cw">
                                      <p:cBhvr>
                                        <p:cTn id="29" dur="500" fill="hold"/>
                                        <p:tgtEl>
                                          <p:spTgt spid="16"/>
                                        </p:tgtEl>
                                        <p:attrNameLst>
                                          <p:attrName>fillcolor</p:attrName>
                                        </p:attrNameLst>
                                      </p:cBhvr>
                                      <p:by>
                                        <p:hsl h="0" s="-12549" l="-25098"/>
                                      </p:by>
                                    </p:animClr>
                                    <p:animClr clrSpc="hsl" dir="cw">
                                      <p:cBhvr>
                                        <p:cTn id="30" dur="500" fill="hold"/>
                                        <p:tgtEl>
                                          <p:spTgt spid="16"/>
                                        </p:tgtEl>
                                        <p:attrNameLst>
                                          <p:attrName>stroke.color</p:attrName>
                                        </p:attrNameLst>
                                      </p:cBhvr>
                                      <p:by>
                                        <p:hsl h="0" s="-12549" l="-25098"/>
                                      </p:by>
                                    </p:animClr>
                                    <p:set>
                                      <p:cBhvr>
                                        <p:cTn id="31" dur="500" fill="hold"/>
                                        <p:tgtEl>
                                          <p:spTgt spid="16"/>
                                        </p:tgtEl>
                                        <p:attrNameLst>
                                          <p:attrName>fill.type</p:attrName>
                                        </p:attrNameLst>
                                      </p:cBhvr>
                                      <p:to>
                                        <p:strVal val="solid"/>
                                      </p:to>
                                    </p:se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par>
                          <p:cTn id="35" fill="hold">
                            <p:stCondLst>
                              <p:cond delay="500"/>
                            </p:stCondLst>
                            <p:childTnLst>
                              <p:par>
                                <p:cTn id="36" presetID="1" presetClass="entr" presetSubtype="0" fill="hold" nodeType="after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30" presetClass="emph" presetSubtype="0" fill="hold" grpId="2" nodeType="clickEffect">
                                  <p:stCondLst>
                                    <p:cond delay="0"/>
                                  </p:stCondLst>
                                  <p:childTnLst>
                                    <p:animClr clrSpc="hsl" dir="cw">
                                      <p:cBhvr override="childStyle">
                                        <p:cTn id="41" dur="500" fill="hold"/>
                                        <p:tgtEl>
                                          <p:spTgt spid="16"/>
                                        </p:tgtEl>
                                        <p:attrNameLst>
                                          <p:attrName>style.color</p:attrName>
                                        </p:attrNameLst>
                                      </p:cBhvr>
                                      <p:by>
                                        <p:hsl h="0" s="12549" l="25098"/>
                                      </p:by>
                                    </p:animClr>
                                    <p:animClr clrSpc="hsl" dir="cw">
                                      <p:cBhvr>
                                        <p:cTn id="42" dur="500" fill="hold"/>
                                        <p:tgtEl>
                                          <p:spTgt spid="16"/>
                                        </p:tgtEl>
                                        <p:attrNameLst>
                                          <p:attrName>fillcolor</p:attrName>
                                        </p:attrNameLst>
                                      </p:cBhvr>
                                      <p:by>
                                        <p:hsl h="0" s="12549" l="25098"/>
                                      </p:by>
                                    </p:animClr>
                                    <p:animClr clrSpc="hsl" dir="cw">
                                      <p:cBhvr>
                                        <p:cTn id="43" dur="500" fill="hold"/>
                                        <p:tgtEl>
                                          <p:spTgt spid="16"/>
                                        </p:tgtEl>
                                        <p:attrNameLst>
                                          <p:attrName>stroke.color</p:attrName>
                                        </p:attrNameLst>
                                      </p:cBhvr>
                                      <p:by>
                                        <p:hsl h="0" s="12549" l="25098"/>
                                      </p:by>
                                    </p:animClr>
                                    <p:set>
                                      <p:cBhvr>
                                        <p:cTn id="44" dur="500" fill="hold"/>
                                        <p:tgtEl>
                                          <p:spTgt spid="16"/>
                                        </p:tgtEl>
                                        <p:attrNameLst>
                                          <p:attrName>fill.type</p:attrName>
                                        </p:attrNameLst>
                                      </p:cBhvr>
                                      <p:to>
                                        <p:strVal val="solid"/>
                                      </p:to>
                                    </p:set>
                                  </p:childTnLst>
                                </p:cTn>
                              </p:par>
                            </p:childTnLst>
                          </p:cTn>
                        </p:par>
                        <p:par>
                          <p:cTn id="45" fill="hold">
                            <p:stCondLst>
                              <p:cond delay="500"/>
                            </p:stCondLst>
                            <p:childTnLst>
                              <p:par>
                                <p:cTn id="46" presetID="1" presetClass="exit" presetSubtype="0" fill="hold" grpId="1" nodeType="afterEffect">
                                  <p:stCondLst>
                                    <p:cond delay="0"/>
                                  </p:stCondLst>
                                  <p:childTnLst>
                                    <p:set>
                                      <p:cBhvr>
                                        <p:cTn id="47" dur="1" fill="hold">
                                          <p:stCondLst>
                                            <p:cond delay="0"/>
                                          </p:stCondLst>
                                        </p:cTn>
                                        <p:tgtEl>
                                          <p:spTgt spid="15"/>
                                        </p:tgtEl>
                                        <p:attrNameLst>
                                          <p:attrName>style.visibility</p:attrName>
                                        </p:attrNameLst>
                                      </p:cBhvr>
                                      <p:to>
                                        <p:strVal val="hidden"/>
                                      </p:to>
                                    </p:set>
                                  </p:childTnLst>
                                </p:cTn>
                              </p:par>
                            </p:childTnLst>
                          </p:cTn>
                        </p:par>
                        <p:par>
                          <p:cTn id="48" fill="hold">
                            <p:stCondLst>
                              <p:cond delay="500"/>
                            </p:stCondLst>
                            <p:childTnLst>
                              <p:par>
                                <p:cTn id="49" presetID="1" presetClass="exit" presetSubtype="0" fill="hold" nodeType="afterEffect">
                                  <p:stCondLst>
                                    <p:cond delay="0"/>
                                  </p:stCondLst>
                                  <p:childTnLst>
                                    <p:set>
                                      <p:cBhvr>
                                        <p:cTn id="50" dur="1" fill="hold">
                                          <p:stCondLst>
                                            <p:cond delay="0"/>
                                          </p:stCondLst>
                                        </p:cTn>
                                        <p:tgtEl>
                                          <p:spTgt spid="18"/>
                                        </p:tgtEl>
                                        <p:attrNameLst>
                                          <p:attrName>style.visibility</p:attrName>
                                        </p:attrNameLst>
                                      </p:cBhvr>
                                      <p:to>
                                        <p:strVal val="hidden"/>
                                      </p:to>
                                    </p:set>
                                  </p:childTnLst>
                                </p:cTn>
                              </p:par>
                            </p:childTnLst>
                          </p:cTn>
                        </p:par>
                        <p:par>
                          <p:cTn id="51" fill="hold">
                            <p:stCondLst>
                              <p:cond delay="500"/>
                            </p:stCondLst>
                            <p:childTnLst>
                              <p:par>
                                <p:cTn id="52" presetID="1" presetClass="entr" presetSubtype="0" fill="hold" nodeType="afterEffect">
                                  <p:stCondLst>
                                    <p:cond delay="0"/>
                                  </p:stCondLst>
                                  <p:childTnLst>
                                    <p:set>
                                      <p:cBhvr>
                                        <p:cTn id="53" dur="1" fill="hold">
                                          <p:stCondLst>
                                            <p:cond delay="0"/>
                                          </p:stCondLst>
                                        </p:cTn>
                                        <p:tgtEl>
                                          <p:spTgt spid="13"/>
                                        </p:tgtEl>
                                        <p:attrNameLst>
                                          <p:attrName>style.visibility</p:attrName>
                                        </p:attrNameLst>
                                      </p:cBhvr>
                                      <p:to>
                                        <p:strVal val="visible"/>
                                      </p:to>
                                    </p:set>
                                  </p:childTnLst>
                                </p:cTn>
                              </p:par>
                            </p:childTnLst>
                          </p:cTn>
                        </p:par>
                        <p:par>
                          <p:cTn id="54" fill="hold">
                            <p:stCondLst>
                              <p:cond delay="500"/>
                            </p:stCondLst>
                            <p:childTnLst>
                              <p:par>
                                <p:cTn id="55" presetID="1" presetClass="entr" presetSubtype="0" fill="hold" grpId="0" nodeType="after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childTnLst>
                          </p:cTn>
                        </p:par>
                        <p:par>
                          <p:cTn id="57" fill="hold">
                            <p:stCondLst>
                              <p:cond delay="500"/>
                            </p:stCondLst>
                            <p:childTnLst>
                              <p:par>
                                <p:cTn id="58" presetID="24" presetClass="emph" presetSubtype="0" fill="hold" grpId="1" nodeType="afterEffect">
                                  <p:stCondLst>
                                    <p:cond delay="0"/>
                                  </p:stCondLst>
                                  <p:childTnLst>
                                    <p:animClr clrSpc="hsl" dir="cw">
                                      <p:cBhvr override="childStyle">
                                        <p:cTn id="59" dur="500" fill="hold"/>
                                        <p:tgtEl>
                                          <p:spTgt spid="11"/>
                                        </p:tgtEl>
                                        <p:attrNameLst>
                                          <p:attrName>style.color</p:attrName>
                                        </p:attrNameLst>
                                      </p:cBhvr>
                                      <p:by>
                                        <p:hsl h="0" s="-12549" l="-25098"/>
                                      </p:by>
                                    </p:animClr>
                                    <p:animClr clrSpc="hsl" dir="cw">
                                      <p:cBhvr>
                                        <p:cTn id="60" dur="500" fill="hold"/>
                                        <p:tgtEl>
                                          <p:spTgt spid="11"/>
                                        </p:tgtEl>
                                        <p:attrNameLst>
                                          <p:attrName>fillcolor</p:attrName>
                                        </p:attrNameLst>
                                      </p:cBhvr>
                                      <p:by>
                                        <p:hsl h="0" s="-12549" l="-25098"/>
                                      </p:by>
                                    </p:animClr>
                                    <p:animClr clrSpc="hsl" dir="cw">
                                      <p:cBhvr>
                                        <p:cTn id="61" dur="500" fill="hold"/>
                                        <p:tgtEl>
                                          <p:spTgt spid="11"/>
                                        </p:tgtEl>
                                        <p:attrNameLst>
                                          <p:attrName>stroke.color</p:attrName>
                                        </p:attrNameLst>
                                      </p:cBhvr>
                                      <p:by>
                                        <p:hsl h="0" s="-12549" l="-25098"/>
                                      </p:by>
                                    </p:animClr>
                                    <p:set>
                                      <p:cBhvr>
                                        <p:cTn id="62" dur="500" fill="hold"/>
                                        <p:tgtEl>
                                          <p:spTgt spid="11"/>
                                        </p:tgtEl>
                                        <p:attrNameLst>
                                          <p:attrName>fill.type</p:attrName>
                                        </p:attrNameLst>
                                      </p:cBhvr>
                                      <p:to>
                                        <p:strVal val="solid"/>
                                      </p:to>
                                    </p:set>
                                  </p:childTnLst>
                                </p:cTn>
                              </p:par>
                            </p:childTnLst>
                          </p:cTn>
                        </p:par>
                      </p:childTnLst>
                    </p:cTn>
                  </p:par>
                  <p:par>
                    <p:cTn id="63" fill="hold">
                      <p:stCondLst>
                        <p:cond delay="indefinite"/>
                      </p:stCondLst>
                      <p:childTnLst>
                        <p:par>
                          <p:cTn id="64" fill="hold">
                            <p:stCondLst>
                              <p:cond delay="0"/>
                            </p:stCondLst>
                            <p:childTnLst>
                              <p:par>
                                <p:cTn id="65" presetID="30" presetClass="emph" presetSubtype="0" fill="hold" grpId="2" nodeType="clickEffect">
                                  <p:stCondLst>
                                    <p:cond delay="0"/>
                                  </p:stCondLst>
                                  <p:childTnLst>
                                    <p:animClr clrSpc="hsl" dir="cw">
                                      <p:cBhvr override="childStyle">
                                        <p:cTn id="66" dur="500" fill="hold"/>
                                        <p:tgtEl>
                                          <p:spTgt spid="11"/>
                                        </p:tgtEl>
                                        <p:attrNameLst>
                                          <p:attrName>style.color</p:attrName>
                                        </p:attrNameLst>
                                      </p:cBhvr>
                                      <p:by>
                                        <p:hsl h="0" s="12549" l="25098"/>
                                      </p:by>
                                    </p:animClr>
                                    <p:animClr clrSpc="hsl" dir="cw">
                                      <p:cBhvr>
                                        <p:cTn id="67" dur="500" fill="hold"/>
                                        <p:tgtEl>
                                          <p:spTgt spid="11"/>
                                        </p:tgtEl>
                                        <p:attrNameLst>
                                          <p:attrName>fillcolor</p:attrName>
                                        </p:attrNameLst>
                                      </p:cBhvr>
                                      <p:by>
                                        <p:hsl h="0" s="12549" l="25098"/>
                                      </p:by>
                                    </p:animClr>
                                    <p:animClr clrSpc="hsl" dir="cw">
                                      <p:cBhvr>
                                        <p:cTn id="68" dur="500" fill="hold"/>
                                        <p:tgtEl>
                                          <p:spTgt spid="11"/>
                                        </p:tgtEl>
                                        <p:attrNameLst>
                                          <p:attrName>stroke.color</p:attrName>
                                        </p:attrNameLst>
                                      </p:cBhvr>
                                      <p:by>
                                        <p:hsl h="0" s="12549" l="25098"/>
                                      </p:by>
                                    </p:animClr>
                                    <p:set>
                                      <p:cBhvr>
                                        <p:cTn id="69" dur="500" fill="hold"/>
                                        <p:tgtEl>
                                          <p:spTgt spid="11"/>
                                        </p:tgtEl>
                                        <p:attrNameLst>
                                          <p:attrName>fill.type</p:attrName>
                                        </p:attrNameLst>
                                      </p:cBhvr>
                                      <p:to>
                                        <p:strVal val="solid"/>
                                      </p:to>
                                    </p:set>
                                  </p:childTnLst>
                                </p:cTn>
                              </p:par>
                            </p:childTnLst>
                          </p:cTn>
                        </p:par>
                        <p:par>
                          <p:cTn id="70" fill="hold">
                            <p:stCondLst>
                              <p:cond delay="500"/>
                            </p:stCondLst>
                            <p:childTnLst>
                              <p:par>
                                <p:cTn id="71" presetID="1" presetClass="exit" presetSubtype="0" fill="hold" nodeType="afterEffect">
                                  <p:stCondLst>
                                    <p:cond delay="0"/>
                                  </p:stCondLst>
                                  <p:childTnLst>
                                    <p:set>
                                      <p:cBhvr>
                                        <p:cTn id="72" dur="1" fill="hold">
                                          <p:stCondLst>
                                            <p:cond delay="0"/>
                                          </p:stCondLst>
                                        </p:cTn>
                                        <p:tgtEl>
                                          <p:spTgt spid="13"/>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1" nodeType="afterEffect">
                                  <p:stCondLst>
                                    <p:cond delay="0"/>
                                  </p:stCondLst>
                                  <p:childTnLst>
                                    <p:set>
                                      <p:cBhvr>
                                        <p:cTn id="75" dur="1" fill="hold">
                                          <p:stCondLst>
                                            <p:cond delay="0"/>
                                          </p:stCondLst>
                                        </p:cTn>
                                        <p:tgtEl>
                                          <p:spTgt spid="26"/>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24" presetClass="emph" presetSubtype="0" fill="hold" grpId="1" nodeType="clickEffect">
                                  <p:stCondLst>
                                    <p:cond delay="0"/>
                                  </p:stCondLst>
                                  <p:childTnLst>
                                    <p:animClr clrSpc="hsl" dir="cw">
                                      <p:cBhvr override="childStyle">
                                        <p:cTn id="79" dur="500" fill="hold"/>
                                        <p:tgtEl>
                                          <p:spTgt spid="20"/>
                                        </p:tgtEl>
                                        <p:attrNameLst>
                                          <p:attrName>style.color</p:attrName>
                                        </p:attrNameLst>
                                      </p:cBhvr>
                                      <p:by>
                                        <p:hsl h="0" s="-12549" l="-25098"/>
                                      </p:by>
                                    </p:animClr>
                                    <p:animClr clrSpc="hsl" dir="cw">
                                      <p:cBhvr>
                                        <p:cTn id="80" dur="500" fill="hold"/>
                                        <p:tgtEl>
                                          <p:spTgt spid="20"/>
                                        </p:tgtEl>
                                        <p:attrNameLst>
                                          <p:attrName>fillcolor</p:attrName>
                                        </p:attrNameLst>
                                      </p:cBhvr>
                                      <p:by>
                                        <p:hsl h="0" s="-12549" l="-25098"/>
                                      </p:by>
                                    </p:animClr>
                                    <p:animClr clrSpc="hsl" dir="cw">
                                      <p:cBhvr>
                                        <p:cTn id="81" dur="500" fill="hold"/>
                                        <p:tgtEl>
                                          <p:spTgt spid="20"/>
                                        </p:tgtEl>
                                        <p:attrNameLst>
                                          <p:attrName>stroke.color</p:attrName>
                                        </p:attrNameLst>
                                      </p:cBhvr>
                                      <p:by>
                                        <p:hsl h="0" s="-12549" l="-25098"/>
                                      </p:by>
                                    </p:animClr>
                                    <p:set>
                                      <p:cBhvr>
                                        <p:cTn id="82" dur="500" fill="hold"/>
                                        <p:tgtEl>
                                          <p:spTgt spid="20"/>
                                        </p:tgtEl>
                                        <p:attrNameLst>
                                          <p:attrName>fill.type</p:attrName>
                                        </p:attrNameLst>
                                      </p:cBhvr>
                                      <p:to>
                                        <p:strVal val="solid"/>
                                      </p:to>
                                    </p:set>
                                  </p:childTnLst>
                                </p:cTn>
                              </p:par>
                            </p:childTnLst>
                          </p:cTn>
                        </p:par>
                        <p:par>
                          <p:cTn id="83" fill="hold">
                            <p:stCondLst>
                              <p:cond delay="500"/>
                            </p:stCondLst>
                            <p:childTnLst>
                              <p:par>
                                <p:cTn id="84" presetID="1" presetClass="entr" presetSubtype="0" fill="hold" nodeType="afterEffect">
                                  <p:stCondLst>
                                    <p:cond delay="0"/>
                                  </p:stCondLst>
                                  <p:childTnLst>
                                    <p:set>
                                      <p:cBhvr>
                                        <p:cTn id="85" dur="1" fill="hold">
                                          <p:stCondLst>
                                            <p:cond delay="0"/>
                                          </p:stCondLst>
                                        </p:cTn>
                                        <p:tgtEl>
                                          <p:spTgt spid="23"/>
                                        </p:tgtEl>
                                        <p:attrNameLst>
                                          <p:attrName>style.visibility</p:attrName>
                                        </p:attrNameLst>
                                      </p:cBhvr>
                                      <p:to>
                                        <p:strVal val="visible"/>
                                      </p:to>
                                    </p:set>
                                  </p:childTnLst>
                                </p:cTn>
                              </p:par>
                            </p:childTnLst>
                          </p:cTn>
                        </p:par>
                        <p:par>
                          <p:cTn id="86" fill="hold">
                            <p:stCondLst>
                              <p:cond delay="500"/>
                            </p:stCondLst>
                            <p:childTnLst>
                              <p:par>
                                <p:cTn id="87" presetID="1" presetClass="entr" presetSubtype="0" fill="hold" grpId="0" nodeType="afterEffect">
                                  <p:stCondLst>
                                    <p:cond delay="0"/>
                                  </p:stCondLst>
                                  <p:childTnLst>
                                    <p:set>
                                      <p:cBhvr>
                                        <p:cTn id="8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1" grpId="2" animBg="1"/>
      <p:bldP spid="16" grpId="0" animBg="1"/>
      <p:bldP spid="16" grpId="1" animBg="1"/>
      <p:bldP spid="16" grpId="2" animBg="1"/>
      <p:bldP spid="20" grpId="0" animBg="1"/>
      <p:bldP spid="20" grpId="1" animBg="1"/>
      <p:bldP spid="26" grpId="0"/>
      <p:bldP spid="26" grpId="1"/>
      <p:bldP spid="27" grpId="0"/>
      <p:bldP spid="15" grpId="0"/>
      <p:bldP spid="15"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7 Activity: SQL Server Containers</a:t>
            </a:r>
          </a:p>
        </p:txBody>
      </p:sp>
      <p:sp>
        <p:nvSpPr>
          <p:cNvPr id="4" name="Text Placeholder 3"/>
          <p:cNvSpPr>
            <a:spLocks noGrp="1"/>
          </p:cNvSpPr>
          <p:nvPr>
            <p:ph type="body" sz="quarter" idx="12"/>
          </p:nvPr>
        </p:nvSpPr>
        <p:spPr>
          <a:xfrm>
            <a:off x="585216" y="3977319"/>
            <a:ext cx="6400800" cy="615553"/>
          </a:xfrm>
        </p:spPr>
        <p:txBody>
          <a:bodyPr/>
          <a:lstStyle/>
          <a:p>
            <a:r>
              <a:rPr lang="en-US" dirty="0"/>
              <a:t>Getting started with SQL Server Containers</a:t>
            </a:r>
          </a:p>
          <a:p>
            <a:r>
              <a:rPr lang="en-US" dirty="0"/>
              <a:t>Patching and Upgrading SQL Server Containers</a:t>
            </a:r>
          </a:p>
        </p:txBody>
      </p:sp>
    </p:spTree>
    <p:extLst>
      <p:ext uri="{BB962C8B-B14F-4D97-AF65-F5344CB8AC3E}">
        <p14:creationId xmlns:p14="http://schemas.microsoft.com/office/powerpoint/2010/main" val="304626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672BD8-42FC-482A-AAA7-1CEA9853A530}"/>
              </a:ext>
            </a:extLst>
          </p:cNvPr>
          <p:cNvSpPr/>
          <p:nvPr/>
        </p:nvSpPr>
        <p:spPr bwMode="auto">
          <a:xfrm>
            <a:off x="586740" y="1161859"/>
            <a:ext cx="11205153" cy="5087815"/>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7" name="Title 16"/>
          <p:cNvSpPr>
            <a:spLocks noGrp="1"/>
          </p:cNvSpPr>
          <p:nvPr>
            <p:ph type="title"/>
          </p:nvPr>
        </p:nvSpPr>
        <p:spPr>
          <a:xfrm>
            <a:off x="586740" y="208829"/>
            <a:ext cx="11018520" cy="553998"/>
          </a:xfrm>
        </p:spPr>
        <p:txBody>
          <a:bodyPr/>
          <a:lstStyle/>
          <a:p>
            <a:r>
              <a:rPr lang="en-US" dirty="0"/>
              <a:t>Kubernetes (k8s) in a nutshell</a:t>
            </a:r>
          </a:p>
        </p:txBody>
      </p:sp>
      <p:sp>
        <p:nvSpPr>
          <p:cNvPr id="5" name="TextBox 4">
            <a:extLst>
              <a:ext uri="{FF2B5EF4-FFF2-40B4-BE49-F238E27FC236}">
                <a16:creationId xmlns:a16="http://schemas.microsoft.com/office/drawing/2014/main" id="{3C72BC11-402B-4D70-A5F7-3D53E423E3BD}"/>
              </a:ext>
            </a:extLst>
          </p:cNvPr>
          <p:cNvSpPr txBox="1"/>
          <p:nvPr/>
        </p:nvSpPr>
        <p:spPr>
          <a:xfrm>
            <a:off x="586740" y="854082"/>
            <a:ext cx="7850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luster</a:t>
            </a:r>
          </a:p>
        </p:txBody>
      </p:sp>
      <p:sp>
        <p:nvSpPr>
          <p:cNvPr id="7" name="Rectangle 6">
            <a:extLst>
              <a:ext uri="{FF2B5EF4-FFF2-40B4-BE49-F238E27FC236}">
                <a16:creationId xmlns:a16="http://schemas.microsoft.com/office/drawing/2014/main" id="{7A8C2F39-1BFD-4C8A-A51A-708DA0A8B144}"/>
              </a:ext>
            </a:extLst>
          </p:cNvPr>
          <p:cNvSpPr/>
          <p:nvPr/>
        </p:nvSpPr>
        <p:spPr bwMode="auto">
          <a:xfrm>
            <a:off x="879231" y="1554665"/>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85A61A86-B800-477C-9327-69740850AE18}"/>
              </a:ext>
            </a:extLst>
          </p:cNvPr>
          <p:cNvSpPr txBox="1"/>
          <p:nvPr/>
        </p:nvSpPr>
        <p:spPr>
          <a:xfrm>
            <a:off x="879231" y="1246888"/>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10" name="Rectangle 9">
            <a:extLst>
              <a:ext uri="{FF2B5EF4-FFF2-40B4-BE49-F238E27FC236}">
                <a16:creationId xmlns:a16="http://schemas.microsoft.com/office/drawing/2014/main" id="{D575CECC-C32C-48CB-B2D8-2854DDC38ED0}"/>
              </a:ext>
            </a:extLst>
          </p:cNvPr>
          <p:cNvSpPr/>
          <p:nvPr/>
        </p:nvSpPr>
        <p:spPr bwMode="auto">
          <a:xfrm>
            <a:off x="1149735" y="197941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5B660639-6399-4FB0-B778-DDCF66945A40}"/>
              </a:ext>
            </a:extLst>
          </p:cNvPr>
          <p:cNvSpPr txBox="1"/>
          <p:nvPr/>
        </p:nvSpPr>
        <p:spPr>
          <a:xfrm>
            <a:off x="1193419" y="166428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16" name="Rectangle 15">
            <a:extLst>
              <a:ext uri="{FF2B5EF4-FFF2-40B4-BE49-F238E27FC236}">
                <a16:creationId xmlns:a16="http://schemas.microsoft.com/office/drawing/2014/main" id="{9ED78F10-F354-49C4-9393-61552FCE7448}"/>
              </a:ext>
            </a:extLst>
          </p:cNvPr>
          <p:cNvSpPr/>
          <p:nvPr/>
        </p:nvSpPr>
        <p:spPr bwMode="auto">
          <a:xfrm>
            <a:off x="1724603" y="2434575"/>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8" name="Rectangle 17">
            <a:extLst>
              <a:ext uri="{FF2B5EF4-FFF2-40B4-BE49-F238E27FC236}">
                <a16:creationId xmlns:a16="http://schemas.microsoft.com/office/drawing/2014/main" id="{D6D9FC33-0CBB-420D-979B-B98E50436F14}"/>
              </a:ext>
            </a:extLst>
          </p:cNvPr>
          <p:cNvSpPr/>
          <p:nvPr/>
        </p:nvSpPr>
        <p:spPr bwMode="auto">
          <a:xfrm>
            <a:off x="2145610" y="4859770"/>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9" name="Rectangle 18">
            <a:extLst>
              <a:ext uri="{FF2B5EF4-FFF2-40B4-BE49-F238E27FC236}">
                <a16:creationId xmlns:a16="http://schemas.microsoft.com/office/drawing/2014/main" id="{367FAE09-6877-48AC-9F33-7C5C8C040AF1}"/>
              </a:ext>
            </a:extLst>
          </p:cNvPr>
          <p:cNvSpPr/>
          <p:nvPr/>
        </p:nvSpPr>
        <p:spPr bwMode="auto">
          <a:xfrm>
            <a:off x="1149735" y="410885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TextBox 19">
            <a:extLst>
              <a:ext uri="{FF2B5EF4-FFF2-40B4-BE49-F238E27FC236}">
                <a16:creationId xmlns:a16="http://schemas.microsoft.com/office/drawing/2014/main" id="{05718CF7-5F33-4350-A506-81B3B0A2BCD4}"/>
              </a:ext>
            </a:extLst>
          </p:cNvPr>
          <p:cNvSpPr txBox="1"/>
          <p:nvPr/>
        </p:nvSpPr>
        <p:spPr>
          <a:xfrm>
            <a:off x="1193419" y="379372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1" name="Rectangle 20">
            <a:extLst>
              <a:ext uri="{FF2B5EF4-FFF2-40B4-BE49-F238E27FC236}">
                <a16:creationId xmlns:a16="http://schemas.microsoft.com/office/drawing/2014/main" id="{42319B6C-8670-4450-AFD5-8D646AFB400D}"/>
              </a:ext>
            </a:extLst>
          </p:cNvPr>
          <p:cNvSpPr/>
          <p:nvPr/>
        </p:nvSpPr>
        <p:spPr bwMode="auto">
          <a:xfrm>
            <a:off x="1373348" y="427476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2" name="Rectangle: Rounded Corners 11">
            <a:extLst>
              <a:ext uri="{FF2B5EF4-FFF2-40B4-BE49-F238E27FC236}">
                <a16:creationId xmlns:a16="http://schemas.microsoft.com/office/drawing/2014/main" id="{9E34AED3-D959-4FC4-9B62-6CE5BA4DA74C}"/>
              </a:ext>
            </a:extLst>
          </p:cNvPr>
          <p:cNvSpPr/>
          <p:nvPr/>
        </p:nvSpPr>
        <p:spPr bwMode="auto">
          <a:xfrm>
            <a:off x="586740" y="6365631"/>
            <a:ext cx="11205153" cy="42663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Persistent Volume Storage</a:t>
            </a:r>
          </a:p>
        </p:txBody>
      </p:sp>
      <p:sp>
        <p:nvSpPr>
          <p:cNvPr id="23" name="Rectangle 22">
            <a:extLst>
              <a:ext uri="{FF2B5EF4-FFF2-40B4-BE49-F238E27FC236}">
                <a16:creationId xmlns:a16="http://schemas.microsoft.com/office/drawing/2014/main" id="{1F917822-8C1D-4B6C-B7D8-D9DD3A389908}"/>
              </a:ext>
            </a:extLst>
          </p:cNvPr>
          <p:cNvSpPr/>
          <p:nvPr/>
        </p:nvSpPr>
        <p:spPr bwMode="auto">
          <a:xfrm>
            <a:off x="8667666" y="1593397"/>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4" name="TextBox 23">
            <a:extLst>
              <a:ext uri="{FF2B5EF4-FFF2-40B4-BE49-F238E27FC236}">
                <a16:creationId xmlns:a16="http://schemas.microsoft.com/office/drawing/2014/main" id="{B8FE645F-3710-43E5-B90D-81B2C9AAFF4C}"/>
              </a:ext>
            </a:extLst>
          </p:cNvPr>
          <p:cNvSpPr txBox="1"/>
          <p:nvPr/>
        </p:nvSpPr>
        <p:spPr>
          <a:xfrm>
            <a:off x="8667666" y="1285620"/>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26" name="TextBox 25">
            <a:extLst>
              <a:ext uri="{FF2B5EF4-FFF2-40B4-BE49-F238E27FC236}">
                <a16:creationId xmlns:a16="http://schemas.microsoft.com/office/drawing/2014/main" id="{5BBCD61F-BC28-48D5-9D89-C6086F3AA21C}"/>
              </a:ext>
            </a:extLst>
          </p:cNvPr>
          <p:cNvSpPr txBox="1"/>
          <p:nvPr/>
        </p:nvSpPr>
        <p:spPr>
          <a:xfrm>
            <a:off x="8981854" y="170301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9" name="Rectangle 28">
            <a:extLst>
              <a:ext uri="{FF2B5EF4-FFF2-40B4-BE49-F238E27FC236}">
                <a16:creationId xmlns:a16="http://schemas.microsoft.com/office/drawing/2014/main" id="{DB359ABB-8A14-4F90-9C87-5CE271539434}"/>
              </a:ext>
            </a:extLst>
          </p:cNvPr>
          <p:cNvSpPr/>
          <p:nvPr/>
        </p:nvSpPr>
        <p:spPr bwMode="auto">
          <a:xfrm>
            <a:off x="7277524" y="13710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ad balancer</a:t>
            </a:r>
          </a:p>
        </p:txBody>
      </p:sp>
      <p:sp>
        <p:nvSpPr>
          <p:cNvPr id="31" name="Rectangle 30">
            <a:extLst>
              <a:ext uri="{FF2B5EF4-FFF2-40B4-BE49-F238E27FC236}">
                <a16:creationId xmlns:a16="http://schemas.microsoft.com/office/drawing/2014/main" id="{13FAF985-A3C0-49B5-A9D0-7866217D12F7}"/>
              </a:ext>
            </a:extLst>
          </p:cNvPr>
          <p:cNvSpPr/>
          <p:nvPr/>
        </p:nvSpPr>
        <p:spPr bwMode="auto">
          <a:xfrm>
            <a:off x="8938170" y="414758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TextBox 31">
            <a:extLst>
              <a:ext uri="{FF2B5EF4-FFF2-40B4-BE49-F238E27FC236}">
                <a16:creationId xmlns:a16="http://schemas.microsoft.com/office/drawing/2014/main" id="{FFEB592D-92C4-4AC4-8045-A726E8B712DB}"/>
              </a:ext>
            </a:extLst>
          </p:cNvPr>
          <p:cNvSpPr txBox="1"/>
          <p:nvPr/>
        </p:nvSpPr>
        <p:spPr>
          <a:xfrm>
            <a:off x="8981854" y="383245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33" name="Rectangle 32">
            <a:extLst>
              <a:ext uri="{FF2B5EF4-FFF2-40B4-BE49-F238E27FC236}">
                <a16:creationId xmlns:a16="http://schemas.microsoft.com/office/drawing/2014/main" id="{262A227C-9736-4A95-9A79-810D79EB2A15}"/>
              </a:ext>
            </a:extLst>
          </p:cNvPr>
          <p:cNvSpPr/>
          <p:nvPr/>
        </p:nvSpPr>
        <p:spPr bwMode="auto">
          <a:xfrm>
            <a:off x="9161783" y="431349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sp>
        <p:nvSpPr>
          <p:cNvPr id="34" name="Rectangle 33">
            <a:extLst>
              <a:ext uri="{FF2B5EF4-FFF2-40B4-BE49-F238E27FC236}">
                <a16:creationId xmlns:a16="http://schemas.microsoft.com/office/drawing/2014/main" id="{BDF09942-A5F0-4333-BD88-5581DF3D530E}"/>
              </a:ext>
            </a:extLst>
          </p:cNvPr>
          <p:cNvSpPr/>
          <p:nvPr/>
        </p:nvSpPr>
        <p:spPr bwMode="auto">
          <a:xfrm>
            <a:off x="4746705" y="2640089"/>
            <a:ext cx="2614245" cy="2384738"/>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191BCC2-C21A-4225-9E6F-BBEB89D65C58}"/>
              </a:ext>
            </a:extLst>
          </p:cNvPr>
          <p:cNvSpPr txBox="1"/>
          <p:nvPr/>
        </p:nvSpPr>
        <p:spPr>
          <a:xfrm>
            <a:off x="4746705" y="2332311"/>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36" name="Rectangle 35">
            <a:extLst>
              <a:ext uri="{FF2B5EF4-FFF2-40B4-BE49-F238E27FC236}">
                <a16:creationId xmlns:a16="http://schemas.microsoft.com/office/drawing/2014/main" id="{FBF81328-64E0-4BFA-810F-6CDEDF6CA9FD}"/>
              </a:ext>
            </a:extLst>
          </p:cNvPr>
          <p:cNvSpPr/>
          <p:nvPr/>
        </p:nvSpPr>
        <p:spPr bwMode="auto">
          <a:xfrm>
            <a:off x="5017209" y="3064837"/>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88B8F341-9B0D-4056-8325-6746D7B16092}"/>
              </a:ext>
            </a:extLst>
          </p:cNvPr>
          <p:cNvSpPr txBox="1"/>
          <p:nvPr/>
        </p:nvSpPr>
        <p:spPr>
          <a:xfrm>
            <a:off x="5060893" y="2749709"/>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40" name="Rectangle 39">
            <a:extLst>
              <a:ext uri="{FF2B5EF4-FFF2-40B4-BE49-F238E27FC236}">
                <a16:creationId xmlns:a16="http://schemas.microsoft.com/office/drawing/2014/main" id="{12DA8838-B4BC-4C90-A909-51A1BB4CBE7A}"/>
              </a:ext>
            </a:extLst>
          </p:cNvPr>
          <p:cNvSpPr/>
          <p:nvPr/>
        </p:nvSpPr>
        <p:spPr bwMode="auto">
          <a:xfrm>
            <a:off x="5592077" y="35199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operator</a:t>
            </a:r>
          </a:p>
        </p:txBody>
      </p:sp>
      <p:cxnSp>
        <p:nvCxnSpPr>
          <p:cNvPr id="4" name="Straight Connector 3">
            <a:extLst>
              <a:ext uri="{FF2B5EF4-FFF2-40B4-BE49-F238E27FC236}">
                <a16:creationId xmlns:a16="http://schemas.microsoft.com/office/drawing/2014/main" id="{DB21E19B-99E2-449E-A489-4F14D227BE20}"/>
              </a:ext>
            </a:extLst>
          </p:cNvPr>
          <p:cNvCxnSpPr>
            <a:cxnSpLocks/>
            <a:endCxn id="29" idx="2"/>
          </p:cNvCxnSpPr>
          <p:nvPr/>
        </p:nvCxnSpPr>
        <p:spPr>
          <a:xfrm flipV="1">
            <a:off x="7126490" y="2209298"/>
            <a:ext cx="630806" cy="174112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20EA4D-3467-43D9-B833-72BAD7C9BA14}"/>
              </a:ext>
            </a:extLst>
          </p:cNvPr>
          <p:cNvCxnSpPr>
            <a:cxnSpLocks/>
            <a:endCxn id="31" idx="1"/>
          </p:cNvCxnSpPr>
          <p:nvPr/>
        </p:nvCxnSpPr>
        <p:spPr>
          <a:xfrm>
            <a:off x="7104647" y="3972909"/>
            <a:ext cx="1833523" cy="10489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36C95A0-5862-4E7A-BE52-9BCF9294B6E4}"/>
              </a:ext>
            </a:extLst>
          </p:cNvPr>
          <p:cNvCxnSpPr>
            <a:cxnSpLocks/>
            <a:stCxn id="44" idx="1"/>
            <a:endCxn id="29" idx="3"/>
          </p:cNvCxnSpPr>
          <p:nvPr/>
        </p:nvCxnSpPr>
        <p:spPr>
          <a:xfrm flipH="1" flipV="1">
            <a:off x="8237067" y="1790198"/>
            <a:ext cx="946683" cy="8478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90D9FBC-7B7D-442D-963F-5B7DECBDCD5B}"/>
              </a:ext>
            </a:extLst>
          </p:cNvPr>
          <p:cNvSpPr/>
          <p:nvPr/>
        </p:nvSpPr>
        <p:spPr bwMode="auto">
          <a:xfrm>
            <a:off x="8960137" y="205302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44" name="Rectangle 43">
            <a:extLst>
              <a:ext uri="{FF2B5EF4-FFF2-40B4-BE49-F238E27FC236}">
                <a16:creationId xmlns:a16="http://schemas.microsoft.com/office/drawing/2014/main" id="{AFD505FD-0FFE-4262-96A6-4F50CB969BEF}"/>
              </a:ext>
            </a:extLst>
          </p:cNvPr>
          <p:cNvSpPr/>
          <p:nvPr/>
        </p:nvSpPr>
        <p:spPr bwMode="auto">
          <a:xfrm>
            <a:off x="9183750" y="221893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cxnSp>
        <p:nvCxnSpPr>
          <p:cNvPr id="46" name="Straight Connector 45">
            <a:extLst>
              <a:ext uri="{FF2B5EF4-FFF2-40B4-BE49-F238E27FC236}">
                <a16:creationId xmlns:a16="http://schemas.microsoft.com/office/drawing/2014/main" id="{7CA20319-FA35-4F08-AD0C-2EB00ED0C958}"/>
              </a:ext>
            </a:extLst>
          </p:cNvPr>
          <p:cNvCxnSpPr>
            <a:cxnSpLocks/>
            <a:endCxn id="43" idx="1"/>
          </p:cNvCxnSpPr>
          <p:nvPr/>
        </p:nvCxnSpPr>
        <p:spPr>
          <a:xfrm flipV="1">
            <a:off x="7126490" y="2927288"/>
            <a:ext cx="1833647" cy="102313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7D402E50-1024-4B1D-9254-8BE3D9BD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018" y="125258"/>
            <a:ext cx="571875" cy="424535"/>
          </a:xfrm>
          <a:prstGeom prst="rect">
            <a:avLst/>
          </a:prstGeom>
        </p:spPr>
      </p:pic>
      <p:sp>
        <p:nvSpPr>
          <p:cNvPr id="48" name="Rectangle 47">
            <a:extLst>
              <a:ext uri="{FF2B5EF4-FFF2-40B4-BE49-F238E27FC236}">
                <a16:creationId xmlns:a16="http://schemas.microsoft.com/office/drawing/2014/main" id="{24EF2D87-D1D7-4856-A6FC-E621F45E31A1}"/>
              </a:ext>
            </a:extLst>
          </p:cNvPr>
          <p:cNvSpPr/>
          <p:nvPr/>
        </p:nvSpPr>
        <p:spPr bwMode="auto">
          <a:xfrm>
            <a:off x="8245651" y="313414"/>
            <a:ext cx="1769126" cy="5539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lication</a:t>
            </a:r>
          </a:p>
        </p:txBody>
      </p:sp>
      <p:cxnSp>
        <p:nvCxnSpPr>
          <p:cNvPr id="49" name="Straight Connector 48">
            <a:extLst>
              <a:ext uri="{FF2B5EF4-FFF2-40B4-BE49-F238E27FC236}">
                <a16:creationId xmlns:a16="http://schemas.microsoft.com/office/drawing/2014/main" id="{91A964A6-FE29-479C-98F4-D2A3DB6B5E49}"/>
              </a:ext>
            </a:extLst>
          </p:cNvPr>
          <p:cNvCxnSpPr>
            <a:cxnSpLocks/>
            <a:stCxn id="29" idx="0"/>
            <a:endCxn id="48" idx="2"/>
          </p:cNvCxnSpPr>
          <p:nvPr/>
        </p:nvCxnSpPr>
        <p:spPr>
          <a:xfrm flipV="1">
            <a:off x="7757296" y="867412"/>
            <a:ext cx="1372918" cy="5036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383E645-A5D4-40E5-A485-3CEA6AF8E19B}"/>
              </a:ext>
            </a:extLst>
          </p:cNvPr>
          <p:cNvSpPr/>
          <p:nvPr/>
        </p:nvSpPr>
        <p:spPr bwMode="auto">
          <a:xfrm>
            <a:off x="9956012" y="280394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sp>
        <p:nvSpPr>
          <p:cNvPr id="30" name="Rectangle 29">
            <a:extLst>
              <a:ext uri="{FF2B5EF4-FFF2-40B4-BE49-F238E27FC236}">
                <a16:creationId xmlns:a16="http://schemas.microsoft.com/office/drawing/2014/main" id="{CC027076-5734-47BA-88A5-8070398EFCDE}"/>
              </a:ext>
            </a:extLst>
          </p:cNvPr>
          <p:cNvSpPr/>
          <p:nvPr/>
        </p:nvSpPr>
        <p:spPr bwMode="auto">
          <a:xfrm>
            <a:off x="9934045" y="489850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pic>
        <p:nvPicPr>
          <p:cNvPr id="6" name="Picture 5" descr="A picture containing indoor, sitting&#10;&#10;Description automatically generated">
            <a:extLst>
              <a:ext uri="{FF2B5EF4-FFF2-40B4-BE49-F238E27FC236}">
                <a16:creationId xmlns:a16="http://schemas.microsoft.com/office/drawing/2014/main" id="{CC320B00-366A-486B-BA27-098F80E342E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45039" y="549793"/>
            <a:ext cx="455294" cy="613191"/>
          </a:xfrm>
          <a:prstGeom prst="rect">
            <a:avLst/>
          </a:prstGeom>
        </p:spPr>
      </p:pic>
      <p:pic>
        <p:nvPicPr>
          <p:cNvPr id="2050" name="Picture 2" descr="Image result for azure virtual machine logo">
            <a:extLst>
              <a:ext uri="{FF2B5EF4-FFF2-40B4-BE49-F238E27FC236}">
                <a16:creationId xmlns:a16="http://schemas.microsoft.com/office/drawing/2014/main" id="{A105F8B1-8AD3-4229-ADD7-31E61CF69F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203" y="1322923"/>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Image result for azure virtual machine logo">
            <a:extLst>
              <a:ext uri="{FF2B5EF4-FFF2-40B4-BE49-F238E27FC236}">
                <a16:creationId xmlns:a16="http://schemas.microsoft.com/office/drawing/2014/main" id="{FCF2BA87-1D7F-4231-AEE3-B2A8FF2799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6527" y="1577304"/>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azure virtual machine logo">
            <a:extLst>
              <a:ext uri="{FF2B5EF4-FFF2-40B4-BE49-F238E27FC236}">
                <a16:creationId xmlns:a16="http://schemas.microsoft.com/office/drawing/2014/main" id="{FD598B24-9BD4-4DC7-9289-8659C9C71B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1454" y="4976769"/>
            <a:ext cx="951443" cy="951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67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0" grpId="0" animBg="1"/>
      <p:bldP spid="11" grpId="0"/>
      <p:bldP spid="16" grpId="0" animBg="1"/>
      <p:bldP spid="18" grpId="0" animBg="1"/>
      <p:bldP spid="19" grpId="0" animBg="1"/>
      <p:bldP spid="20" grpId="0"/>
      <p:bldP spid="21" grpId="0" animBg="1"/>
      <p:bldP spid="12" grpId="0" animBg="1"/>
      <p:bldP spid="23" grpId="0" animBg="1"/>
      <p:bldP spid="24" grpId="0"/>
      <p:bldP spid="26" grpId="0"/>
      <p:bldP spid="29" grpId="0" animBg="1"/>
      <p:bldP spid="31" grpId="0" animBg="1"/>
      <p:bldP spid="32" grpId="0"/>
      <p:bldP spid="33" grpId="0" animBg="1"/>
      <p:bldP spid="34" grpId="0" animBg="1"/>
      <p:bldP spid="35" grpId="0"/>
      <p:bldP spid="36" grpId="0" animBg="1"/>
      <p:bldP spid="37" grpId="0"/>
      <p:bldP spid="40" grpId="0" animBg="1"/>
      <p:bldP spid="43" grpId="0" animBg="1"/>
      <p:bldP spid="44" grpId="0" animBg="1"/>
      <p:bldP spid="48" grpId="0" animBg="1"/>
      <p:bldP spid="42" grpId="0" animBg="1"/>
      <p:bldP spid="3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BCCEA-9662-4E41-B878-3AD78365FB68}"/>
              </a:ext>
            </a:extLst>
          </p:cNvPr>
          <p:cNvSpPr>
            <a:spLocks noGrp="1"/>
          </p:cNvSpPr>
          <p:nvPr>
            <p:ph type="title"/>
          </p:nvPr>
        </p:nvSpPr>
        <p:spPr/>
        <p:txBody>
          <a:bodyPr/>
          <a:lstStyle/>
          <a:p>
            <a:r>
              <a:rPr lang="en-US" dirty="0"/>
              <a:t>Let’s hear from an expert on k8s</a:t>
            </a:r>
          </a:p>
        </p:txBody>
      </p:sp>
      <p:pic>
        <p:nvPicPr>
          <p:cNvPr id="5" name="Picture 4">
            <a:hlinkClick r:id="rId2"/>
            <a:extLst>
              <a:ext uri="{FF2B5EF4-FFF2-40B4-BE49-F238E27FC236}">
                <a16:creationId xmlns:a16="http://schemas.microsoft.com/office/drawing/2014/main" id="{850F3035-6166-45BF-8FDF-BA7C84D4CD6A}"/>
              </a:ext>
            </a:extLst>
          </p:cNvPr>
          <p:cNvPicPr>
            <a:picLocks noChangeAspect="1"/>
          </p:cNvPicPr>
          <p:nvPr/>
        </p:nvPicPr>
        <p:blipFill>
          <a:blip r:embed="rId3"/>
          <a:stretch>
            <a:fillRect/>
          </a:stretch>
        </p:blipFill>
        <p:spPr>
          <a:xfrm>
            <a:off x="440650" y="1496930"/>
            <a:ext cx="8253175" cy="4618120"/>
          </a:xfrm>
          <a:prstGeom prst="rect">
            <a:avLst/>
          </a:prstGeom>
        </p:spPr>
      </p:pic>
      <p:sp>
        <p:nvSpPr>
          <p:cNvPr id="6" name="Rectangle 5">
            <a:extLst>
              <a:ext uri="{FF2B5EF4-FFF2-40B4-BE49-F238E27FC236}">
                <a16:creationId xmlns:a16="http://schemas.microsoft.com/office/drawing/2014/main" id="{84794F1F-18FA-41A0-B617-98A6E6FE176C}"/>
              </a:ext>
            </a:extLst>
          </p:cNvPr>
          <p:cNvSpPr/>
          <p:nvPr/>
        </p:nvSpPr>
        <p:spPr bwMode="auto">
          <a:xfrm>
            <a:off x="8908256" y="117915"/>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Container and k8s course</a:t>
            </a:r>
            <a:endParaRPr lang="en-US" sz="1600" dirty="0">
              <a:gradFill>
                <a:gsLst>
                  <a:gs pos="40075">
                    <a:srgbClr val="FFFFFF"/>
                  </a:gs>
                  <a:gs pos="30000">
                    <a:srgbClr val="FFFFFF"/>
                  </a:gs>
                </a:gsLst>
                <a:lin ang="5400000" scaled="0"/>
              </a:gradFill>
            </a:endParaRPr>
          </a:p>
        </p:txBody>
      </p:sp>
      <p:sp>
        <p:nvSpPr>
          <p:cNvPr id="7" name="Rectangle 6">
            <a:extLst>
              <a:ext uri="{FF2B5EF4-FFF2-40B4-BE49-F238E27FC236}">
                <a16:creationId xmlns:a16="http://schemas.microsoft.com/office/drawing/2014/main" id="{C0513B01-0AB7-4EE2-B758-1F8DC5B747D1}"/>
              </a:ext>
            </a:extLst>
          </p:cNvPr>
          <p:cNvSpPr/>
          <p:nvPr/>
        </p:nvSpPr>
        <p:spPr bwMode="auto">
          <a:xfrm>
            <a:off x="8908256" y="1011198"/>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5"/>
              </a:rPr>
              <a:t>https://aka.ms/k8slearning</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6208148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C31C2-8E64-4E6B-BEF4-5E8D510C4D6F}"/>
              </a:ext>
            </a:extLst>
          </p:cNvPr>
          <p:cNvSpPr>
            <a:spLocks noGrp="1"/>
          </p:cNvSpPr>
          <p:nvPr>
            <p:ph type="title"/>
          </p:nvPr>
        </p:nvSpPr>
        <p:spPr>
          <a:xfrm>
            <a:off x="586740" y="156950"/>
            <a:ext cx="11018520" cy="553998"/>
          </a:xfrm>
        </p:spPr>
        <p:txBody>
          <a:bodyPr/>
          <a:lstStyle/>
          <a:p>
            <a:r>
              <a:rPr lang="en-US" dirty="0"/>
              <a:t>The innovation of SQL Server 2016 and 2017</a:t>
            </a:r>
          </a:p>
        </p:txBody>
      </p:sp>
      <p:graphicFrame>
        <p:nvGraphicFramePr>
          <p:cNvPr id="4" name="Diagram 3">
            <a:extLst>
              <a:ext uri="{FF2B5EF4-FFF2-40B4-BE49-F238E27FC236}">
                <a16:creationId xmlns:a16="http://schemas.microsoft.com/office/drawing/2014/main" id="{EA9A1CEE-F5DA-407A-8579-C1702D65B552}"/>
              </a:ext>
            </a:extLst>
          </p:cNvPr>
          <p:cNvGraphicFramePr/>
          <p:nvPr>
            <p:extLst>
              <p:ext uri="{D42A27DB-BD31-4B8C-83A1-F6EECF244321}">
                <p14:modId xmlns:p14="http://schemas.microsoft.com/office/powerpoint/2010/main" val="2511169001"/>
              </p:ext>
            </p:extLst>
          </p:nvPr>
        </p:nvGraphicFramePr>
        <p:xfrm>
          <a:off x="588263" y="1214651"/>
          <a:ext cx="11018520" cy="5486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311653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D644A-9300-46F6-9746-8A8F6FE20638}"/>
              </a:ext>
            </a:extLst>
          </p:cNvPr>
          <p:cNvSpPr>
            <a:spLocks noGrp="1"/>
          </p:cNvSpPr>
          <p:nvPr>
            <p:ph type="title"/>
          </p:nvPr>
        </p:nvSpPr>
        <p:spPr/>
        <p:txBody>
          <a:bodyPr/>
          <a:lstStyle/>
          <a:p>
            <a:r>
              <a:rPr lang="en-US" dirty="0"/>
              <a:t>k8s implementations</a:t>
            </a:r>
          </a:p>
        </p:txBody>
      </p:sp>
      <p:graphicFrame>
        <p:nvGraphicFramePr>
          <p:cNvPr id="4" name="Diagram 3">
            <a:extLst>
              <a:ext uri="{FF2B5EF4-FFF2-40B4-BE49-F238E27FC236}">
                <a16:creationId xmlns:a16="http://schemas.microsoft.com/office/drawing/2014/main" id="{25BC0E79-4545-4B8E-9B34-E1DA2536C7DA}"/>
              </a:ext>
            </a:extLst>
          </p:cNvPr>
          <p:cNvGraphicFramePr/>
          <p:nvPr>
            <p:extLst>
              <p:ext uri="{D42A27DB-BD31-4B8C-83A1-F6EECF244321}">
                <p14:modId xmlns:p14="http://schemas.microsoft.com/office/powerpoint/2010/main" val="1763623619"/>
              </p:ext>
            </p:extLst>
          </p:nvPr>
        </p:nvGraphicFramePr>
        <p:xfrm>
          <a:off x="586390" y="1434370"/>
          <a:ext cx="10957910" cy="47378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Rounded Corners 4">
            <a:extLst>
              <a:ext uri="{FF2B5EF4-FFF2-40B4-BE49-F238E27FC236}">
                <a16:creationId xmlns:a16="http://schemas.microsoft.com/office/drawing/2014/main" id="{A07FA8A8-28D0-4038-A3E5-23541A3326C9}"/>
              </a:ext>
            </a:extLst>
          </p:cNvPr>
          <p:cNvSpPr/>
          <p:nvPr/>
        </p:nvSpPr>
        <p:spPr bwMode="auto">
          <a:xfrm>
            <a:off x="7843838" y="278606"/>
            <a:ext cx="3986212" cy="471488"/>
          </a:xfrm>
          <a:prstGeom prst="round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Get the full list </a:t>
            </a:r>
            <a:r>
              <a:rPr lang="en-US" sz="1600" dirty="0">
                <a:gradFill>
                  <a:gsLst>
                    <a:gs pos="40075">
                      <a:srgbClr val="FFFFFF"/>
                    </a:gs>
                    <a:gs pos="30000">
                      <a:srgbClr val="FFFFFF"/>
                    </a:gs>
                  </a:gsLst>
                  <a:lin ang="5400000" scaled="0"/>
                </a:gradFill>
                <a:hlinkClick r:id="rId7"/>
              </a:rPr>
              <a:t>her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057104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65FF878-1A60-4E47-9A24-794CDD479790}"/>
                                            </p:graphicEl>
                                          </p:spTgt>
                                        </p:tgtEl>
                                        <p:attrNameLst>
                                          <p:attrName>style.visibility</p:attrName>
                                        </p:attrNameLst>
                                      </p:cBhvr>
                                      <p:to>
                                        <p:strVal val="visible"/>
                                      </p:to>
                                    </p:set>
                                    <p:animEffect transition="in" filter="fade">
                                      <p:cBhvr>
                                        <p:cTn id="7" dur="500"/>
                                        <p:tgtEl>
                                          <p:spTgt spid="4">
                                            <p:graphicEl>
                                              <a:dgm id="{D65FF878-1A60-4E47-9A24-794CDD4797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AB435B41-97BA-440A-A705-44B22CDB9B08}"/>
                                            </p:graphicEl>
                                          </p:spTgt>
                                        </p:tgtEl>
                                        <p:attrNameLst>
                                          <p:attrName>style.visibility</p:attrName>
                                        </p:attrNameLst>
                                      </p:cBhvr>
                                      <p:to>
                                        <p:strVal val="visible"/>
                                      </p:to>
                                    </p:set>
                                    <p:animEffect transition="in" filter="fade">
                                      <p:cBhvr>
                                        <p:cTn id="12" dur="500"/>
                                        <p:tgtEl>
                                          <p:spTgt spid="4">
                                            <p:graphicEl>
                                              <a:dgm id="{AB435B41-97BA-440A-A705-44B22CDB9B0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6FED4224-6491-4827-B3FF-D06680D6EA87}"/>
                                            </p:graphicEl>
                                          </p:spTgt>
                                        </p:tgtEl>
                                        <p:attrNameLst>
                                          <p:attrName>style.visibility</p:attrName>
                                        </p:attrNameLst>
                                      </p:cBhvr>
                                      <p:to>
                                        <p:strVal val="visible"/>
                                      </p:to>
                                    </p:set>
                                    <p:animEffect transition="in" filter="fade">
                                      <p:cBhvr>
                                        <p:cTn id="17" dur="500"/>
                                        <p:tgtEl>
                                          <p:spTgt spid="4">
                                            <p:graphicEl>
                                              <a:dgm id="{6FED4224-6491-4827-B3FF-D06680D6EA8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248090D7-1E72-4460-B238-DAE11EAFAB92}"/>
                                            </p:graphicEl>
                                          </p:spTgt>
                                        </p:tgtEl>
                                        <p:attrNameLst>
                                          <p:attrName>style.visibility</p:attrName>
                                        </p:attrNameLst>
                                      </p:cBhvr>
                                      <p:to>
                                        <p:strVal val="visible"/>
                                      </p:to>
                                    </p:set>
                                    <p:animEffect transition="in" filter="fade">
                                      <p:cBhvr>
                                        <p:cTn id="22" dur="500"/>
                                        <p:tgtEl>
                                          <p:spTgt spid="4">
                                            <p:graphicEl>
                                              <a:dgm id="{248090D7-1E72-4460-B238-DAE11EAFAB92}"/>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DA7E4824-0F14-46CE-8B64-4544C89C3240}"/>
                                            </p:graphicEl>
                                          </p:spTgt>
                                        </p:tgtEl>
                                        <p:attrNameLst>
                                          <p:attrName>style.visibility</p:attrName>
                                        </p:attrNameLst>
                                      </p:cBhvr>
                                      <p:to>
                                        <p:strVal val="visible"/>
                                      </p:to>
                                    </p:set>
                                    <p:animEffect transition="in" filter="fade">
                                      <p:cBhvr>
                                        <p:cTn id="27" dur="500"/>
                                        <p:tgtEl>
                                          <p:spTgt spid="4">
                                            <p:graphicEl>
                                              <a:dgm id="{DA7E4824-0F14-46CE-8B64-4544C89C3240}"/>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graphicEl>
                                              <a:dgm id="{6F34995B-366C-4C54-998F-F53E0C766676}"/>
                                            </p:graphicEl>
                                          </p:spTgt>
                                        </p:tgtEl>
                                        <p:attrNameLst>
                                          <p:attrName>style.visibility</p:attrName>
                                        </p:attrNameLst>
                                      </p:cBhvr>
                                      <p:to>
                                        <p:strVal val="visible"/>
                                      </p:to>
                                    </p:set>
                                    <p:animEffect transition="in" filter="fade">
                                      <p:cBhvr>
                                        <p:cTn id="32" dur="500"/>
                                        <p:tgtEl>
                                          <p:spTgt spid="4">
                                            <p:graphicEl>
                                              <a:dgm id="{6F34995B-366C-4C54-998F-F53E0C766676}"/>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B91AAFE7-035C-4837-A454-1360C38F26CB}"/>
              </a:ext>
            </a:extLst>
          </p:cNvPr>
          <p:cNvSpPr/>
          <p:nvPr/>
        </p:nvSpPr>
        <p:spPr>
          <a:xfrm>
            <a:off x="980285" y="5226931"/>
            <a:ext cx="8472064" cy="887186"/>
          </a:xfrm>
          <a:prstGeom prst="roundRect">
            <a:avLst>
              <a:gd name="adj" fmla="val 0"/>
            </a:avLst>
          </a:prstGeom>
          <a:noFill/>
          <a:ln w="12700" cap="rnd">
            <a:solidFill>
              <a:schemeClr val="tx2"/>
            </a:solidFill>
          </a:ln>
          <a:scene3d>
            <a:camera prst="orthographicFront"/>
            <a:lightRig rig="threePt" dir="t"/>
          </a:scene3d>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defTabSz="609468">
              <a:defRPr/>
            </a:pPr>
            <a:r>
              <a:rPr lang="en-US" sz="1200" dirty="0">
                <a:solidFill>
                  <a:srgbClr val="000000"/>
                </a:solidFill>
                <a:latin typeface="Segoe UI"/>
              </a:rPr>
              <a:t>Persistent Volume Storage</a:t>
            </a:r>
          </a:p>
        </p:txBody>
      </p:sp>
      <p:sp>
        <p:nvSpPr>
          <p:cNvPr id="5" name="Rectangle 4">
            <a:extLst>
              <a:ext uri="{FF2B5EF4-FFF2-40B4-BE49-F238E27FC236}">
                <a16:creationId xmlns:a16="http://schemas.microsoft.com/office/drawing/2014/main" id="{00161082-25D0-4036-BD92-38123745CB89}"/>
              </a:ext>
            </a:extLst>
          </p:cNvPr>
          <p:cNvSpPr/>
          <p:nvPr/>
        </p:nvSpPr>
        <p:spPr>
          <a:xfrm>
            <a:off x="455706" y="1590415"/>
            <a:ext cx="9521225" cy="4979872"/>
          </a:xfrm>
          <a:prstGeom prst="rect">
            <a:avLst/>
          </a:prstGeom>
          <a:noFill/>
          <a:ln w="1270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wrap="square" lIns="0" rIns="0" rtlCol="0" anchor="t" anchorCtr="1"/>
          <a:lstStyle/>
          <a:p>
            <a:pPr defTabSz="609468">
              <a:defRPr/>
            </a:pPr>
            <a:r>
              <a:rPr lang="en-US" sz="2400" dirty="0">
                <a:solidFill>
                  <a:srgbClr val="FFFFFF"/>
                </a:solidFill>
                <a:latin typeface="Segoe UI"/>
              </a:rPr>
              <a:t>Kubernetes</a:t>
            </a:r>
          </a:p>
        </p:txBody>
      </p:sp>
      <p:sp>
        <p:nvSpPr>
          <p:cNvPr id="14" name="Title 1">
            <a:extLst>
              <a:ext uri="{FF2B5EF4-FFF2-40B4-BE49-F238E27FC236}">
                <a16:creationId xmlns:a16="http://schemas.microsoft.com/office/drawing/2014/main" id="{29F2F0EA-F2A2-400F-AA08-DDA986FD6FF6}"/>
              </a:ext>
            </a:extLst>
          </p:cNvPr>
          <p:cNvSpPr txBox="1">
            <a:spLocks/>
          </p:cNvSpPr>
          <p:nvPr/>
        </p:nvSpPr>
        <p:spPr>
          <a:xfrm>
            <a:off x="204036" y="146289"/>
            <a:ext cx="0" cy="0"/>
          </a:xfrm>
        </p:spPr>
        <p:txBody>
          <a:bodyP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8935">
              <a:defRPr/>
            </a:pPr>
            <a:endParaRPr lang="en-US" sz="4800" dirty="0">
              <a:solidFill>
                <a:srgbClr val="FFFFFF"/>
              </a:solidFill>
              <a:latin typeface="Segoe UI Light"/>
            </a:endParaRPr>
          </a:p>
        </p:txBody>
      </p:sp>
      <p:sp>
        <p:nvSpPr>
          <p:cNvPr id="36" name="TextBox 35">
            <a:extLst>
              <a:ext uri="{FF2B5EF4-FFF2-40B4-BE49-F238E27FC236}">
                <a16:creationId xmlns:a16="http://schemas.microsoft.com/office/drawing/2014/main" id="{6CB7B8D8-3C52-4AFE-936A-936F7E75D564}"/>
              </a:ext>
            </a:extLst>
          </p:cNvPr>
          <p:cNvSpPr txBox="1"/>
          <p:nvPr/>
        </p:nvSpPr>
        <p:spPr>
          <a:xfrm>
            <a:off x="270066" y="862626"/>
            <a:ext cx="6157929" cy="374793"/>
          </a:xfrm>
          <a:prstGeom prst="rect">
            <a:avLst/>
          </a:prstGeom>
          <a:noFill/>
        </p:spPr>
        <p:txBody>
          <a:bodyPr wrap="none" lIns="146284" rtlCol="0">
            <a:spAutoFit/>
          </a:bodyPr>
          <a:lstStyle/>
          <a:p>
            <a:pPr defTabSz="914192">
              <a:defRPr/>
            </a:pPr>
            <a:r>
              <a:rPr lang="en-US" sz="1800" b="1" dirty="0">
                <a:solidFill>
                  <a:srgbClr val="0078D7"/>
                </a:solidFill>
                <a:latin typeface="Segoe UI Semibold" panose="020B0502040204020203" pitchFamily="34" charset="0"/>
                <a:cs typeface="Segoe UI Semibold" panose="020B0502040204020203" pitchFamily="34" charset="0"/>
              </a:rPr>
              <a:t>Built-in HADR orchestration with no clustering required</a:t>
            </a:r>
          </a:p>
        </p:txBody>
      </p:sp>
      <p:sp>
        <p:nvSpPr>
          <p:cNvPr id="2" name="TextBox 1">
            <a:extLst>
              <a:ext uri="{FF2B5EF4-FFF2-40B4-BE49-F238E27FC236}">
                <a16:creationId xmlns:a16="http://schemas.microsoft.com/office/drawing/2014/main" id="{3DE734DD-EFB9-4EA2-BF56-EA5C439C6482}"/>
              </a:ext>
            </a:extLst>
          </p:cNvPr>
          <p:cNvSpPr txBox="1"/>
          <p:nvPr/>
        </p:nvSpPr>
        <p:spPr>
          <a:xfrm>
            <a:off x="10487440" y="3236559"/>
            <a:ext cx="906830" cy="280678"/>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defTabSz="914192">
              <a:defRPr/>
            </a:pPr>
            <a:r>
              <a:rPr lang="en-US" sz="1200" dirty="0">
                <a:solidFill>
                  <a:srgbClr val="000000"/>
                </a:solidFill>
                <a:latin typeface="Segoe UI"/>
              </a:rPr>
              <a:t>User</a:t>
            </a:r>
          </a:p>
        </p:txBody>
      </p:sp>
      <p:sp>
        <p:nvSpPr>
          <p:cNvPr id="11" name="Title 10">
            <a:extLst>
              <a:ext uri="{FF2B5EF4-FFF2-40B4-BE49-F238E27FC236}">
                <a16:creationId xmlns:a16="http://schemas.microsoft.com/office/drawing/2014/main" id="{14CFCC36-BE54-C64C-86C7-489C37867EDD}"/>
              </a:ext>
            </a:extLst>
          </p:cNvPr>
          <p:cNvSpPr>
            <a:spLocks noGrp="1"/>
          </p:cNvSpPr>
          <p:nvPr>
            <p:ph type="title"/>
          </p:nvPr>
        </p:nvSpPr>
        <p:spPr>
          <a:xfrm>
            <a:off x="270066" y="82485"/>
            <a:ext cx="11018520" cy="553998"/>
          </a:xfrm>
        </p:spPr>
        <p:txBody>
          <a:bodyPr vert="horz" wrap="square" lIns="146284" tIns="89642" rIns="143428" bIns="89642" rtlCol="0" anchor="t">
            <a:noAutofit/>
          </a:bodyPr>
          <a:lstStyle/>
          <a:p>
            <a:r>
              <a:rPr lang="en-US" dirty="0"/>
              <a:t>SQL Server - Shared storage HA in Kubernetes</a:t>
            </a:r>
          </a:p>
        </p:txBody>
      </p:sp>
      <p:sp>
        <p:nvSpPr>
          <p:cNvPr id="71" name="Freeform 5">
            <a:extLst>
              <a:ext uri="{FF2B5EF4-FFF2-40B4-BE49-F238E27FC236}">
                <a16:creationId xmlns:a16="http://schemas.microsoft.com/office/drawing/2014/main" id="{015A8A88-9217-BE43-A55B-2A8F82BC6526}"/>
              </a:ext>
            </a:extLst>
          </p:cNvPr>
          <p:cNvSpPr>
            <a:spLocks noEditPoints="1"/>
          </p:cNvSpPr>
          <p:nvPr/>
        </p:nvSpPr>
        <p:spPr bwMode="auto">
          <a:xfrm>
            <a:off x="10688100" y="2634397"/>
            <a:ext cx="505511" cy="5648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7" name="Rectangle: Rounded Corners 6">
            <a:extLst>
              <a:ext uri="{FF2B5EF4-FFF2-40B4-BE49-F238E27FC236}">
                <a16:creationId xmlns:a16="http://schemas.microsoft.com/office/drawing/2014/main" id="{02C55D87-376F-4706-920D-06AAB722E882}"/>
              </a:ext>
            </a:extLst>
          </p:cNvPr>
          <p:cNvSpPr/>
          <p:nvPr/>
        </p:nvSpPr>
        <p:spPr>
          <a:xfrm>
            <a:off x="6973662"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16" name="Rectangle: Rounded Corners 15">
            <a:extLst>
              <a:ext uri="{FF2B5EF4-FFF2-40B4-BE49-F238E27FC236}">
                <a16:creationId xmlns:a16="http://schemas.microsoft.com/office/drawing/2014/main" id="{860D20A0-01F5-439C-A157-1E54A04AF354}"/>
              </a:ext>
            </a:extLst>
          </p:cNvPr>
          <p:cNvSpPr/>
          <p:nvPr/>
        </p:nvSpPr>
        <p:spPr>
          <a:xfrm>
            <a:off x="7184450" y="2506465"/>
            <a:ext cx="2057109"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17" name="Rectangle: Rounded Corners 16">
            <a:extLst>
              <a:ext uri="{FF2B5EF4-FFF2-40B4-BE49-F238E27FC236}">
                <a16:creationId xmlns:a16="http://schemas.microsoft.com/office/drawing/2014/main" id="{32EC8A84-9B97-4867-96E3-E5AE0E0DC400}"/>
              </a:ext>
            </a:extLst>
          </p:cNvPr>
          <p:cNvSpPr/>
          <p:nvPr/>
        </p:nvSpPr>
        <p:spPr>
          <a:xfrm>
            <a:off x="7495304" y="2868330"/>
            <a:ext cx="1435404" cy="283424"/>
          </a:xfrm>
          <a:prstGeom prst="roundRect">
            <a:avLst>
              <a:gd name="adj" fmla="val 0"/>
            </a:avLst>
          </a:prstGeom>
          <a:noFill/>
          <a:ln w="12700">
            <a:solidFill>
              <a:srgbClr val="FFFFFF"/>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6" name="Rectangle: Rounded Corners 5">
            <a:extLst>
              <a:ext uri="{FF2B5EF4-FFF2-40B4-BE49-F238E27FC236}">
                <a16:creationId xmlns:a16="http://schemas.microsoft.com/office/drawing/2014/main" id="{DC59C28B-99F1-428F-BF30-99B63E57E5BA}"/>
              </a:ext>
            </a:extLst>
          </p:cNvPr>
          <p:cNvSpPr/>
          <p:nvPr/>
        </p:nvSpPr>
        <p:spPr>
          <a:xfrm>
            <a:off x="3976973"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1" name="Rectangle: Rounded Corners 20">
            <a:extLst>
              <a:ext uri="{FF2B5EF4-FFF2-40B4-BE49-F238E27FC236}">
                <a16:creationId xmlns:a16="http://schemas.microsoft.com/office/drawing/2014/main" id="{6320D24A-9917-44A1-8D1E-C536F3E44617}"/>
              </a:ext>
            </a:extLst>
          </p:cNvPr>
          <p:cNvSpPr/>
          <p:nvPr/>
        </p:nvSpPr>
        <p:spPr>
          <a:xfrm>
            <a:off x="4187762" y="2506465"/>
            <a:ext cx="2057109" cy="877699"/>
          </a:xfrm>
          <a:prstGeom prst="roundRect">
            <a:avLst>
              <a:gd name="adj" fmla="val 0"/>
            </a:avLst>
          </a:prstGeom>
          <a:solidFill>
            <a:schemeClr val="accent5">
              <a:lumMod val="20000"/>
              <a:lumOff val="80000"/>
              <a:alpha val="6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000000"/>
                </a:solidFill>
                <a:latin typeface="Segoe UI"/>
              </a:rPr>
              <a:t>Load Balancer Service</a:t>
            </a:r>
          </a:p>
        </p:txBody>
      </p:sp>
      <p:sp>
        <p:nvSpPr>
          <p:cNvPr id="9" name="Rectangle: Rounded Corners 8">
            <a:extLst>
              <a:ext uri="{FF2B5EF4-FFF2-40B4-BE49-F238E27FC236}">
                <a16:creationId xmlns:a16="http://schemas.microsoft.com/office/drawing/2014/main" id="{07797FDF-0859-4AA4-A7FF-CE94805DBCBA}"/>
              </a:ext>
            </a:extLst>
          </p:cNvPr>
          <p:cNvSpPr/>
          <p:nvPr/>
        </p:nvSpPr>
        <p:spPr>
          <a:xfrm>
            <a:off x="980285" y="2054333"/>
            <a:ext cx="2478688" cy="2720466"/>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4" name="Rectangle: Rounded Corners 23">
            <a:extLst>
              <a:ext uri="{FF2B5EF4-FFF2-40B4-BE49-F238E27FC236}">
                <a16:creationId xmlns:a16="http://schemas.microsoft.com/office/drawing/2014/main" id="{58985664-8899-40C6-8B61-DCA0B59470B7}"/>
              </a:ext>
            </a:extLst>
          </p:cNvPr>
          <p:cNvSpPr/>
          <p:nvPr/>
        </p:nvSpPr>
        <p:spPr>
          <a:xfrm>
            <a:off x="1189550" y="2506465"/>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25" name="Rectangle: Rounded Corners 24">
            <a:extLst>
              <a:ext uri="{FF2B5EF4-FFF2-40B4-BE49-F238E27FC236}">
                <a16:creationId xmlns:a16="http://schemas.microsoft.com/office/drawing/2014/main" id="{7E7E225D-4755-4B06-B60E-A13BC64E8B3E}"/>
              </a:ext>
            </a:extLst>
          </p:cNvPr>
          <p:cNvSpPr/>
          <p:nvPr/>
        </p:nvSpPr>
        <p:spPr>
          <a:xfrm>
            <a:off x="1503451" y="2870482"/>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80" name="Rectangle: Rounded Corners 23">
            <a:extLst>
              <a:ext uri="{FF2B5EF4-FFF2-40B4-BE49-F238E27FC236}">
                <a16:creationId xmlns:a16="http://schemas.microsoft.com/office/drawing/2014/main" id="{FD469D95-08DF-4B49-9997-6BE45504353F}"/>
              </a:ext>
            </a:extLst>
          </p:cNvPr>
          <p:cNvSpPr/>
          <p:nvPr/>
        </p:nvSpPr>
        <p:spPr>
          <a:xfrm>
            <a:off x="1189550" y="3579482"/>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81" name="Rectangle: Rounded Corners 24">
            <a:extLst>
              <a:ext uri="{FF2B5EF4-FFF2-40B4-BE49-F238E27FC236}">
                <a16:creationId xmlns:a16="http://schemas.microsoft.com/office/drawing/2014/main" id="{3703B540-C3CD-5A44-9E45-AE73CC8474DB}"/>
              </a:ext>
            </a:extLst>
          </p:cNvPr>
          <p:cNvSpPr/>
          <p:nvPr/>
        </p:nvSpPr>
        <p:spPr>
          <a:xfrm>
            <a:off x="1503451" y="3943499"/>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cxnSp>
        <p:nvCxnSpPr>
          <p:cNvPr id="85" name="Elbow Connector 84">
            <a:extLst>
              <a:ext uri="{FF2B5EF4-FFF2-40B4-BE49-F238E27FC236}">
                <a16:creationId xmlns:a16="http://schemas.microsoft.com/office/drawing/2014/main" id="{869DB18D-8B6C-5A4C-8DDC-69DF3CE9DB2E}"/>
              </a:ext>
            </a:extLst>
          </p:cNvPr>
          <p:cNvCxnSpPr>
            <a:stCxn id="71" idx="1"/>
            <a:endCxn id="21" idx="0"/>
          </p:cNvCxnSpPr>
          <p:nvPr/>
        </p:nvCxnSpPr>
        <p:spPr>
          <a:xfrm flipH="1" flipV="1">
            <a:off x="5216316" y="2506465"/>
            <a:ext cx="5726594" cy="127932"/>
          </a:xfrm>
          <a:prstGeom prst="bentConnector4">
            <a:avLst>
              <a:gd name="adj1" fmla="val -33"/>
              <a:gd name="adj2" fmla="val 62018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0384715-6567-AA43-A514-49237FE92748}"/>
              </a:ext>
            </a:extLst>
          </p:cNvPr>
          <p:cNvCxnSpPr>
            <a:stCxn id="21" idx="1"/>
          </p:cNvCxnSpPr>
          <p:nvPr/>
        </p:nvCxnSpPr>
        <p:spPr>
          <a:xfrm flipH="1" flipV="1">
            <a:off x="3249711"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D269D8C0-E75D-3A4E-BCDF-E7172A401646}"/>
              </a:ext>
            </a:extLst>
          </p:cNvPr>
          <p:cNvCxnSpPr>
            <a:cxnSpLocks/>
            <a:stCxn id="24" idx="2"/>
          </p:cNvCxnSpPr>
          <p:nvPr/>
        </p:nvCxnSpPr>
        <p:spPr>
          <a:xfrm>
            <a:off x="2219630"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995444D6-FE5F-CB45-B835-55938D1DA9DC}"/>
              </a:ext>
            </a:extLst>
          </p:cNvPr>
          <p:cNvCxnSpPr>
            <a:stCxn id="21" idx="2"/>
            <a:endCxn id="80" idx="3"/>
          </p:cNvCxnSpPr>
          <p:nvPr/>
        </p:nvCxnSpPr>
        <p:spPr>
          <a:xfrm rot="5400000">
            <a:off x="3915931" y="2717944"/>
            <a:ext cx="634167" cy="1966607"/>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3230F133-06E3-1748-904B-F7BDEC790F82}"/>
              </a:ext>
            </a:extLst>
          </p:cNvPr>
          <p:cNvCxnSpPr>
            <a:cxnSpLocks/>
          </p:cNvCxnSpPr>
          <p:nvPr/>
        </p:nvCxnSpPr>
        <p:spPr>
          <a:xfrm flipV="1">
            <a:off x="6235247"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6F9FD2C-5633-444C-99F5-D23AFABB4D9B}"/>
              </a:ext>
            </a:extLst>
          </p:cNvPr>
          <p:cNvCxnSpPr>
            <a:cxnSpLocks/>
          </p:cNvCxnSpPr>
          <p:nvPr/>
        </p:nvCxnSpPr>
        <p:spPr>
          <a:xfrm>
            <a:off x="8214977"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FDB765-0480-44C1-BD04-1159FA943CD2}"/>
              </a:ext>
            </a:extLst>
          </p:cNvPr>
          <p:cNvCxnSpPr>
            <a:cxnSpLocks/>
            <a:stCxn id="80" idx="2"/>
          </p:cNvCxnSpPr>
          <p:nvPr/>
        </p:nvCxnSpPr>
        <p:spPr>
          <a:xfrm>
            <a:off x="2219630" y="4457182"/>
            <a:ext cx="0" cy="769750"/>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0E169EC-8CA5-474D-9DDA-7BDF5FDEF7FD}"/>
              </a:ext>
            </a:extLst>
          </p:cNvPr>
          <p:cNvGrpSpPr/>
          <p:nvPr/>
        </p:nvGrpSpPr>
        <p:grpSpPr>
          <a:xfrm>
            <a:off x="1292876" y="2547043"/>
            <a:ext cx="231543" cy="231543"/>
            <a:chOff x="3368040" y="-1136469"/>
            <a:chExt cx="319159" cy="319159"/>
          </a:xfrm>
        </p:grpSpPr>
        <p:cxnSp>
          <p:nvCxnSpPr>
            <p:cNvPr id="12" name="Straight Connector 11">
              <a:extLst>
                <a:ext uri="{FF2B5EF4-FFF2-40B4-BE49-F238E27FC236}">
                  <a16:creationId xmlns:a16="http://schemas.microsoft.com/office/drawing/2014/main" id="{0B4FFCB8-50EA-4F02-9591-A51409BF32D8}"/>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61AC98C-C269-48AE-9CA6-D3AF9BBD566E}"/>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8192AD3-436F-4784-AA19-7464DB03E4E7}"/>
              </a:ext>
            </a:extLst>
          </p:cNvPr>
          <p:cNvGrpSpPr/>
          <p:nvPr/>
        </p:nvGrpSpPr>
        <p:grpSpPr>
          <a:xfrm>
            <a:off x="1142102" y="2082960"/>
            <a:ext cx="231543" cy="231543"/>
            <a:chOff x="3368040" y="-1136469"/>
            <a:chExt cx="319159" cy="319159"/>
          </a:xfrm>
        </p:grpSpPr>
        <p:cxnSp>
          <p:nvCxnSpPr>
            <p:cNvPr id="35" name="Straight Connector 34">
              <a:extLst>
                <a:ext uri="{FF2B5EF4-FFF2-40B4-BE49-F238E27FC236}">
                  <a16:creationId xmlns:a16="http://schemas.microsoft.com/office/drawing/2014/main" id="{910D723D-1D62-4143-9224-D042D2DDF446}"/>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46DE0-5BEB-473B-B1BC-A2472E2C37F2}"/>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83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500"/>
                                        <p:tgtEl>
                                          <p:spTgt spid="94"/>
                                        </p:tgtEl>
                                      </p:cBhvr>
                                    </p:animEffect>
                                  </p:childTnLst>
                                </p:cTn>
                              </p:par>
                              <p:par>
                                <p:cTn id="32" presetID="10" presetClass="entr" presetSubtype="0" fill="hold" nodeType="with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fade">
                                      <p:cBhvr>
                                        <p:cTn id="34" dur="500"/>
                                        <p:tgtEl>
                                          <p:spTgt spid="9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500"/>
                                        <p:tgtEl>
                                          <p:spTgt spid="7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par>
                                <p:cTn id="43" presetID="22" presetClass="entr" presetSubtype="2"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right)">
                                      <p:cBhvr>
                                        <p:cTn id="45" dur="1000"/>
                                        <p:tgtEl>
                                          <p:spTgt spid="8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par>
                                <p:cTn id="51" presetID="9" presetClass="emph" presetSubtype="0" grpId="1" nodeType="withEffect">
                                  <p:stCondLst>
                                    <p:cond delay="250"/>
                                  </p:stCondLst>
                                  <p:childTnLst>
                                    <p:set>
                                      <p:cBhvr>
                                        <p:cTn id="52" dur="indefinite"/>
                                        <p:tgtEl>
                                          <p:spTgt spid="25"/>
                                        </p:tgtEl>
                                        <p:attrNameLst>
                                          <p:attrName>style.opacity</p:attrName>
                                        </p:attrNameLst>
                                      </p:cBhvr>
                                      <p:to>
                                        <p:strVal val="0.5"/>
                                      </p:to>
                                    </p:set>
                                    <p:animEffect filter="image" prLst="opacity: 0.5">
                                      <p:cBhvr rctx="IE">
                                        <p:cTn id="53" dur="indefinite"/>
                                        <p:tgtEl>
                                          <p:spTgt spid="25"/>
                                        </p:tgtEl>
                                      </p:cBhvr>
                                    </p:animEffect>
                                  </p:childTnLst>
                                </p:cTn>
                              </p:par>
                              <p:par>
                                <p:cTn id="54" presetID="9" presetClass="emph" presetSubtype="0" grpId="1" nodeType="withEffect">
                                  <p:stCondLst>
                                    <p:cond delay="250"/>
                                  </p:stCondLst>
                                  <p:childTnLst>
                                    <p:set>
                                      <p:cBhvr>
                                        <p:cTn id="55" dur="indefinite"/>
                                        <p:tgtEl>
                                          <p:spTgt spid="24"/>
                                        </p:tgtEl>
                                        <p:attrNameLst>
                                          <p:attrName>style.opacity</p:attrName>
                                        </p:attrNameLst>
                                      </p:cBhvr>
                                      <p:to>
                                        <p:strVal val="0.5"/>
                                      </p:to>
                                    </p:set>
                                    <p:animEffect filter="image" prLst="opacity: 0.5">
                                      <p:cBhvr rctx="IE">
                                        <p:cTn id="56" dur="indefinite"/>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22" presetClass="entr" presetSubtype="2"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wipe(right)">
                                      <p:cBhvr>
                                        <p:cTn id="67" dur="500"/>
                                        <p:tgtEl>
                                          <p:spTgt spid="109"/>
                                        </p:tgtEl>
                                      </p:cBhvr>
                                    </p:animEffect>
                                  </p:childTnLst>
                                </p:cTn>
                              </p:par>
                              <p:par>
                                <p:cTn id="68" presetID="10" presetClass="exit" presetSubtype="0" fill="hold" nodeType="withEffect">
                                  <p:stCondLst>
                                    <p:cond delay="0"/>
                                  </p:stCondLst>
                                  <p:childTnLst>
                                    <p:animEffect transition="out" filter="fade">
                                      <p:cBhvr>
                                        <p:cTn id="69" dur="500"/>
                                        <p:tgtEl>
                                          <p:spTgt spid="94"/>
                                        </p:tgtEl>
                                      </p:cBhvr>
                                    </p:animEffect>
                                    <p:set>
                                      <p:cBhvr>
                                        <p:cTn id="70" dur="1" fill="hold">
                                          <p:stCondLst>
                                            <p:cond delay="499"/>
                                          </p:stCondLst>
                                        </p:cTn>
                                        <p:tgtEl>
                                          <p:spTgt spid="94"/>
                                        </p:tgtEl>
                                        <p:attrNameLst>
                                          <p:attrName>style.visibility</p:attrName>
                                        </p:attrNameLst>
                                      </p:cBhvr>
                                      <p:to>
                                        <p:strVal val="hidden"/>
                                      </p:to>
                                    </p:set>
                                  </p:childTnLst>
                                </p:cTn>
                              </p:par>
                              <p:par>
                                <p:cTn id="71" presetID="22" presetClass="entr" presetSubtype="1"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up)">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500"/>
                                        <p:tgtEl>
                                          <p:spTgt spid="34"/>
                                        </p:tgtEl>
                                      </p:cBhvr>
                                    </p:animEffect>
                                  </p:childTnLst>
                                </p:cTn>
                              </p:par>
                              <p:par>
                                <p:cTn id="79" presetID="9" presetClass="emph" presetSubtype="0" grpId="1" nodeType="withEffect">
                                  <p:stCondLst>
                                    <p:cond delay="0"/>
                                  </p:stCondLst>
                                  <p:childTnLst>
                                    <p:set>
                                      <p:cBhvr>
                                        <p:cTn id="80" dur="indefinite"/>
                                        <p:tgtEl>
                                          <p:spTgt spid="81"/>
                                        </p:tgtEl>
                                        <p:attrNameLst>
                                          <p:attrName>style.opacity</p:attrName>
                                        </p:attrNameLst>
                                      </p:cBhvr>
                                      <p:to>
                                        <p:strVal val="0.5"/>
                                      </p:to>
                                    </p:set>
                                    <p:animEffect filter="image" prLst="opacity: 0.5">
                                      <p:cBhvr rctx="IE">
                                        <p:cTn id="81" dur="indefinite"/>
                                        <p:tgtEl>
                                          <p:spTgt spid="81"/>
                                        </p:tgtEl>
                                      </p:cBhvr>
                                    </p:animEffect>
                                  </p:childTnLst>
                                </p:cTn>
                              </p:par>
                              <p:par>
                                <p:cTn id="82" presetID="9" presetClass="emph" presetSubtype="0" grpId="1" nodeType="withEffect">
                                  <p:stCondLst>
                                    <p:cond delay="0"/>
                                  </p:stCondLst>
                                  <p:childTnLst>
                                    <p:set>
                                      <p:cBhvr>
                                        <p:cTn id="83" dur="indefinite"/>
                                        <p:tgtEl>
                                          <p:spTgt spid="80"/>
                                        </p:tgtEl>
                                        <p:attrNameLst>
                                          <p:attrName>style.opacity</p:attrName>
                                        </p:attrNameLst>
                                      </p:cBhvr>
                                      <p:to>
                                        <p:strVal val="0.5"/>
                                      </p:to>
                                    </p:set>
                                    <p:animEffect filter="image" prLst="opacity: 0.5">
                                      <p:cBhvr rctx="IE">
                                        <p:cTn id="84" dur="indefinite"/>
                                        <p:tgtEl>
                                          <p:spTgt spid="80"/>
                                        </p:tgtEl>
                                      </p:cBhvr>
                                    </p:animEffect>
                                  </p:childTnLst>
                                </p:cTn>
                              </p:par>
                              <p:par>
                                <p:cTn id="85" presetID="9" presetClass="emph" presetSubtype="0" nodeType="withEffect">
                                  <p:stCondLst>
                                    <p:cond delay="0"/>
                                  </p:stCondLst>
                                  <p:childTnLst>
                                    <p:set>
                                      <p:cBhvr>
                                        <p:cTn id="86" dur="indefinite"/>
                                        <p:tgtEl>
                                          <p:spTgt spid="9"/>
                                        </p:tgtEl>
                                        <p:attrNameLst>
                                          <p:attrName>style.opacity</p:attrName>
                                        </p:attrNameLst>
                                      </p:cBhvr>
                                      <p:to>
                                        <p:strVal val="0.5"/>
                                      </p:to>
                                    </p:set>
                                    <p:animEffect filter="image" prLst="opacity: 0.5">
                                      <p:cBhvr rctx="IE">
                                        <p:cTn id="87" dur="indefinite"/>
                                        <p:tgtEl>
                                          <p:spTgt spid="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120"/>
                                        </p:tgtEl>
                                        <p:attrNameLst>
                                          <p:attrName>style.visibility</p:attrName>
                                        </p:attrNameLst>
                                      </p:cBhvr>
                                      <p:to>
                                        <p:strVal val="visible"/>
                                      </p:to>
                                    </p:set>
                                    <p:animEffect transition="in" filter="wipe(left)">
                                      <p:cBhvr>
                                        <p:cTn id="92" dur="500"/>
                                        <p:tgtEl>
                                          <p:spTgt spid="120"/>
                                        </p:tgtEl>
                                      </p:cBhvr>
                                    </p:animEffect>
                                  </p:childTnLst>
                                </p:cTn>
                              </p:par>
                              <p:par>
                                <p:cTn id="93" presetID="10" presetClass="exit" presetSubtype="0" fill="hold" nodeType="withEffect">
                                  <p:stCondLst>
                                    <p:cond delay="0"/>
                                  </p:stCondLst>
                                  <p:childTnLst>
                                    <p:animEffect transition="out" filter="fade">
                                      <p:cBhvr>
                                        <p:cTn id="94" dur="500"/>
                                        <p:tgtEl>
                                          <p:spTgt spid="26"/>
                                        </p:tgtEl>
                                      </p:cBhvr>
                                    </p:animEffect>
                                    <p:set>
                                      <p:cBhvr>
                                        <p:cTn id="95" dur="1" fill="hold">
                                          <p:stCondLst>
                                            <p:cond delay="499"/>
                                          </p:stCondLst>
                                        </p:cTn>
                                        <p:tgtEl>
                                          <p:spTgt spid="26"/>
                                        </p:tgtEl>
                                        <p:attrNameLst>
                                          <p:attrName>style.visibility</p:attrName>
                                        </p:attrNameLst>
                                      </p:cBhvr>
                                      <p:to>
                                        <p:strVal val="hidden"/>
                                      </p:to>
                                    </p:set>
                                  </p:childTnLst>
                                </p:cTn>
                              </p:par>
                              <p:par>
                                <p:cTn id="96" presetID="10" presetClass="entr" presetSubtype="0" fill="hold" grpId="0" nodeType="withEffect">
                                  <p:stCondLst>
                                    <p:cond delay="0"/>
                                  </p:stCondLst>
                                  <p:childTnLst>
                                    <p:set>
                                      <p:cBhvr>
                                        <p:cTn id="97" dur="1" fill="hold">
                                          <p:stCondLst>
                                            <p:cond delay="0"/>
                                          </p:stCondLst>
                                        </p:cTn>
                                        <p:tgtEl>
                                          <p:spTgt spid="16"/>
                                        </p:tgtEl>
                                        <p:attrNameLst>
                                          <p:attrName>style.visibility</p:attrName>
                                        </p:attrNameLst>
                                      </p:cBhvr>
                                      <p:to>
                                        <p:strVal val="visible"/>
                                      </p:to>
                                    </p:set>
                                    <p:animEffect transition="in" filter="fade">
                                      <p:cBhvr>
                                        <p:cTn id="98" dur="500"/>
                                        <p:tgtEl>
                                          <p:spTgt spid="16"/>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500"/>
                                        <p:tgtEl>
                                          <p:spTgt spid="17"/>
                                        </p:tgtEl>
                                      </p:cBhvr>
                                    </p:animEffect>
                                  </p:childTnLst>
                                </p:cTn>
                              </p:par>
                            </p:childTnLst>
                          </p:cTn>
                        </p:par>
                        <p:par>
                          <p:cTn id="102" fill="hold">
                            <p:stCondLst>
                              <p:cond delay="500"/>
                            </p:stCondLst>
                            <p:childTnLst>
                              <p:par>
                                <p:cTn id="103" presetID="22" presetClass="entr" presetSubtype="1" fill="hold" nodeType="afterEffect">
                                  <p:stCondLst>
                                    <p:cond delay="0"/>
                                  </p:stCondLst>
                                  <p:childTnLst>
                                    <p:set>
                                      <p:cBhvr>
                                        <p:cTn id="104" dur="1" fill="hold">
                                          <p:stCondLst>
                                            <p:cond delay="0"/>
                                          </p:stCondLst>
                                        </p:cTn>
                                        <p:tgtEl>
                                          <p:spTgt spid="121"/>
                                        </p:tgtEl>
                                        <p:attrNameLst>
                                          <p:attrName>style.visibility</p:attrName>
                                        </p:attrNameLst>
                                      </p:cBhvr>
                                      <p:to>
                                        <p:strVal val="visible"/>
                                      </p:to>
                                    </p:set>
                                    <p:animEffect transition="in" filter="wipe(up)">
                                      <p:cBhvr>
                                        <p:cTn id="10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2" grpId="0"/>
      <p:bldP spid="71" grpId="0" animBg="1"/>
      <p:bldP spid="7" grpId="0" animBg="1"/>
      <p:bldP spid="16" grpId="0" animBg="1"/>
      <p:bldP spid="17" grpId="0" animBg="1"/>
      <p:bldP spid="6" grpId="0" animBg="1"/>
      <p:bldP spid="21" grpId="0" animBg="1"/>
      <p:bldP spid="9" grpId="0" animBg="1"/>
      <p:bldP spid="24" grpId="0" animBg="1"/>
      <p:bldP spid="24" grpId="1" animBg="1"/>
      <p:bldP spid="25" grpId="0" animBg="1"/>
      <p:bldP spid="25" grpId="1" animBg="1"/>
      <p:bldP spid="80" grpId="0" animBg="1"/>
      <p:bldP spid="80" grpId="1" animBg="1"/>
      <p:bldP spid="81" grpId="0" animBg="1"/>
      <p:bldP spid="81"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291905" y="187583"/>
            <a:ext cx="4586201" cy="2585323"/>
          </a:xfrm>
        </p:spPr>
        <p:txBody>
          <a:bodyPr/>
          <a:lstStyle/>
          <a:p>
            <a:r>
              <a:rPr lang="en-US" dirty="0"/>
              <a:t>SQL Server 2019</a:t>
            </a:r>
            <a:br>
              <a:rPr lang="en-US" dirty="0"/>
            </a:br>
            <a:br>
              <a:rPr lang="en-US" dirty="0"/>
            </a:br>
            <a:r>
              <a:rPr lang="en-US" dirty="0"/>
              <a:t>Always On Availability Groups on Kubernetes</a:t>
            </a:r>
            <a:br>
              <a:rPr lang="en-US" dirty="0"/>
            </a:br>
            <a:endParaRPr lang="en-US" sz="2400" dirty="0"/>
          </a:p>
        </p:txBody>
      </p:sp>
      <p:sp>
        <p:nvSpPr>
          <p:cNvPr id="6" name="Text Placeholder 5"/>
          <p:cNvSpPr>
            <a:spLocks noGrp="1"/>
          </p:cNvSpPr>
          <p:nvPr>
            <p:ph type="body" sz="quarter" idx="10"/>
          </p:nvPr>
        </p:nvSpPr>
        <p:spPr>
          <a:xfrm>
            <a:off x="354052" y="3013697"/>
            <a:ext cx="4461211" cy="2400598"/>
          </a:xfrm>
        </p:spPr>
        <p:txBody>
          <a:bodyPr/>
          <a:lstStyle/>
          <a:p>
            <a:r>
              <a:rPr lang="en-US" dirty="0"/>
              <a:t>SQL Server/k8s failover integration</a:t>
            </a:r>
          </a:p>
          <a:p>
            <a:r>
              <a:rPr lang="en-US" dirty="0"/>
              <a:t>Operator deployment</a:t>
            </a:r>
          </a:p>
          <a:p>
            <a:r>
              <a:rPr lang="en-US" dirty="0"/>
              <a:t>AG concepts all apply</a:t>
            </a:r>
          </a:p>
          <a:p>
            <a:r>
              <a:rPr lang="en-US" dirty="0"/>
              <a:t>Load Balancer for Primary App</a:t>
            </a:r>
          </a:p>
          <a:p>
            <a:r>
              <a:rPr lang="en-US" dirty="0"/>
              <a:t>Load Balancer for Secondary Replica Readers</a:t>
            </a:r>
          </a:p>
        </p:txBody>
      </p:sp>
      <p:sp>
        <p:nvSpPr>
          <p:cNvPr id="83" name="Rectangle 82">
            <a:extLst>
              <a:ext uri="{FF2B5EF4-FFF2-40B4-BE49-F238E27FC236}">
                <a16:creationId xmlns:a16="http://schemas.microsoft.com/office/drawing/2014/main" id="{5564784B-08F8-4831-B00E-C3844517542C}"/>
              </a:ext>
            </a:extLst>
          </p:cNvPr>
          <p:cNvSpPr/>
          <p:nvPr/>
        </p:nvSpPr>
        <p:spPr>
          <a:xfrm>
            <a:off x="5175247" y="278845"/>
            <a:ext cx="6735745" cy="62202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4F4F4"/>
              </a:solidFill>
              <a:latin typeface="Segoe UI"/>
            </a:endParaRPr>
          </a:p>
        </p:txBody>
      </p:sp>
      <p:sp>
        <p:nvSpPr>
          <p:cNvPr id="90" name="TextBox 89">
            <a:extLst>
              <a:ext uri="{FF2B5EF4-FFF2-40B4-BE49-F238E27FC236}">
                <a16:creationId xmlns:a16="http://schemas.microsoft.com/office/drawing/2014/main" id="{CD8DBA00-65A1-45DF-9926-6C69A0EB32E3}"/>
              </a:ext>
            </a:extLst>
          </p:cNvPr>
          <p:cNvSpPr txBox="1"/>
          <p:nvPr/>
        </p:nvSpPr>
        <p:spPr>
          <a:xfrm>
            <a:off x="5784757" y="610134"/>
            <a:ext cx="5506956" cy="346521"/>
          </a:xfrm>
          <a:prstGeom prst="rect">
            <a:avLst/>
          </a:prstGeom>
          <a:noFill/>
        </p:spPr>
        <p:txBody>
          <a:bodyPr wrap="square" lIns="91427" tIns="45713" rIns="91427" bIns="45713"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defTabSz="914225"/>
            <a:r>
              <a:rPr lang="en-US" dirty="0"/>
              <a:t>Availability groups on Kubernetes </a:t>
            </a:r>
          </a:p>
        </p:txBody>
      </p:sp>
      <p:sp>
        <p:nvSpPr>
          <p:cNvPr id="91" name="Rectangle 90">
            <a:extLst>
              <a:ext uri="{FF2B5EF4-FFF2-40B4-BE49-F238E27FC236}">
                <a16:creationId xmlns:a16="http://schemas.microsoft.com/office/drawing/2014/main" id="{16123BC8-4832-40A9-AD9B-1E8222751F0F}"/>
              </a:ext>
            </a:extLst>
          </p:cNvPr>
          <p:cNvSpPr/>
          <p:nvPr/>
        </p:nvSpPr>
        <p:spPr>
          <a:xfrm>
            <a:off x="6015120" y="3673812"/>
            <a:ext cx="5029551" cy="588061"/>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27" tIns="45713" rIns="91427" bIns="45713" numCol="1" spcCol="0" rtlCol="0" fromWordArt="0" anchor="t" anchorCtr="1" forceAA="0" compatLnSpc="1">
            <a:prstTxWarp prst="textNoShape">
              <a:avLst/>
            </a:prstTxWarp>
            <a:noAutofit/>
          </a:bodyPr>
          <a:lstStyle/>
          <a:p>
            <a:pPr algn="ctr" defTabSz="609468">
              <a:defRPr/>
            </a:pPr>
            <a:r>
              <a:rPr lang="en-US" sz="1000" b="1" dirty="0">
                <a:solidFill>
                  <a:srgbClr val="000000"/>
                </a:solidFill>
                <a:latin typeface="Segoe UI"/>
              </a:rPr>
              <a:t>AG</a:t>
            </a:r>
          </a:p>
        </p:txBody>
      </p:sp>
      <p:grpSp>
        <p:nvGrpSpPr>
          <p:cNvPr id="92" name="Group 91">
            <a:extLst>
              <a:ext uri="{FF2B5EF4-FFF2-40B4-BE49-F238E27FC236}">
                <a16:creationId xmlns:a16="http://schemas.microsoft.com/office/drawing/2014/main" id="{9259D00A-1910-4025-A730-26537D232806}"/>
              </a:ext>
            </a:extLst>
          </p:cNvPr>
          <p:cNvGrpSpPr/>
          <p:nvPr/>
        </p:nvGrpSpPr>
        <p:grpSpPr>
          <a:xfrm>
            <a:off x="6335564" y="1442571"/>
            <a:ext cx="1401770" cy="1177310"/>
            <a:chOff x="7929992" y="1937589"/>
            <a:chExt cx="1335176" cy="1177477"/>
          </a:xfrm>
        </p:grpSpPr>
        <p:sp>
          <p:nvSpPr>
            <p:cNvPr id="93" name="Rectangle 92">
              <a:extLst>
                <a:ext uri="{FF2B5EF4-FFF2-40B4-BE49-F238E27FC236}">
                  <a16:creationId xmlns:a16="http://schemas.microsoft.com/office/drawing/2014/main" id="{22D33F8A-7255-4333-B83D-E3B547A2C1E4}"/>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94" name="TextBox 93">
              <a:extLst>
                <a:ext uri="{FF2B5EF4-FFF2-40B4-BE49-F238E27FC236}">
                  <a16:creationId xmlns:a16="http://schemas.microsoft.com/office/drawing/2014/main" id="{EE21CD5F-023C-4482-9E0B-02A4F98B17F2}"/>
                </a:ext>
              </a:extLst>
            </p:cNvPr>
            <p:cNvSpPr txBox="1"/>
            <p:nvPr/>
          </p:nvSpPr>
          <p:spPr>
            <a:xfrm>
              <a:off x="7929992" y="1937589"/>
              <a:ext cx="540734" cy="28071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95" name="Rectangle 94">
              <a:extLst>
                <a:ext uri="{FF2B5EF4-FFF2-40B4-BE49-F238E27FC236}">
                  <a16:creationId xmlns:a16="http://schemas.microsoft.com/office/drawing/2014/main" id="{0C2EFD28-9D4E-41BD-8694-9923D7DB5ED2}"/>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96" name="Rectangle 95">
              <a:extLst>
                <a:ext uri="{FF2B5EF4-FFF2-40B4-BE49-F238E27FC236}">
                  <a16:creationId xmlns:a16="http://schemas.microsoft.com/office/drawing/2014/main" id="{CE81383B-8706-4338-B1CD-7C035FCA3BD8}"/>
                </a:ext>
              </a:extLst>
            </p:cNvPr>
            <p:cNvSpPr/>
            <p:nvPr/>
          </p:nvSpPr>
          <p:spPr bwMode="auto">
            <a:xfrm>
              <a:off x="8211334" y="2609165"/>
              <a:ext cx="740148" cy="249299"/>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Operator</a:t>
              </a:r>
            </a:p>
          </p:txBody>
        </p:sp>
      </p:grpSp>
      <p:sp>
        <p:nvSpPr>
          <p:cNvPr id="98" name="TextBox 97">
            <a:extLst>
              <a:ext uri="{FF2B5EF4-FFF2-40B4-BE49-F238E27FC236}">
                <a16:creationId xmlns:a16="http://schemas.microsoft.com/office/drawing/2014/main" id="{C2AE80A8-EC33-4C92-8A9B-72C6B5DF3E32}"/>
              </a:ext>
            </a:extLst>
          </p:cNvPr>
          <p:cNvSpPr txBox="1"/>
          <p:nvPr/>
        </p:nvSpPr>
        <p:spPr>
          <a:xfrm>
            <a:off x="11250870" y="2307664"/>
            <a:ext cx="561051" cy="307777"/>
          </a:xfrm>
          <a:prstGeom prst="rect">
            <a:avLst/>
          </a:prstGeom>
          <a:noFill/>
        </p:spPr>
        <p:txBody>
          <a:bodyPr wrap="non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Reporting </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99" name="TextBox 98">
            <a:extLst>
              <a:ext uri="{FF2B5EF4-FFF2-40B4-BE49-F238E27FC236}">
                <a16:creationId xmlns:a16="http://schemas.microsoft.com/office/drawing/2014/main" id="{D5630FEB-C658-40F3-A8EB-EA94FC9D785E}"/>
              </a:ext>
            </a:extLst>
          </p:cNvPr>
          <p:cNvSpPr txBox="1"/>
          <p:nvPr/>
        </p:nvSpPr>
        <p:spPr>
          <a:xfrm>
            <a:off x="5228864" y="5858067"/>
            <a:ext cx="570735" cy="307777"/>
          </a:xfrm>
          <a:prstGeom prst="rect">
            <a:avLst/>
          </a:prstGeom>
          <a:noFill/>
        </p:spPr>
        <p:txBody>
          <a:bodyPr wrap="squar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Primary</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100" name="Rectangle 99">
            <a:extLst>
              <a:ext uri="{FF2B5EF4-FFF2-40B4-BE49-F238E27FC236}">
                <a16:creationId xmlns:a16="http://schemas.microsoft.com/office/drawing/2014/main" id="{6D147554-F5C1-4FCE-A556-5D20C1BFCD21}"/>
              </a:ext>
            </a:extLst>
          </p:cNvPr>
          <p:cNvSpPr/>
          <p:nvPr/>
        </p:nvSpPr>
        <p:spPr bwMode="auto">
          <a:xfrm>
            <a:off x="6351029"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4D1877ED-F3B9-4369-8CA8-82F2D97138ED}"/>
              </a:ext>
            </a:extLst>
          </p:cNvPr>
          <p:cNvSpPr txBox="1"/>
          <p:nvPr/>
        </p:nvSpPr>
        <p:spPr>
          <a:xfrm>
            <a:off x="6347180"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02" name="Rectangle 101">
            <a:extLst>
              <a:ext uri="{FF2B5EF4-FFF2-40B4-BE49-F238E27FC236}">
                <a16:creationId xmlns:a16="http://schemas.microsoft.com/office/drawing/2014/main" id="{45E70290-08D1-418C-A67A-81E8A5AC1902}"/>
              </a:ext>
            </a:extLst>
          </p:cNvPr>
          <p:cNvSpPr/>
          <p:nvPr/>
        </p:nvSpPr>
        <p:spPr bwMode="auto">
          <a:xfrm>
            <a:off x="6440973"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03" name="Rectangle 102">
            <a:extLst>
              <a:ext uri="{FF2B5EF4-FFF2-40B4-BE49-F238E27FC236}">
                <a16:creationId xmlns:a16="http://schemas.microsoft.com/office/drawing/2014/main" id="{24148D7A-5C3E-456B-8ACA-BC74766014D5}"/>
              </a:ext>
            </a:extLst>
          </p:cNvPr>
          <p:cNvSpPr/>
          <p:nvPr/>
        </p:nvSpPr>
        <p:spPr bwMode="auto">
          <a:xfrm>
            <a:off x="6516189"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04" name="Rectangle 103">
            <a:extLst>
              <a:ext uri="{FF2B5EF4-FFF2-40B4-BE49-F238E27FC236}">
                <a16:creationId xmlns:a16="http://schemas.microsoft.com/office/drawing/2014/main" id="{A35784A0-D12C-4B9F-A772-7039033F2756}"/>
              </a:ext>
            </a:extLst>
          </p:cNvPr>
          <p:cNvSpPr/>
          <p:nvPr/>
        </p:nvSpPr>
        <p:spPr bwMode="auto">
          <a:xfrm>
            <a:off x="6533987"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05" name="Freeform 63">
            <a:extLst>
              <a:ext uri="{FF2B5EF4-FFF2-40B4-BE49-F238E27FC236}">
                <a16:creationId xmlns:a16="http://schemas.microsoft.com/office/drawing/2014/main" id="{F5E297A2-9F72-44C4-B996-5BFAEE5329A0}"/>
              </a:ext>
            </a:extLst>
          </p:cNvPr>
          <p:cNvSpPr/>
          <p:nvPr/>
        </p:nvSpPr>
        <p:spPr bwMode="auto">
          <a:xfrm>
            <a:off x="6599280"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E77F5D78-C250-41C0-B3F7-F4D7FA297B5B}"/>
              </a:ext>
            </a:extLst>
          </p:cNvPr>
          <p:cNvSpPr/>
          <p:nvPr/>
        </p:nvSpPr>
        <p:spPr bwMode="auto">
          <a:xfrm>
            <a:off x="5904442" y="1168722"/>
            <a:ext cx="5203735" cy="502067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dirty="0">
              <a:gradFill>
                <a:gsLst>
                  <a:gs pos="40075">
                    <a:srgbClr val="FFFFFF"/>
                  </a:gs>
                  <a:gs pos="30000">
                    <a:srgbClr val="FFFFFF"/>
                  </a:gs>
                </a:gsLst>
                <a:lin ang="5400000" scaled="0"/>
              </a:gradFill>
              <a:latin typeface="Segoe UI"/>
            </a:endParaRPr>
          </a:p>
        </p:txBody>
      </p:sp>
      <p:sp>
        <p:nvSpPr>
          <p:cNvPr id="107" name="TextBox 106">
            <a:extLst>
              <a:ext uri="{FF2B5EF4-FFF2-40B4-BE49-F238E27FC236}">
                <a16:creationId xmlns:a16="http://schemas.microsoft.com/office/drawing/2014/main" id="{37E0A022-7421-4AE5-A1DC-927B714E70D2}"/>
              </a:ext>
            </a:extLst>
          </p:cNvPr>
          <p:cNvSpPr txBox="1"/>
          <p:nvPr/>
        </p:nvSpPr>
        <p:spPr>
          <a:xfrm>
            <a:off x="5964362" y="1203696"/>
            <a:ext cx="2326613" cy="184666"/>
          </a:xfrm>
          <a:prstGeom prst="rect">
            <a:avLst/>
          </a:prstGeom>
          <a:noFill/>
        </p:spPr>
        <p:txBody>
          <a:bodyPr wrap="square" lIns="0" tIns="0" rIns="0" bIns="0" rtlCol="0">
            <a:spAutoFit/>
          </a:bodyPr>
          <a:lstStyle/>
          <a:p>
            <a:pPr defTabSz="914192">
              <a:defRPr/>
            </a:pP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Kubernetes cluster</a:t>
            </a:r>
          </a:p>
        </p:txBody>
      </p:sp>
      <p:cxnSp>
        <p:nvCxnSpPr>
          <p:cNvPr id="108" name="Straight Arrow Connector 107">
            <a:extLst>
              <a:ext uri="{FF2B5EF4-FFF2-40B4-BE49-F238E27FC236}">
                <a16:creationId xmlns:a16="http://schemas.microsoft.com/office/drawing/2014/main" id="{F07CCC4D-CC2A-400C-859F-52FBDEACF6CF}"/>
              </a:ext>
            </a:extLst>
          </p:cNvPr>
          <p:cNvCxnSpPr>
            <a:cxnSpLocks/>
            <a:stCxn id="142" idx="1"/>
            <a:endCxn id="146" idx="3"/>
          </p:cNvCxnSpPr>
          <p:nvPr/>
        </p:nvCxnSpPr>
        <p:spPr>
          <a:xfrm flipH="1">
            <a:off x="10898610" y="2059971"/>
            <a:ext cx="415385"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AE6C04D-63BE-4808-8B31-9D4943F43F3A}"/>
              </a:ext>
            </a:extLst>
          </p:cNvPr>
          <p:cNvCxnSpPr>
            <a:cxnSpLocks/>
          </p:cNvCxnSpPr>
          <p:nvPr/>
        </p:nvCxnSpPr>
        <p:spPr>
          <a:xfrm flipH="1" flipV="1">
            <a:off x="7040296" y="4805683"/>
            <a:ext cx="5854" cy="646161"/>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6C1D9D2-2D3F-473F-A4FB-762FBDD1AE64}"/>
              </a:ext>
            </a:extLst>
          </p:cNvPr>
          <p:cNvCxnSpPr>
            <a:cxnSpLocks/>
          </p:cNvCxnSpPr>
          <p:nvPr/>
        </p:nvCxnSpPr>
        <p:spPr>
          <a:xfrm>
            <a:off x="10605760" y="2246039"/>
            <a:ext cx="7427" cy="881942"/>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009769F-843C-48F2-B578-63D561720555}"/>
              </a:ext>
            </a:extLst>
          </p:cNvPr>
          <p:cNvCxnSpPr>
            <a:cxnSpLocks/>
            <a:stCxn id="93" idx="2"/>
            <a:endCxn id="100" idx="0"/>
          </p:cNvCxnSpPr>
          <p:nvPr/>
        </p:nvCxnSpPr>
        <p:spPr>
          <a:xfrm>
            <a:off x="7036450" y="2619880"/>
            <a:ext cx="1" cy="508100"/>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CFDCB43-98CC-4812-9CB7-7B76ABE6C3D3}"/>
              </a:ext>
            </a:extLst>
          </p:cNvPr>
          <p:cNvSpPr/>
          <p:nvPr/>
        </p:nvSpPr>
        <p:spPr bwMode="auto">
          <a:xfrm>
            <a:off x="6565614" y="5449356"/>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sp>
        <p:nvSpPr>
          <p:cNvPr id="113" name="Rectangle 112">
            <a:extLst>
              <a:ext uri="{FF2B5EF4-FFF2-40B4-BE49-F238E27FC236}">
                <a16:creationId xmlns:a16="http://schemas.microsoft.com/office/drawing/2014/main" id="{9C2CFCE9-7A15-4EDB-95B2-9736AF32D81E}"/>
              </a:ext>
            </a:extLst>
          </p:cNvPr>
          <p:cNvSpPr/>
          <p:nvPr/>
        </p:nvSpPr>
        <p:spPr bwMode="auto">
          <a:xfrm>
            <a:off x="7957341"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E0A9696F-4D7A-4F54-AAAD-C93899178552}"/>
              </a:ext>
            </a:extLst>
          </p:cNvPr>
          <p:cNvSpPr txBox="1"/>
          <p:nvPr/>
        </p:nvSpPr>
        <p:spPr>
          <a:xfrm>
            <a:off x="7954481"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15" name="Rectangle 114">
            <a:extLst>
              <a:ext uri="{FF2B5EF4-FFF2-40B4-BE49-F238E27FC236}">
                <a16:creationId xmlns:a16="http://schemas.microsoft.com/office/drawing/2014/main" id="{8AEBE0A4-CA0C-4642-9E88-8019234E5DA7}"/>
              </a:ext>
            </a:extLst>
          </p:cNvPr>
          <p:cNvSpPr/>
          <p:nvPr/>
        </p:nvSpPr>
        <p:spPr bwMode="auto">
          <a:xfrm>
            <a:off x="8047285"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16" name="Rectangle 115">
            <a:extLst>
              <a:ext uri="{FF2B5EF4-FFF2-40B4-BE49-F238E27FC236}">
                <a16:creationId xmlns:a16="http://schemas.microsoft.com/office/drawing/2014/main" id="{1C678564-8C44-4B40-AB45-999B82F087B9}"/>
              </a:ext>
            </a:extLst>
          </p:cNvPr>
          <p:cNvSpPr/>
          <p:nvPr/>
        </p:nvSpPr>
        <p:spPr bwMode="auto">
          <a:xfrm>
            <a:off x="8122501"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17" name="Rectangle 116">
            <a:extLst>
              <a:ext uri="{FF2B5EF4-FFF2-40B4-BE49-F238E27FC236}">
                <a16:creationId xmlns:a16="http://schemas.microsoft.com/office/drawing/2014/main" id="{AD8B03C3-6E84-4DEE-8155-53C0B851F5DF}"/>
              </a:ext>
            </a:extLst>
          </p:cNvPr>
          <p:cNvSpPr/>
          <p:nvPr/>
        </p:nvSpPr>
        <p:spPr bwMode="auto">
          <a:xfrm>
            <a:off x="8140299"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18" name="Rectangle 117">
            <a:extLst>
              <a:ext uri="{FF2B5EF4-FFF2-40B4-BE49-F238E27FC236}">
                <a16:creationId xmlns:a16="http://schemas.microsoft.com/office/drawing/2014/main" id="{1C386814-8C38-45B6-BEE3-7525C94E4EC0}"/>
              </a:ext>
            </a:extLst>
          </p:cNvPr>
          <p:cNvSpPr/>
          <p:nvPr/>
        </p:nvSpPr>
        <p:spPr bwMode="auto">
          <a:xfrm>
            <a:off x="9590154" y="3120362"/>
            <a:ext cx="1370843" cy="168531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9" name="TextBox 118">
            <a:extLst>
              <a:ext uri="{FF2B5EF4-FFF2-40B4-BE49-F238E27FC236}">
                <a16:creationId xmlns:a16="http://schemas.microsoft.com/office/drawing/2014/main" id="{856547AB-DFCA-4AAC-A453-B2E586018CF3}"/>
              </a:ext>
            </a:extLst>
          </p:cNvPr>
          <p:cNvSpPr txBox="1"/>
          <p:nvPr/>
        </p:nvSpPr>
        <p:spPr>
          <a:xfrm>
            <a:off x="9596214"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20" name="Rectangle 119">
            <a:extLst>
              <a:ext uri="{FF2B5EF4-FFF2-40B4-BE49-F238E27FC236}">
                <a16:creationId xmlns:a16="http://schemas.microsoft.com/office/drawing/2014/main" id="{78E87748-DA1E-4532-B0E2-1C79A04E0919}"/>
              </a:ext>
            </a:extLst>
          </p:cNvPr>
          <p:cNvSpPr/>
          <p:nvPr/>
        </p:nvSpPr>
        <p:spPr bwMode="auto">
          <a:xfrm>
            <a:off x="9680099"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21" name="Rectangle 120">
            <a:extLst>
              <a:ext uri="{FF2B5EF4-FFF2-40B4-BE49-F238E27FC236}">
                <a16:creationId xmlns:a16="http://schemas.microsoft.com/office/drawing/2014/main" id="{A1C8110A-D971-4915-8094-5EE48AF649D4}"/>
              </a:ext>
            </a:extLst>
          </p:cNvPr>
          <p:cNvSpPr/>
          <p:nvPr/>
        </p:nvSpPr>
        <p:spPr bwMode="auto">
          <a:xfrm>
            <a:off x="9742805" y="3761853"/>
            <a:ext cx="1065539"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22" name="Rectangle 121">
            <a:extLst>
              <a:ext uri="{FF2B5EF4-FFF2-40B4-BE49-F238E27FC236}">
                <a16:creationId xmlns:a16="http://schemas.microsoft.com/office/drawing/2014/main" id="{7070AF64-6DF9-42FA-A3A0-61B56ED26BE8}"/>
              </a:ext>
            </a:extLst>
          </p:cNvPr>
          <p:cNvSpPr/>
          <p:nvPr/>
        </p:nvSpPr>
        <p:spPr bwMode="auto">
          <a:xfrm>
            <a:off x="9773111"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cxnSp>
        <p:nvCxnSpPr>
          <p:cNvPr id="123" name="Straight Arrow Connector 122">
            <a:extLst>
              <a:ext uri="{FF2B5EF4-FFF2-40B4-BE49-F238E27FC236}">
                <a16:creationId xmlns:a16="http://schemas.microsoft.com/office/drawing/2014/main" id="{C262A910-988B-4B7E-A683-580BDB926FDB}"/>
              </a:ext>
            </a:extLst>
          </p:cNvPr>
          <p:cNvCxnSpPr>
            <a:cxnSpLocks/>
            <a:stCxn id="112" idx="1"/>
          </p:cNvCxnSpPr>
          <p:nvPr/>
        </p:nvCxnSpPr>
        <p:spPr>
          <a:xfrm flipH="1" flipV="1">
            <a:off x="5731632" y="5652459"/>
            <a:ext cx="833982" cy="1"/>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reeform 63">
            <a:extLst>
              <a:ext uri="{FF2B5EF4-FFF2-40B4-BE49-F238E27FC236}">
                <a16:creationId xmlns:a16="http://schemas.microsoft.com/office/drawing/2014/main" id="{AE877E1D-1E0F-4E99-A2B9-34CA7689D378}"/>
              </a:ext>
            </a:extLst>
          </p:cNvPr>
          <p:cNvSpPr/>
          <p:nvPr/>
        </p:nvSpPr>
        <p:spPr bwMode="auto">
          <a:xfrm>
            <a:off x="8200257"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Freeform 63">
            <a:extLst>
              <a:ext uri="{FF2B5EF4-FFF2-40B4-BE49-F238E27FC236}">
                <a16:creationId xmlns:a16="http://schemas.microsoft.com/office/drawing/2014/main" id="{7C688AAE-4E30-4F49-B30E-8A72DD08E5F2}"/>
              </a:ext>
            </a:extLst>
          </p:cNvPr>
          <p:cNvSpPr/>
          <p:nvPr/>
        </p:nvSpPr>
        <p:spPr bwMode="auto">
          <a:xfrm>
            <a:off x="9809202"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Multiply 3">
            <a:extLst>
              <a:ext uri="{FF2B5EF4-FFF2-40B4-BE49-F238E27FC236}">
                <a16:creationId xmlns:a16="http://schemas.microsoft.com/office/drawing/2014/main" id="{D2A61740-9D8C-434C-B674-7D045925368A}"/>
              </a:ext>
            </a:extLst>
          </p:cNvPr>
          <p:cNvSpPr/>
          <p:nvPr/>
        </p:nvSpPr>
        <p:spPr bwMode="auto">
          <a:xfrm>
            <a:off x="6540986" y="3434790"/>
            <a:ext cx="1070498" cy="1070498"/>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cxnSp>
        <p:nvCxnSpPr>
          <p:cNvPr id="127" name="Connector: Elbow 126">
            <a:extLst>
              <a:ext uri="{FF2B5EF4-FFF2-40B4-BE49-F238E27FC236}">
                <a16:creationId xmlns:a16="http://schemas.microsoft.com/office/drawing/2014/main" id="{D848C250-93B7-4BF9-8CC2-DE4719509C8E}"/>
              </a:ext>
            </a:extLst>
          </p:cNvPr>
          <p:cNvCxnSpPr>
            <a:cxnSpLocks/>
            <a:stCxn id="93" idx="2"/>
            <a:endCxn id="113" idx="0"/>
          </p:cNvCxnSpPr>
          <p:nvPr/>
        </p:nvCxnSpPr>
        <p:spPr>
          <a:xfrm rot="16200000" flipH="1">
            <a:off x="7585555" y="2070775"/>
            <a:ext cx="508100" cy="1606313"/>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FCE84AD6-2480-4690-A25D-A7D2DA601F1A}"/>
              </a:ext>
            </a:extLst>
          </p:cNvPr>
          <p:cNvCxnSpPr>
            <a:cxnSpLocks/>
            <a:stCxn id="93" idx="2"/>
            <a:endCxn id="118" idx="0"/>
          </p:cNvCxnSpPr>
          <p:nvPr/>
        </p:nvCxnSpPr>
        <p:spPr>
          <a:xfrm rot="16200000" flipH="1">
            <a:off x="8405772" y="1250558"/>
            <a:ext cx="500481" cy="3239127"/>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9FB12330-BC4A-4B5E-9DCC-7B810A7CCA09}"/>
              </a:ext>
            </a:extLst>
          </p:cNvPr>
          <p:cNvCxnSpPr>
            <a:cxnSpLocks/>
            <a:stCxn id="112" idx="3"/>
            <a:endCxn id="113" idx="2"/>
          </p:cNvCxnSpPr>
          <p:nvPr/>
        </p:nvCxnSpPr>
        <p:spPr>
          <a:xfrm flipV="1">
            <a:off x="7496934" y="4805681"/>
            <a:ext cx="1145829" cy="846779"/>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041B7E9D-A088-4306-85A8-FBFC32AFB1F7}"/>
              </a:ext>
            </a:extLst>
          </p:cNvPr>
          <p:cNvGrpSpPr/>
          <p:nvPr/>
        </p:nvGrpSpPr>
        <p:grpSpPr>
          <a:xfrm>
            <a:off x="5296833" y="5394896"/>
            <a:ext cx="434799" cy="421259"/>
            <a:chOff x="7157554" y="1735934"/>
            <a:chExt cx="397423" cy="398542"/>
          </a:xfrm>
        </p:grpSpPr>
        <p:grpSp>
          <p:nvGrpSpPr>
            <p:cNvPr id="131" name="Group 130">
              <a:extLst>
                <a:ext uri="{FF2B5EF4-FFF2-40B4-BE49-F238E27FC236}">
                  <a16:creationId xmlns:a16="http://schemas.microsoft.com/office/drawing/2014/main" id="{C91B7B4B-A4A8-44DD-B8B6-F7B1CD1CF4B0}"/>
                </a:ext>
              </a:extLst>
            </p:cNvPr>
            <p:cNvGrpSpPr/>
            <p:nvPr/>
          </p:nvGrpSpPr>
          <p:grpSpPr>
            <a:xfrm>
              <a:off x="7157554" y="1735934"/>
              <a:ext cx="397423" cy="398542"/>
              <a:chOff x="2107244" y="1575258"/>
              <a:chExt cx="310993" cy="264555"/>
            </a:xfrm>
            <a:solidFill>
              <a:srgbClr val="0078D7"/>
            </a:solidFill>
          </p:grpSpPr>
          <p:sp>
            <p:nvSpPr>
              <p:cNvPr id="136" name="Rectangle 9">
                <a:extLst>
                  <a:ext uri="{FF2B5EF4-FFF2-40B4-BE49-F238E27FC236}">
                    <a16:creationId xmlns:a16="http://schemas.microsoft.com/office/drawing/2014/main" id="{F17171C2-19ED-4062-9DA4-50F24C90C79A}"/>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sp>
            <p:nvSpPr>
              <p:cNvPr id="137" name="Line 10">
                <a:extLst>
                  <a:ext uri="{FF2B5EF4-FFF2-40B4-BE49-F238E27FC236}">
                    <a16:creationId xmlns:a16="http://schemas.microsoft.com/office/drawing/2014/main" id="{CE2BA7A9-E0C5-4AA0-90E3-CD9EA2D3F4B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grpSp>
        <p:grpSp>
          <p:nvGrpSpPr>
            <p:cNvPr id="132" name="Group 131">
              <a:extLst>
                <a:ext uri="{FF2B5EF4-FFF2-40B4-BE49-F238E27FC236}">
                  <a16:creationId xmlns:a16="http://schemas.microsoft.com/office/drawing/2014/main" id="{86F6DDED-2B52-4B8F-B25F-AF0A80A1A21E}"/>
                </a:ext>
              </a:extLst>
            </p:cNvPr>
            <p:cNvGrpSpPr/>
            <p:nvPr/>
          </p:nvGrpSpPr>
          <p:grpSpPr>
            <a:xfrm>
              <a:off x="7255156" y="1903738"/>
              <a:ext cx="191394" cy="180132"/>
              <a:chOff x="2198132" y="1701907"/>
              <a:chExt cx="95690" cy="90061"/>
            </a:xfrm>
            <a:solidFill>
              <a:srgbClr val="50E6FF"/>
            </a:solidFill>
          </p:grpSpPr>
          <p:sp>
            <p:nvSpPr>
              <p:cNvPr id="134" name="Freeform 14">
                <a:extLst>
                  <a:ext uri="{FF2B5EF4-FFF2-40B4-BE49-F238E27FC236}">
                    <a16:creationId xmlns:a16="http://schemas.microsoft.com/office/drawing/2014/main" id="{BA6F548C-59B5-4666-92AD-19CE92AA191A}"/>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sp>
            <p:nvSpPr>
              <p:cNvPr id="135" name="Line 15">
                <a:extLst>
                  <a:ext uri="{FF2B5EF4-FFF2-40B4-BE49-F238E27FC236}">
                    <a16:creationId xmlns:a16="http://schemas.microsoft.com/office/drawing/2014/main" id="{5520BF41-17D5-4E3A-B923-90D9CE2CE795}"/>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grpSp>
        <p:sp>
          <p:nvSpPr>
            <p:cNvPr id="133" name="Oval 132">
              <a:extLst>
                <a:ext uri="{FF2B5EF4-FFF2-40B4-BE49-F238E27FC236}">
                  <a16:creationId xmlns:a16="http://schemas.microsoft.com/office/drawing/2014/main" id="{C9BF4C65-4FFA-4048-A086-468184E056D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defTabSz="914225">
                <a:defRPr/>
              </a:pPr>
              <a:endParaRPr lang="en-US" sz="1800" kern="0" dirty="0">
                <a:solidFill>
                  <a:prstClr val="black"/>
                </a:solidFill>
                <a:latin typeface="Arial" charset="0"/>
                <a:ea typeface="Arial" charset="0"/>
                <a:cs typeface="Arial" charset="0"/>
              </a:endParaRPr>
            </a:p>
          </p:txBody>
        </p:sp>
      </p:grpSp>
      <p:grpSp>
        <p:nvGrpSpPr>
          <p:cNvPr id="138" name="Group 137">
            <a:extLst>
              <a:ext uri="{FF2B5EF4-FFF2-40B4-BE49-F238E27FC236}">
                <a16:creationId xmlns:a16="http://schemas.microsoft.com/office/drawing/2014/main" id="{66EBAA8D-0E87-4DFF-B116-D984B9CEE219}"/>
              </a:ext>
            </a:extLst>
          </p:cNvPr>
          <p:cNvGrpSpPr/>
          <p:nvPr/>
        </p:nvGrpSpPr>
        <p:grpSpPr>
          <a:xfrm>
            <a:off x="11313996" y="1849339"/>
            <a:ext cx="434799" cy="421259"/>
            <a:chOff x="7157554" y="1735934"/>
            <a:chExt cx="397423" cy="398542"/>
          </a:xfrm>
        </p:grpSpPr>
        <p:grpSp>
          <p:nvGrpSpPr>
            <p:cNvPr id="139" name="Group 138">
              <a:extLst>
                <a:ext uri="{FF2B5EF4-FFF2-40B4-BE49-F238E27FC236}">
                  <a16:creationId xmlns:a16="http://schemas.microsoft.com/office/drawing/2014/main" id="{DE86C69B-7287-4502-89DF-04FBE6963697}"/>
                </a:ext>
              </a:extLst>
            </p:cNvPr>
            <p:cNvGrpSpPr/>
            <p:nvPr/>
          </p:nvGrpSpPr>
          <p:grpSpPr>
            <a:xfrm>
              <a:off x="7157554" y="1735934"/>
              <a:ext cx="397423" cy="398542"/>
              <a:chOff x="2107244" y="1575258"/>
              <a:chExt cx="310993" cy="264555"/>
            </a:xfrm>
            <a:solidFill>
              <a:srgbClr val="0078D7"/>
            </a:solidFill>
          </p:grpSpPr>
          <p:sp>
            <p:nvSpPr>
              <p:cNvPr id="142" name="Rectangle 9">
                <a:extLst>
                  <a:ext uri="{FF2B5EF4-FFF2-40B4-BE49-F238E27FC236}">
                    <a16:creationId xmlns:a16="http://schemas.microsoft.com/office/drawing/2014/main" id="{A1B540AF-CCBB-4822-AD5F-DCA1DAC43FB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sp>
            <p:nvSpPr>
              <p:cNvPr id="143" name="Line 10">
                <a:extLst>
                  <a:ext uri="{FF2B5EF4-FFF2-40B4-BE49-F238E27FC236}">
                    <a16:creationId xmlns:a16="http://schemas.microsoft.com/office/drawing/2014/main" id="{39D68F2D-48E2-4472-A4BC-15BA096F7CB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grpSp>
        <p:sp>
          <p:nvSpPr>
            <p:cNvPr id="140" name="Line 15">
              <a:extLst>
                <a:ext uri="{FF2B5EF4-FFF2-40B4-BE49-F238E27FC236}">
                  <a16:creationId xmlns:a16="http://schemas.microsoft.com/office/drawing/2014/main" id="{E3B48B09-0578-435A-BE5A-483477E78E9F}"/>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1800" dirty="0">
                <a:solidFill>
                  <a:srgbClr val="3F3F3F"/>
                </a:solidFill>
                <a:latin typeface="Segoe UI"/>
              </a:endParaRPr>
            </a:p>
          </p:txBody>
        </p:sp>
        <p:sp>
          <p:nvSpPr>
            <p:cNvPr id="141" name="Oval 140">
              <a:extLst>
                <a:ext uri="{FF2B5EF4-FFF2-40B4-BE49-F238E27FC236}">
                  <a16:creationId xmlns:a16="http://schemas.microsoft.com/office/drawing/2014/main" id="{723ABECD-9428-4C96-AB49-46AC8746310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algn="ctr" defTabSz="914225">
                <a:defRPr/>
              </a:pPr>
              <a:endParaRPr lang="en-US" sz="1800" kern="0" dirty="0">
                <a:solidFill>
                  <a:prstClr val="black"/>
                </a:solidFill>
                <a:latin typeface="Arial" charset="0"/>
                <a:ea typeface="Arial" charset="0"/>
                <a:cs typeface="Arial" charset="0"/>
              </a:endParaRPr>
            </a:p>
          </p:txBody>
        </p:sp>
      </p:grpSp>
      <p:sp>
        <p:nvSpPr>
          <p:cNvPr id="144" name="Rectangle 143">
            <a:extLst>
              <a:ext uri="{FF2B5EF4-FFF2-40B4-BE49-F238E27FC236}">
                <a16:creationId xmlns:a16="http://schemas.microsoft.com/office/drawing/2014/main" id="{19C615FE-3594-4F7A-B500-40234931D563}"/>
              </a:ext>
            </a:extLst>
          </p:cNvPr>
          <p:cNvSpPr/>
          <p:nvPr/>
        </p:nvSpPr>
        <p:spPr bwMode="auto">
          <a:xfrm>
            <a:off x="8120753" y="3761851"/>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45" name="Rectangle 144">
            <a:extLst>
              <a:ext uri="{FF2B5EF4-FFF2-40B4-BE49-F238E27FC236}">
                <a16:creationId xmlns:a16="http://schemas.microsoft.com/office/drawing/2014/main" id="{38C0C978-FDCD-4744-B1F1-065FC57BD070}"/>
              </a:ext>
            </a:extLst>
          </p:cNvPr>
          <p:cNvSpPr/>
          <p:nvPr/>
        </p:nvSpPr>
        <p:spPr bwMode="auto">
          <a:xfrm>
            <a:off x="6517663" y="3763568"/>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46" name="Rectangle 145">
            <a:extLst>
              <a:ext uri="{FF2B5EF4-FFF2-40B4-BE49-F238E27FC236}">
                <a16:creationId xmlns:a16="http://schemas.microsoft.com/office/drawing/2014/main" id="{FF7661F4-054E-432C-BB86-310E70464B3B}"/>
              </a:ext>
            </a:extLst>
          </p:cNvPr>
          <p:cNvSpPr/>
          <p:nvPr/>
        </p:nvSpPr>
        <p:spPr bwMode="auto">
          <a:xfrm>
            <a:off x="9967290" y="1860382"/>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grpSp>
        <p:nvGrpSpPr>
          <p:cNvPr id="147" name="Group 146">
            <a:extLst>
              <a:ext uri="{FF2B5EF4-FFF2-40B4-BE49-F238E27FC236}">
                <a16:creationId xmlns:a16="http://schemas.microsoft.com/office/drawing/2014/main" id="{7306F072-4B38-4579-A30D-4400CF62BACC}"/>
              </a:ext>
            </a:extLst>
          </p:cNvPr>
          <p:cNvGrpSpPr/>
          <p:nvPr/>
        </p:nvGrpSpPr>
        <p:grpSpPr>
          <a:xfrm>
            <a:off x="7233304" y="2266589"/>
            <a:ext cx="3199647" cy="845403"/>
            <a:chOff x="7233465" y="2266423"/>
            <a:chExt cx="3200101" cy="845523"/>
          </a:xfrm>
        </p:grpSpPr>
        <p:cxnSp>
          <p:nvCxnSpPr>
            <p:cNvPr id="148" name="Connector: Elbow 147">
              <a:extLst>
                <a:ext uri="{FF2B5EF4-FFF2-40B4-BE49-F238E27FC236}">
                  <a16:creationId xmlns:a16="http://schemas.microsoft.com/office/drawing/2014/main" id="{0592F195-E733-4C5C-AFC2-B96EF3120362}"/>
                </a:ext>
              </a:extLst>
            </p:cNvPr>
            <p:cNvCxnSpPr>
              <a:cxnSpLocks/>
              <a:stCxn id="146" idx="2"/>
            </p:cNvCxnSpPr>
            <p:nvPr/>
          </p:nvCxnSpPr>
          <p:spPr>
            <a:xfrm rot="5400000">
              <a:off x="8607385" y="892506"/>
              <a:ext cx="452263" cy="3200098"/>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4B6E43BE-E280-4C37-A5A6-9A4F1694C9EB}"/>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6653D781-3CD3-4570-BE82-19A017547F8F}"/>
              </a:ext>
            </a:extLst>
          </p:cNvPr>
          <p:cNvGrpSpPr/>
          <p:nvPr/>
        </p:nvGrpSpPr>
        <p:grpSpPr>
          <a:xfrm>
            <a:off x="8839614" y="2261547"/>
            <a:ext cx="1591525" cy="856849"/>
            <a:chOff x="8840003" y="2261380"/>
            <a:chExt cx="1591750" cy="856971"/>
          </a:xfrm>
        </p:grpSpPr>
        <p:cxnSp>
          <p:nvCxnSpPr>
            <p:cNvPr id="151" name="Straight Arrow Connector 150">
              <a:extLst>
                <a:ext uri="{FF2B5EF4-FFF2-40B4-BE49-F238E27FC236}">
                  <a16:creationId xmlns:a16="http://schemas.microsoft.com/office/drawing/2014/main" id="{0D1CBDE0-DC69-496F-9F2F-CD3DE8A1F700}"/>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B8BC09C5-E33D-411B-A8AD-F111B6675867}"/>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4612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500"/>
                                  </p:stCondLst>
                                  <p:childTnLst>
                                    <p:set>
                                      <p:cBhvr>
                                        <p:cTn id="49" dur="1" fill="hold">
                                          <p:stCondLst>
                                            <p:cond delay="0"/>
                                          </p:stCondLst>
                                        </p:cTn>
                                        <p:tgtEl>
                                          <p:spTgt spid="125"/>
                                        </p:tgtEl>
                                        <p:attrNameLst>
                                          <p:attrName>style.visibility</p:attrName>
                                        </p:attrNameLst>
                                      </p:cBhvr>
                                      <p:to>
                                        <p:strVal val="visible"/>
                                      </p:to>
                                    </p:set>
                                  </p:childTnLst>
                                </p:cTn>
                              </p:par>
                              <p:par>
                                <p:cTn id="50" presetID="1" presetClass="entr" presetSubtype="0" fill="hold" grpId="0" nodeType="withEffect">
                                  <p:stCondLst>
                                    <p:cond delay="500"/>
                                  </p:stCondLst>
                                  <p:childTnLst>
                                    <p:set>
                                      <p:cBhvr>
                                        <p:cTn id="51" dur="1" fill="hold">
                                          <p:stCondLst>
                                            <p:cond delay="0"/>
                                          </p:stCondLst>
                                        </p:cTn>
                                        <p:tgtEl>
                                          <p:spTgt spid="12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9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23"/>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1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09"/>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46"/>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8"/>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38"/>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98"/>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11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5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26"/>
                                        </p:tgtEl>
                                        <p:attrNameLst>
                                          <p:attrName>style.visibility</p:attrName>
                                        </p:attrNameLst>
                                      </p:cBhvr>
                                      <p:to>
                                        <p:strVal val="visible"/>
                                      </p:to>
                                    </p:set>
                                    <p:animEffect transition="in" filter="fade">
                                      <p:cBhvr>
                                        <p:cTn id="82" dur="500"/>
                                        <p:tgtEl>
                                          <p:spTgt spid="126"/>
                                        </p:tgtEl>
                                      </p:cBhvr>
                                    </p:animEffect>
                                  </p:childTnLst>
                                </p:cTn>
                              </p:par>
                              <p:par>
                                <p:cTn id="83" presetID="7" presetClass="emph" presetSubtype="2" fill="hold" nodeType="withEffect">
                                  <p:stCondLst>
                                    <p:cond delay="0"/>
                                  </p:stCondLst>
                                  <p:childTnLst>
                                    <p:animClr clrSpc="rgb" dir="cw">
                                      <p:cBhvr>
                                        <p:cTn id="84" dur="500" fill="hold"/>
                                        <p:tgtEl>
                                          <p:spTgt spid="100"/>
                                        </p:tgtEl>
                                        <p:attrNameLst>
                                          <p:attrName>stroke.color</p:attrName>
                                        </p:attrNameLst>
                                      </p:cBhvr>
                                      <p:to>
                                        <a:srgbClr val="D83B01"/>
                                      </p:to>
                                    </p:animClr>
                                    <p:set>
                                      <p:cBhvr>
                                        <p:cTn id="85" dur="500" fill="hold"/>
                                        <p:tgtEl>
                                          <p:spTgt spid="100"/>
                                        </p:tgtEl>
                                        <p:attrNameLst>
                                          <p:attrName>stroke.on</p:attrName>
                                        </p:attrNameLst>
                                      </p:cBhvr>
                                      <p:to>
                                        <p:strVal val="true"/>
                                      </p:to>
                                    </p:se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0" nodeType="clickEffect">
                                  <p:stCondLst>
                                    <p:cond delay="0"/>
                                  </p:stCondLst>
                                  <p:childTnLst>
                                    <p:animEffect transition="out" filter="fade">
                                      <p:cBhvr>
                                        <p:cTn id="89" dur="500"/>
                                        <p:tgtEl>
                                          <p:spTgt spid="116"/>
                                        </p:tgtEl>
                                      </p:cBhvr>
                                    </p:animEffect>
                                    <p:set>
                                      <p:cBhvr>
                                        <p:cTn id="90" dur="1" fill="hold">
                                          <p:stCondLst>
                                            <p:cond delay="499"/>
                                          </p:stCondLst>
                                        </p:cTn>
                                        <p:tgtEl>
                                          <p:spTgt spid="116"/>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144"/>
                                        </p:tgtEl>
                                        <p:attrNameLst>
                                          <p:attrName>style.visibility</p:attrName>
                                        </p:attrNameLst>
                                      </p:cBhvr>
                                      <p:to>
                                        <p:strVal val="visible"/>
                                      </p:to>
                                    </p:set>
                                    <p:animEffect transition="in" filter="fade">
                                      <p:cBhvr>
                                        <p:cTn id="93" dur="500"/>
                                        <p:tgtEl>
                                          <p:spTgt spid="144"/>
                                        </p:tgtEl>
                                      </p:cBhvr>
                                    </p:animEffect>
                                  </p:childTnLst>
                                </p:cTn>
                              </p:par>
                            </p:childTnLst>
                          </p:cTn>
                        </p:par>
                        <p:par>
                          <p:cTn id="94" fill="hold">
                            <p:stCondLst>
                              <p:cond delay="500"/>
                            </p:stCondLst>
                            <p:childTnLst>
                              <p:par>
                                <p:cTn id="95" presetID="10" presetClass="exit" presetSubtype="0" fill="hold" nodeType="afterEffect">
                                  <p:stCondLst>
                                    <p:cond delay="0"/>
                                  </p:stCondLst>
                                  <p:childTnLst>
                                    <p:animEffect transition="out" filter="fade">
                                      <p:cBhvr>
                                        <p:cTn id="96" dur="500"/>
                                        <p:tgtEl>
                                          <p:spTgt spid="109"/>
                                        </p:tgtEl>
                                      </p:cBhvr>
                                    </p:animEffect>
                                    <p:set>
                                      <p:cBhvr>
                                        <p:cTn id="97" dur="1" fill="hold">
                                          <p:stCondLst>
                                            <p:cond delay="499"/>
                                          </p:stCondLst>
                                        </p:cTn>
                                        <p:tgtEl>
                                          <p:spTgt spid="109"/>
                                        </p:tgtEl>
                                        <p:attrNameLst>
                                          <p:attrName>style.visibility</p:attrName>
                                        </p:attrNameLst>
                                      </p:cBhvr>
                                      <p:to>
                                        <p:strVal val="hidden"/>
                                      </p:to>
                                    </p:set>
                                  </p:childTnLst>
                                </p:cTn>
                              </p:par>
                              <p:par>
                                <p:cTn id="98" presetID="22" presetClass="entr" presetSubtype="8" fill="hold" nodeType="withEffect">
                                  <p:stCondLst>
                                    <p:cond delay="0"/>
                                  </p:stCondLst>
                                  <p:childTnLst>
                                    <p:set>
                                      <p:cBhvr>
                                        <p:cTn id="99" dur="1" fill="hold">
                                          <p:stCondLst>
                                            <p:cond delay="0"/>
                                          </p:stCondLst>
                                        </p:cTn>
                                        <p:tgtEl>
                                          <p:spTgt spid="129"/>
                                        </p:tgtEl>
                                        <p:attrNameLst>
                                          <p:attrName>style.visibility</p:attrName>
                                        </p:attrNameLst>
                                      </p:cBhvr>
                                      <p:to>
                                        <p:strVal val="visible"/>
                                      </p:to>
                                    </p:set>
                                    <p:animEffect transition="in" filter="wipe(left)">
                                      <p:cBhvr>
                                        <p:cTn id="100" dur="500"/>
                                        <p:tgtEl>
                                          <p:spTgt spid="129"/>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126"/>
                                        </p:tgtEl>
                                      </p:cBhvr>
                                    </p:animEffect>
                                    <p:set>
                                      <p:cBhvr>
                                        <p:cTn id="105" dur="1" fill="hold">
                                          <p:stCondLst>
                                            <p:cond delay="499"/>
                                          </p:stCondLst>
                                        </p:cTn>
                                        <p:tgtEl>
                                          <p:spTgt spid="126"/>
                                        </p:tgtEl>
                                        <p:attrNameLst>
                                          <p:attrName>style.visibility</p:attrName>
                                        </p:attrNameLst>
                                      </p:cBhvr>
                                      <p:to>
                                        <p:strVal val="hidden"/>
                                      </p:to>
                                    </p:set>
                                  </p:childTnLst>
                                </p:cTn>
                              </p:par>
                              <p:par>
                                <p:cTn id="106" presetID="7" presetClass="emph" presetSubtype="2" fill="hold" nodeType="withEffect">
                                  <p:stCondLst>
                                    <p:cond delay="0"/>
                                  </p:stCondLst>
                                  <p:childTnLst>
                                    <p:animClr clrSpc="rgb" dir="cw">
                                      <p:cBhvr>
                                        <p:cTn id="107" dur="500" fill="hold"/>
                                        <p:tgtEl>
                                          <p:spTgt spid="100"/>
                                        </p:tgtEl>
                                        <p:attrNameLst>
                                          <p:attrName>stroke.color</p:attrName>
                                        </p:attrNameLst>
                                      </p:cBhvr>
                                      <p:to>
                                        <a:srgbClr val="737373"/>
                                      </p:to>
                                    </p:animClr>
                                    <p:set>
                                      <p:cBhvr>
                                        <p:cTn id="108" dur="500" fill="hold"/>
                                        <p:tgtEl>
                                          <p:spTgt spid="100"/>
                                        </p:tgtEl>
                                        <p:attrNameLst>
                                          <p:attrName>stroke.on</p:attrName>
                                        </p:attrNameLst>
                                      </p:cBhvr>
                                      <p:to>
                                        <p:strVal val="true"/>
                                      </p:to>
                                    </p:set>
                                  </p:childTnLst>
                                </p:cTn>
                              </p:par>
                              <p:par>
                                <p:cTn id="109" presetID="10" presetClass="entr" presetSubtype="0" fill="hold" grpId="0" nodeType="withEffect">
                                  <p:stCondLst>
                                    <p:cond delay="0"/>
                                  </p:stCondLst>
                                  <p:childTnLst>
                                    <p:set>
                                      <p:cBhvr>
                                        <p:cTn id="110" dur="1" fill="hold">
                                          <p:stCondLst>
                                            <p:cond delay="0"/>
                                          </p:stCondLst>
                                        </p:cTn>
                                        <p:tgtEl>
                                          <p:spTgt spid="145"/>
                                        </p:tgtEl>
                                        <p:attrNameLst>
                                          <p:attrName>style.visibility</p:attrName>
                                        </p:attrNameLst>
                                      </p:cBhvr>
                                      <p:to>
                                        <p:strVal val="visible"/>
                                      </p:to>
                                    </p:set>
                                    <p:animEffect transition="in" filter="fade">
                                      <p:cBhvr>
                                        <p:cTn id="111" dur="500"/>
                                        <p:tgtEl>
                                          <p:spTgt spid="145"/>
                                        </p:tgtEl>
                                      </p:cBhvr>
                                    </p:animEffect>
                                  </p:childTnLst>
                                </p:cTn>
                              </p:par>
                              <p:par>
                                <p:cTn id="112" presetID="10" presetClass="exit" presetSubtype="0" fill="hold" grpId="0" nodeType="withEffect">
                                  <p:stCondLst>
                                    <p:cond delay="0"/>
                                  </p:stCondLst>
                                  <p:childTnLst>
                                    <p:animEffect transition="out" filter="fade">
                                      <p:cBhvr>
                                        <p:cTn id="113" dur="500"/>
                                        <p:tgtEl>
                                          <p:spTgt spid="103"/>
                                        </p:tgtEl>
                                      </p:cBhvr>
                                    </p:animEffect>
                                    <p:set>
                                      <p:cBhvr>
                                        <p:cTn id="114" dur="1" fill="hold">
                                          <p:stCondLst>
                                            <p:cond delay="499"/>
                                          </p:stCondLst>
                                        </p:cTn>
                                        <p:tgtEl>
                                          <p:spTgt spid="103"/>
                                        </p:tgtEl>
                                        <p:attrNameLst>
                                          <p:attrName>style.visibility</p:attrName>
                                        </p:attrNameLst>
                                      </p:cBhvr>
                                      <p:to>
                                        <p:strVal val="hidden"/>
                                      </p:to>
                                    </p:set>
                                  </p:childTnLst>
                                </p:cTn>
                              </p:par>
                            </p:childTnLst>
                          </p:cTn>
                        </p:par>
                        <p:par>
                          <p:cTn id="115" fill="hold">
                            <p:stCondLst>
                              <p:cond delay="500"/>
                            </p:stCondLst>
                            <p:childTnLst>
                              <p:par>
                                <p:cTn id="116" presetID="1" presetClass="exit" presetSubtype="0" fill="hold" nodeType="afterEffect">
                                  <p:stCondLst>
                                    <p:cond delay="0"/>
                                  </p:stCondLst>
                                  <p:childTnLst>
                                    <p:set>
                                      <p:cBhvr>
                                        <p:cTn id="117" dur="1" fill="hold">
                                          <p:stCondLst>
                                            <p:cond delay="0"/>
                                          </p:stCondLst>
                                        </p:cTn>
                                        <p:tgtEl>
                                          <p:spTgt spid="150"/>
                                        </p:tgtEl>
                                        <p:attrNameLst>
                                          <p:attrName>style.visibility</p:attrName>
                                        </p:attrNameLst>
                                      </p:cBhvr>
                                      <p:to>
                                        <p:strVal val="hidden"/>
                                      </p:to>
                                    </p:set>
                                  </p:childTnLst>
                                </p:cTn>
                              </p:par>
                            </p:childTnLst>
                          </p:cTn>
                        </p:par>
                        <p:par>
                          <p:cTn id="118" fill="hold">
                            <p:stCondLst>
                              <p:cond delay="500"/>
                            </p:stCondLst>
                            <p:childTnLst>
                              <p:par>
                                <p:cTn id="119" presetID="1" presetClass="entr" presetSubtype="0" fill="hold" nodeType="afterEffect">
                                  <p:stCondLst>
                                    <p:cond delay="0"/>
                                  </p:stCondLst>
                                  <p:childTnLst>
                                    <p:set>
                                      <p:cBhvr>
                                        <p:cTn id="120"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8" grpId="0"/>
      <p:bldP spid="99" grpId="0"/>
      <p:bldP spid="100" grpId="0" animBg="1"/>
      <p:bldP spid="101" grpId="0"/>
      <p:bldP spid="102" grpId="0" animBg="1"/>
      <p:bldP spid="103" grpId="0" animBg="1"/>
      <p:bldP spid="103" grpId="1" animBg="1"/>
      <p:bldP spid="104" grpId="0" animBg="1"/>
      <p:bldP spid="105" grpId="0" animBg="1"/>
      <p:bldP spid="112" grpId="0" animBg="1"/>
      <p:bldP spid="113" grpId="0" animBg="1"/>
      <p:bldP spid="114" grpId="0"/>
      <p:bldP spid="115" grpId="0" animBg="1"/>
      <p:bldP spid="116" grpId="0" animBg="1"/>
      <p:bldP spid="116" grpId="1" animBg="1"/>
      <p:bldP spid="117" grpId="0" animBg="1"/>
      <p:bldP spid="118" grpId="0" animBg="1"/>
      <p:bldP spid="119" grpId="0"/>
      <p:bldP spid="120" grpId="0" animBg="1"/>
      <p:bldP spid="121" grpId="0" animBg="1"/>
      <p:bldP spid="122" grpId="0" animBg="1"/>
      <p:bldP spid="124" grpId="0" animBg="1"/>
      <p:bldP spid="125" grpId="0" animBg="1"/>
      <p:bldP spid="126" grpId="0" animBg="1"/>
      <p:bldP spid="126" grpId="1" animBg="1"/>
      <p:bldP spid="144" grpId="0" animBg="1"/>
      <p:bldP spid="145" grpId="0" animBg="1"/>
      <p:bldP spid="14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8: SQL Server Data Virtualization</a:t>
            </a:r>
          </a:p>
        </p:txBody>
      </p:sp>
    </p:spTree>
    <p:extLst>
      <p:ext uri="{BB962C8B-B14F-4D97-AF65-F5344CB8AC3E}">
        <p14:creationId xmlns:p14="http://schemas.microsoft.com/office/powerpoint/2010/main" val="412644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506570-22B4-7840-A296-CEB77D113F47}"/>
              </a:ext>
            </a:extLst>
          </p:cNvPr>
          <p:cNvSpPr/>
          <p:nvPr/>
        </p:nvSpPr>
        <p:spPr bwMode="auto">
          <a:xfrm>
            <a:off x="45720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552CB91D-C53E-7E4F-BEDF-C18D7F199B37}"/>
              </a:ext>
            </a:extLst>
          </p:cNvPr>
          <p:cNvSpPr/>
          <p:nvPr/>
        </p:nvSpPr>
        <p:spPr bwMode="auto">
          <a:xfrm>
            <a:off x="3394075"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9109736-3F0A-7643-8179-8AA4880E26FE}"/>
              </a:ext>
            </a:extLst>
          </p:cNvPr>
          <p:cNvSpPr/>
          <p:nvPr/>
        </p:nvSpPr>
        <p:spPr bwMode="auto">
          <a:xfrm>
            <a:off x="633095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E706D88A-53E8-FF49-AAA2-1E248698E5D3}"/>
              </a:ext>
            </a:extLst>
          </p:cNvPr>
          <p:cNvSpPr/>
          <p:nvPr/>
        </p:nvSpPr>
        <p:spPr bwMode="auto">
          <a:xfrm>
            <a:off x="9267824"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3EEC614-BD9A-4F2E-BFF8-48F22CC19F2A}"/>
              </a:ext>
            </a:extLst>
          </p:cNvPr>
          <p:cNvSpPr/>
          <p:nvPr/>
        </p:nvSpPr>
        <p:spPr bwMode="auto">
          <a:xfrm>
            <a:off x="7048500" y="2960864"/>
            <a:ext cx="3479800" cy="1182136"/>
          </a:xfrm>
          <a:prstGeom prst="rect">
            <a:avLst/>
          </a:prstGeom>
          <a:noFill/>
          <a:ln w="12700">
            <a:solidFill>
              <a:srgbClr val="75757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p:txBody>
      </p:sp>
      <p:sp>
        <p:nvSpPr>
          <p:cNvPr id="5" name="TextBox 4">
            <a:extLst>
              <a:ext uri="{FF2B5EF4-FFF2-40B4-BE49-F238E27FC236}">
                <a16:creationId xmlns:a16="http://schemas.microsoft.com/office/drawing/2014/main" id="{8861FE07-AD06-424E-B109-C665AB32B066}"/>
              </a:ext>
            </a:extLst>
          </p:cNvPr>
          <p:cNvSpPr txBox="1"/>
          <p:nvPr/>
        </p:nvSpPr>
        <p:spPr>
          <a:xfrm>
            <a:off x="8190961" y="2477045"/>
            <a:ext cx="1194879"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SQL</a:t>
            </a:r>
          </a:p>
        </p:txBody>
      </p:sp>
      <p:cxnSp>
        <p:nvCxnSpPr>
          <p:cNvPr id="18" name="Connector: Elbow 17">
            <a:extLst>
              <a:ext uri="{FF2B5EF4-FFF2-40B4-BE49-F238E27FC236}">
                <a16:creationId xmlns:a16="http://schemas.microsoft.com/office/drawing/2014/main" id="{6D2498FF-9E32-4BE3-80FF-8FFB1A8DF0AF}"/>
              </a:ext>
            </a:extLst>
          </p:cNvPr>
          <p:cNvCxnSpPr>
            <a:cxnSpLocks/>
          </p:cNvCxnSpPr>
          <p:nvPr/>
        </p:nvCxnSpPr>
        <p:spPr>
          <a:xfrm>
            <a:off x="789449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096AE3-D814-41FA-9BC2-21E1A433BAEC}"/>
              </a:ext>
            </a:extLst>
          </p:cNvPr>
          <p:cNvSpPr txBox="1"/>
          <p:nvPr/>
        </p:nvSpPr>
        <p:spPr>
          <a:xfrm>
            <a:off x="6893888" y="2456660"/>
            <a:ext cx="97937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24" name="TextBox 23">
            <a:extLst>
              <a:ext uri="{FF2B5EF4-FFF2-40B4-BE49-F238E27FC236}">
                <a16:creationId xmlns:a16="http://schemas.microsoft.com/office/drawing/2014/main" id="{FDE06252-C7AD-4608-84BB-7C035BC30E64}"/>
              </a:ext>
            </a:extLst>
          </p:cNvPr>
          <p:cNvSpPr txBox="1"/>
          <p:nvPr/>
        </p:nvSpPr>
        <p:spPr>
          <a:xfrm>
            <a:off x="9882546" y="2456660"/>
            <a:ext cx="62643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ps</a:t>
            </a:r>
          </a:p>
        </p:txBody>
      </p:sp>
      <p:cxnSp>
        <p:nvCxnSpPr>
          <p:cNvPr id="25" name="Connector: Elbow 24">
            <a:extLst>
              <a:ext uri="{FF2B5EF4-FFF2-40B4-BE49-F238E27FC236}">
                <a16:creationId xmlns:a16="http://schemas.microsoft.com/office/drawing/2014/main" id="{E67437A9-7E50-46DE-88D5-B97A01452A90}"/>
              </a:ext>
            </a:extLst>
          </p:cNvPr>
          <p:cNvCxnSpPr>
            <a:cxnSpLocks/>
          </p:cNvCxnSpPr>
          <p:nvPr/>
        </p:nvCxnSpPr>
        <p:spPr>
          <a:xfrm flipH="1">
            <a:off x="879153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A6639F-E72F-4870-A5D4-8767D87E77DF}"/>
              </a:ext>
            </a:extLst>
          </p:cNvPr>
          <p:cNvSpPr txBox="1"/>
          <p:nvPr/>
        </p:nvSpPr>
        <p:spPr>
          <a:xfrm>
            <a:off x="628651" y="4790428"/>
            <a:ext cx="2118288"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DBC</a:t>
            </a:r>
          </a:p>
        </p:txBody>
      </p:sp>
      <p:pic>
        <p:nvPicPr>
          <p:cNvPr id="10244" name="Picture 4">
            <a:extLst>
              <a:ext uri="{FF2B5EF4-FFF2-40B4-BE49-F238E27FC236}">
                <a16:creationId xmlns:a16="http://schemas.microsoft.com/office/drawing/2014/main" id="{607A8381-4EA2-4A8C-B04E-52D4A2C24C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594476" y="5379693"/>
            <a:ext cx="970331" cy="26273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8197B8D-1A07-4CA9-8F7B-098A840755B5}"/>
              </a:ext>
            </a:extLst>
          </p:cNvPr>
          <p:cNvSpPr txBox="1"/>
          <p:nvPr/>
        </p:nvSpPr>
        <p:spPr>
          <a:xfrm>
            <a:off x="4030417" y="4790427"/>
            <a:ext cx="1321516"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SQL</a:t>
            </a:r>
          </a:p>
        </p:txBody>
      </p:sp>
      <p:pic>
        <p:nvPicPr>
          <p:cNvPr id="10248" name="Picture 8">
            <a:extLst>
              <a:ext uri="{FF2B5EF4-FFF2-40B4-BE49-F238E27FC236}">
                <a16:creationId xmlns:a16="http://schemas.microsoft.com/office/drawing/2014/main" id="{BE063223-2DEC-4419-928B-A26A778274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177107" y="5840178"/>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CC5DABB-863D-4D54-8262-26C0D38AB560}"/>
              </a:ext>
            </a:extLst>
          </p:cNvPr>
          <p:cNvSpPr txBox="1"/>
          <p:nvPr/>
        </p:nvSpPr>
        <p:spPr>
          <a:xfrm>
            <a:off x="6726696" y="4790428"/>
            <a:ext cx="1683797"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 databases</a:t>
            </a:r>
          </a:p>
        </p:txBody>
      </p:sp>
      <p:pic>
        <p:nvPicPr>
          <p:cNvPr id="10254" name="Picture 14" descr="Image result for Oracle">
            <a:extLst>
              <a:ext uri="{FF2B5EF4-FFF2-40B4-BE49-F238E27FC236}">
                <a16:creationId xmlns:a16="http://schemas.microsoft.com/office/drawing/2014/main" id="{7E776A23-CB5D-43AB-BD7E-D28816128CE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5909" y="5845097"/>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Image result for Teradata logo">
            <a:extLst>
              <a:ext uri="{FF2B5EF4-FFF2-40B4-BE49-F238E27FC236}">
                <a16:creationId xmlns:a16="http://schemas.microsoft.com/office/drawing/2014/main" id="{F7454ECB-D11D-4B52-A948-A098293060E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t="20490" b="20490"/>
          <a:stretch/>
        </p:blipFill>
        <p:spPr bwMode="auto">
          <a:xfrm>
            <a:off x="6506535" y="5289944"/>
            <a:ext cx="994403" cy="3349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CAF706FE-1D77-4E87-8021-1C05FD566461}"/>
              </a:ext>
            </a:extLst>
          </p:cNvPr>
          <p:cNvSpPr txBox="1"/>
          <p:nvPr/>
        </p:nvSpPr>
        <p:spPr>
          <a:xfrm>
            <a:off x="9873783" y="4790428"/>
            <a:ext cx="1265062"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g data</a:t>
            </a:r>
          </a:p>
        </p:txBody>
      </p:sp>
      <p:pic>
        <p:nvPicPr>
          <p:cNvPr id="10268" name="Picture 28" descr="Image result for Cloudera">
            <a:extLst>
              <a:ext uri="{FF2B5EF4-FFF2-40B4-BE49-F238E27FC236}">
                <a16:creationId xmlns:a16="http://schemas.microsoft.com/office/drawing/2014/main" id="{601582BB-27A9-49A4-B669-B2DF5AABB372}"/>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13231" y="5421570"/>
            <a:ext cx="983588" cy="238521"/>
          </a:xfrm>
          <a:prstGeom prst="rect">
            <a:avLst/>
          </a:prstGeom>
          <a:noFill/>
          <a:extLst>
            <a:ext uri="{909E8E84-426E-40DD-AFC4-6F175D3DCCD1}">
              <a14:hiddenFill xmlns:a14="http://schemas.microsoft.com/office/drawing/2010/main">
                <a:solidFill>
                  <a:srgbClr val="FFFFFF"/>
                </a:solidFill>
              </a14:hiddenFill>
            </a:ext>
          </a:extLst>
        </p:spPr>
      </p:pic>
      <p:pic>
        <p:nvPicPr>
          <p:cNvPr id="10272" name="Picture 32">
            <a:extLst>
              <a:ext uri="{FF2B5EF4-FFF2-40B4-BE49-F238E27FC236}">
                <a16:creationId xmlns:a16="http://schemas.microsoft.com/office/drawing/2014/main" id="{DAD814D1-33C1-4FE0-B1CA-9FDCCA26443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659038" y="5394264"/>
            <a:ext cx="904017" cy="31871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F1808012-CF92-4C32-8F50-416E15D8EF0D}"/>
              </a:ext>
            </a:extLst>
          </p:cNvPr>
          <p:cNvCxnSpPr>
            <a:cxnSpLocks/>
            <a:stCxn id="50" idx="2"/>
          </p:cNvCxnSpPr>
          <p:nvPr/>
        </p:nvCxnSpPr>
        <p:spPr>
          <a:xfrm>
            <a:off x="8791536" y="3922537"/>
            <a:ext cx="0" cy="474925"/>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B90C636-F8A5-4EC7-B979-5D3C7A21BA82}"/>
              </a:ext>
            </a:extLst>
          </p:cNvPr>
          <p:cNvCxnSpPr>
            <a:cxnSpLocks/>
            <a:stCxn id="5" idx="2"/>
            <a:endCxn id="50" idx="0"/>
          </p:cNvCxnSpPr>
          <p:nvPr/>
        </p:nvCxnSpPr>
        <p:spPr>
          <a:xfrm>
            <a:off x="8788401" y="2721727"/>
            <a:ext cx="3135" cy="711513"/>
          </a:xfrm>
          <a:prstGeom prst="straightConnector1">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6FA5A1-5CE9-DF4C-9779-46CA70B46520}"/>
              </a:ext>
            </a:extLst>
          </p:cNvPr>
          <p:cNvGrpSpPr/>
          <p:nvPr/>
        </p:nvGrpSpPr>
        <p:grpSpPr>
          <a:xfrm>
            <a:off x="1676398" y="4397462"/>
            <a:ext cx="8839204" cy="202732"/>
            <a:chOff x="1676398" y="4254967"/>
            <a:chExt cx="8839204" cy="315371"/>
          </a:xfrm>
        </p:grpSpPr>
        <p:cxnSp>
          <p:nvCxnSpPr>
            <p:cNvPr id="42" name="Straight Arrow Connector 41">
              <a:extLst>
                <a:ext uri="{FF2B5EF4-FFF2-40B4-BE49-F238E27FC236}">
                  <a16:creationId xmlns:a16="http://schemas.microsoft.com/office/drawing/2014/main" id="{88AF7423-16AA-4E9A-8A53-26A5A8A33982}"/>
                </a:ext>
              </a:extLst>
            </p:cNvPr>
            <p:cNvCxnSpPr/>
            <p:nvPr/>
          </p:nvCxnSpPr>
          <p:spPr>
            <a:xfrm>
              <a:off x="4701909" y="4262895"/>
              <a:ext cx="0" cy="29721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ight Bracket 78">
              <a:extLst>
                <a:ext uri="{FF2B5EF4-FFF2-40B4-BE49-F238E27FC236}">
                  <a16:creationId xmlns:a16="http://schemas.microsoft.com/office/drawing/2014/main" id="{756FEFB2-2C46-4FFE-AA80-CA04C1BA7ECA}"/>
                </a:ext>
              </a:extLst>
            </p:cNvPr>
            <p:cNvSpPr/>
            <p:nvPr/>
          </p:nvSpPr>
          <p:spPr>
            <a:xfrm rot="16200000">
              <a:off x="5939465" y="-5799"/>
              <a:ext cx="313070" cy="8839204"/>
            </a:xfrm>
            <a:prstGeom prst="rightBracket">
              <a:avLst>
                <a:gd name="adj" fmla="val 0"/>
              </a:avLst>
            </a:prstGeom>
            <a:ln w="12700">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2" name="Straight Arrow Connector 81">
              <a:extLst>
                <a:ext uri="{FF2B5EF4-FFF2-40B4-BE49-F238E27FC236}">
                  <a16:creationId xmlns:a16="http://schemas.microsoft.com/office/drawing/2014/main" id="{6C5FE357-200A-4676-A518-8558F5DFDD3F}"/>
                </a:ext>
              </a:extLst>
            </p:cNvPr>
            <p:cNvCxnSpPr/>
            <p:nvPr/>
          </p:nvCxnSpPr>
          <p:spPr>
            <a:xfrm>
              <a:off x="7482055" y="4254967"/>
              <a:ext cx="0" cy="313071"/>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99C59346-4072-4AA3-9FEB-D6F3D2712964}"/>
              </a:ext>
            </a:extLst>
          </p:cNvPr>
          <p:cNvSpPr txBox="1"/>
          <p:nvPr/>
        </p:nvSpPr>
        <p:spPr>
          <a:xfrm>
            <a:off x="1822015" y="5540831"/>
            <a:ext cx="494046" cy="244682"/>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cel</a:t>
            </a:r>
          </a:p>
        </p:txBody>
      </p:sp>
      <p:pic>
        <p:nvPicPr>
          <p:cNvPr id="3074" name="Picture 2" descr="http://www.bojanglesmuseum.com/wp-content/uploads/2017/07/Cool-Microsoft-Sql-Server-Logo-98-On-Create-A-Free-Logo-with-Microsoft-Sql-Server-Logo.jpg">
            <a:extLst>
              <a:ext uri="{FF2B5EF4-FFF2-40B4-BE49-F238E27FC236}">
                <a16:creationId xmlns:a16="http://schemas.microsoft.com/office/drawing/2014/main" id="{E900CC5F-6337-4614-AB69-1BBF7BD2014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9365" y="515283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D4859E2E-D1FC-4466-B475-718D6A576AB6}"/>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067173" y="5137327"/>
            <a:ext cx="486648" cy="484732"/>
          </a:xfrm>
          <a:prstGeom prst="rect">
            <a:avLst/>
          </a:prstGeom>
          <a:noFill/>
          <a:extLst>
            <a:ext uri="{909E8E84-426E-40DD-AFC4-6F175D3DCCD1}">
              <a14:hiddenFill xmlns:a14="http://schemas.microsoft.com/office/drawing/2010/main">
                <a:solidFill>
                  <a:srgbClr val="FFFFFF"/>
                </a:solidFill>
              </a14:hiddenFill>
            </a:ext>
          </a:extLst>
        </p:spPr>
      </p:pic>
      <p:sp>
        <p:nvSpPr>
          <p:cNvPr id="115" name="Freeform 96">
            <a:extLst>
              <a:ext uri="{FF2B5EF4-FFF2-40B4-BE49-F238E27FC236}">
                <a16:creationId xmlns:a16="http://schemas.microsoft.com/office/drawing/2014/main" id="{8A082CF6-5439-4FDE-9378-09FBE5F547DA}"/>
              </a:ext>
            </a:extLst>
          </p:cNvPr>
          <p:cNvSpPr>
            <a:spLocks noChangeAspect="1"/>
          </p:cNvSpPr>
          <p:nvPr/>
        </p:nvSpPr>
        <p:spPr bwMode="auto">
          <a:xfrm>
            <a:off x="1868107" y="5111235"/>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4AC4E979-3371-47B8-8F89-A9E575EFAC4E}"/>
              </a:ext>
            </a:extLst>
          </p:cNvPr>
          <p:cNvSpPr/>
          <p:nvPr/>
        </p:nvSpPr>
        <p:spPr bwMode="auto">
          <a:xfrm>
            <a:off x="7257972" y="3433240"/>
            <a:ext cx="3067128" cy="489297"/>
          </a:xfrm>
          <a:prstGeom prst="rect">
            <a:avLst/>
          </a:prstGeom>
          <a:noFill/>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Autofit/>
          </a:bodyPr>
          <a:lstStyle/>
          <a:p>
            <a:pPr marL="0" marR="0" lvl="0" indent="0" algn="ctr" defTabSz="931326"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external tables</a:t>
            </a:r>
          </a:p>
        </p:txBody>
      </p:sp>
      <p:sp>
        <p:nvSpPr>
          <p:cNvPr id="51" name="TextBox 50">
            <a:extLst>
              <a:ext uri="{FF2B5EF4-FFF2-40B4-BE49-F238E27FC236}">
                <a16:creationId xmlns:a16="http://schemas.microsoft.com/office/drawing/2014/main" id="{701AA46A-7A20-4ECE-9154-4B6AA40269C7}"/>
              </a:ext>
            </a:extLst>
          </p:cNvPr>
          <p:cNvSpPr txBox="1"/>
          <p:nvPr/>
        </p:nvSpPr>
        <p:spPr>
          <a:xfrm>
            <a:off x="4673522" y="5679449"/>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2" name="Title 1">
            <a:extLst>
              <a:ext uri="{FF2B5EF4-FFF2-40B4-BE49-F238E27FC236}">
                <a16:creationId xmlns:a16="http://schemas.microsoft.com/office/drawing/2014/main" id="{5E9EA22E-33D1-4212-955A-12AF82F4818E}"/>
              </a:ext>
            </a:extLst>
          </p:cNvPr>
          <p:cNvSpPr>
            <a:spLocks noGrp="1"/>
          </p:cNvSpPr>
          <p:nvPr>
            <p:ph type="title"/>
          </p:nvPr>
        </p:nvSpPr>
        <p:spPr>
          <a:xfrm>
            <a:off x="220245" y="206018"/>
            <a:ext cx="11018520" cy="492443"/>
          </a:xfrm>
        </p:spPr>
        <p:txBody>
          <a:bodyPr/>
          <a:lstStyle/>
          <a:p>
            <a:r>
              <a:rPr lang="en-US" dirty="0"/>
              <a:t>What is SQL Server Polybase?</a:t>
            </a:r>
          </a:p>
        </p:txBody>
      </p:sp>
      <p:sp>
        <p:nvSpPr>
          <p:cNvPr id="59" name="Text Placeholder 7">
            <a:extLst>
              <a:ext uri="{FF2B5EF4-FFF2-40B4-BE49-F238E27FC236}">
                <a16:creationId xmlns:a16="http://schemas.microsoft.com/office/drawing/2014/main" id="{51F67288-4225-2446-9C6F-47E04CFDE915}"/>
              </a:ext>
            </a:extLst>
          </p:cNvPr>
          <p:cNvSpPr txBox="1">
            <a:spLocks/>
          </p:cNvSpPr>
          <p:nvPr/>
        </p:nvSpPr>
        <p:spPr>
          <a:xfrm>
            <a:off x="46879" y="1334212"/>
            <a:ext cx="7167695" cy="218521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D</a:t>
            </a: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stributed compute engine integrated with SQL</a:t>
            </a:r>
            <a:r>
              <a:rPr kumimoji="0" lang="en-US" sz="1800" b="0" i="0" u="none" strike="noStrike" kern="1200" cap="none" spc="0" normalizeH="0" noProof="0" dirty="0">
                <a:ln>
                  <a:noFill/>
                </a:ln>
                <a:solidFill>
                  <a:srgbClr val="000000"/>
                </a:solidFill>
                <a:effectLst/>
                <a:uLnTx/>
                <a:uFillTx/>
                <a:latin typeface="Segoe UI"/>
                <a:ea typeface="+mn-ea"/>
                <a:cs typeface="Segoe UI Semilight" panose="020B0402040204020203" pitchFamily="34" charset="0"/>
              </a:rPr>
              <a:t> Server</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Query data where it lives using T-SQL</a:t>
            </a:r>
            <a:endParaRPr lang="en-US" sz="1800" dirty="0">
              <a:solidFill>
                <a:srgbClr val="000000"/>
              </a:solidFill>
            </a:endParaRPr>
          </a:p>
          <a:p>
            <a:pPr marL="285750" indent="-285750">
              <a:buFont typeface="Wingdings" panose="05000000000000000000" pitchFamily="2" charset="2"/>
              <a:buChar char="ü"/>
              <a:defRPr/>
            </a:pPr>
            <a:r>
              <a:rPr lang="en-US" sz="1800" dirty="0">
                <a:solidFill>
                  <a:srgbClr val="000000"/>
                </a:solidFill>
                <a:latin typeface="Segoe UI"/>
              </a:rPr>
              <a:t>Distributed, scalable query performance</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Manual/deploy with SQL Server</a:t>
            </a: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Auto deploy/optimize with Big Data Clusters</a:t>
            </a:r>
          </a:p>
        </p:txBody>
      </p:sp>
      <p:grpSp>
        <p:nvGrpSpPr>
          <p:cNvPr id="52" name="Group 51">
            <a:extLst>
              <a:ext uri="{FF2B5EF4-FFF2-40B4-BE49-F238E27FC236}">
                <a16:creationId xmlns:a16="http://schemas.microsoft.com/office/drawing/2014/main" id="{419D81CC-3861-4BA4-B451-7A066C1E43EC}"/>
              </a:ext>
            </a:extLst>
          </p:cNvPr>
          <p:cNvGrpSpPr/>
          <p:nvPr/>
        </p:nvGrpSpPr>
        <p:grpSpPr>
          <a:xfrm>
            <a:off x="7144963" y="1969256"/>
            <a:ext cx="487066" cy="414337"/>
            <a:chOff x="535619" y="5832014"/>
            <a:chExt cx="436838" cy="371609"/>
          </a:xfrm>
        </p:grpSpPr>
        <p:grpSp>
          <p:nvGrpSpPr>
            <p:cNvPr id="61" name="Group 60">
              <a:extLst>
                <a:ext uri="{FF2B5EF4-FFF2-40B4-BE49-F238E27FC236}">
                  <a16:creationId xmlns:a16="http://schemas.microsoft.com/office/drawing/2014/main" id="{DD341814-ED3F-4F3C-A9E9-B9538649E807}"/>
                </a:ext>
              </a:extLst>
            </p:cNvPr>
            <p:cNvGrpSpPr/>
            <p:nvPr/>
          </p:nvGrpSpPr>
          <p:grpSpPr>
            <a:xfrm>
              <a:off x="535619" y="5832014"/>
              <a:ext cx="436838" cy="371609"/>
              <a:chOff x="2107244" y="1575258"/>
              <a:chExt cx="310993" cy="264555"/>
            </a:xfrm>
          </p:grpSpPr>
          <p:sp>
            <p:nvSpPr>
              <p:cNvPr id="77" name="Rectangle 9">
                <a:extLst>
                  <a:ext uri="{FF2B5EF4-FFF2-40B4-BE49-F238E27FC236}">
                    <a16:creationId xmlns:a16="http://schemas.microsoft.com/office/drawing/2014/main" id="{F2A429B6-5E74-4762-92F9-5931FD2C303F}"/>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8" name="Line 10">
                <a:extLst>
                  <a:ext uri="{FF2B5EF4-FFF2-40B4-BE49-F238E27FC236}">
                    <a16:creationId xmlns:a16="http://schemas.microsoft.com/office/drawing/2014/main" id="{0CBD59F9-1346-4748-A254-6257CE79465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97301C64-EC14-4C56-B110-79B1BA307BD4}"/>
                </a:ext>
              </a:extLst>
            </p:cNvPr>
            <p:cNvGrpSpPr/>
            <p:nvPr/>
          </p:nvGrpSpPr>
          <p:grpSpPr>
            <a:xfrm>
              <a:off x="788630" y="5865618"/>
              <a:ext cx="134411" cy="33604"/>
              <a:chOff x="2287367" y="1599181"/>
              <a:chExt cx="95690" cy="23923"/>
            </a:xfrm>
            <a:solidFill>
              <a:schemeClr val="accent1"/>
            </a:solidFill>
          </p:grpSpPr>
          <p:sp>
            <p:nvSpPr>
              <p:cNvPr id="71" name="Oval 11">
                <a:extLst>
                  <a:ext uri="{FF2B5EF4-FFF2-40B4-BE49-F238E27FC236}">
                    <a16:creationId xmlns:a16="http://schemas.microsoft.com/office/drawing/2014/main" id="{423DDFE9-1295-42A9-9E2E-007E26BC30FE}"/>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2" name="Oval 12">
                <a:extLst>
                  <a:ext uri="{FF2B5EF4-FFF2-40B4-BE49-F238E27FC236}">
                    <a16:creationId xmlns:a16="http://schemas.microsoft.com/office/drawing/2014/main" id="{47E6EF43-B387-4A4F-8603-B81D8365B7B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3" name="Oval 13">
                <a:extLst>
                  <a:ext uri="{FF2B5EF4-FFF2-40B4-BE49-F238E27FC236}">
                    <a16:creationId xmlns:a16="http://schemas.microsoft.com/office/drawing/2014/main" id="{42996A87-39FA-4580-946C-7FD05D9AB86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9DFC9F7A-376A-42FB-87A3-3590D6E8BEED}"/>
                </a:ext>
              </a:extLst>
            </p:cNvPr>
            <p:cNvGrpSpPr/>
            <p:nvPr/>
          </p:nvGrpSpPr>
          <p:grpSpPr>
            <a:xfrm>
              <a:off x="670030" y="6009912"/>
              <a:ext cx="134411" cy="126505"/>
              <a:chOff x="2202934" y="1701907"/>
              <a:chExt cx="95690" cy="90061"/>
            </a:xfrm>
          </p:grpSpPr>
          <p:sp>
            <p:nvSpPr>
              <p:cNvPr id="69" name="Freeform 14">
                <a:extLst>
                  <a:ext uri="{FF2B5EF4-FFF2-40B4-BE49-F238E27FC236}">
                    <a16:creationId xmlns:a16="http://schemas.microsoft.com/office/drawing/2014/main" id="{CB4C447B-C987-45E5-87D0-529C1DD16F8E}"/>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0" name="Line 15">
                <a:extLst>
                  <a:ext uri="{FF2B5EF4-FFF2-40B4-BE49-F238E27FC236}">
                    <a16:creationId xmlns:a16="http://schemas.microsoft.com/office/drawing/2014/main" id="{F03D0662-3909-4891-BD77-FF8857DB279D}"/>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36AB4200-E457-4F36-B6A0-8BBE72038E70}"/>
              </a:ext>
            </a:extLst>
          </p:cNvPr>
          <p:cNvGrpSpPr/>
          <p:nvPr/>
        </p:nvGrpSpPr>
        <p:grpSpPr>
          <a:xfrm>
            <a:off x="9952230" y="1969256"/>
            <a:ext cx="487066" cy="414337"/>
            <a:chOff x="535619" y="5832014"/>
            <a:chExt cx="436838" cy="371609"/>
          </a:xfrm>
        </p:grpSpPr>
        <p:grpSp>
          <p:nvGrpSpPr>
            <p:cNvPr id="81" name="Group 80">
              <a:extLst>
                <a:ext uri="{FF2B5EF4-FFF2-40B4-BE49-F238E27FC236}">
                  <a16:creationId xmlns:a16="http://schemas.microsoft.com/office/drawing/2014/main" id="{FE82BC75-6C44-476C-9C2C-33AB69F03AFE}"/>
                </a:ext>
              </a:extLst>
            </p:cNvPr>
            <p:cNvGrpSpPr/>
            <p:nvPr/>
          </p:nvGrpSpPr>
          <p:grpSpPr>
            <a:xfrm>
              <a:off x="535619" y="5832014"/>
              <a:ext cx="436838" cy="371609"/>
              <a:chOff x="2107244" y="1575258"/>
              <a:chExt cx="310993" cy="264555"/>
            </a:xfrm>
          </p:grpSpPr>
          <p:sp>
            <p:nvSpPr>
              <p:cNvPr id="90" name="Rectangle 9">
                <a:extLst>
                  <a:ext uri="{FF2B5EF4-FFF2-40B4-BE49-F238E27FC236}">
                    <a16:creationId xmlns:a16="http://schemas.microsoft.com/office/drawing/2014/main" id="{2E691086-4962-4B3A-ABC6-ACF9837BCBB1}"/>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1" name="Line 10">
                <a:extLst>
                  <a:ext uri="{FF2B5EF4-FFF2-40B4-BE49-F238E27FC236}">
                    <a16:creationId xmlns:a16="http://schemas.microsoft.com/office/drawing/2014/main" id="{C29D0A41-A64F-4299-BDA6-9D7798C9EE3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4875FFBC-2CDC-428E-A0CA-9F6F12C0ACAB}"/>
                </a:ext>
              </a:extLst>
            </p:cNvPr>
            <p:cNvGrpSpPr/>
            <p:nvPr/>
          </p:nvGrpSpPr>
          <p:grpSpPr>
            <a:xfrm>
              <a:off x="788630" y="5865618"/>
              <a:ext cx="134411" cy="33604"/>
              <a:chOff x="2287367" y="1599181"/>
              <a:chExt cx="95690" cy="23923"/>
            </a:xfrm>
            <a:solidFill>
              <a:schemeClr val="accent1"/>
            </a:solidFill>
          </p:grpSpPr>
          <p:sp>
            <p:nvSpPr>
              <p:cNvPr id="87" name="Oval 11">
                <a:extLst>
                  <a:ext uri="{FF2B5EF4-FFF2-40B4-BE49-F238E27FC236}">
                    <a16:creationId xmlns:a16="http://schemas.microsoft.com/office/drawing/2014/main" id="{136F3183-20A1-4264-BADD-F6EAC5D55304}"/>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8" name="Oval 12">
                <a:extLst>
                  <a:ext uri="{FF2B5EF4-FFF2-40B4-BE49-F238E27FC236}">
                    <a16:creationId xmlns:a16="http://schemas.microsoft.com/office/drawing/2014/main" id="{07C6DC22-4F0F-4AD1-96BF-494298123DC1}"/>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9" name="Oval 13">
                <a:extLst>
                  <a:ext uri="{FF2B5EF4-FFF2-40B4-BE49-F238E27FC236}">
                    <a16:creationId xmlns:a16="http://schemas.microsoft.com/office/drawing/2014/main" id="{7B512FE9-CABC-487B-95CA-B4F87117D5C1}"/>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sp>
        <p:nvSpPr>
          <p:cNvPr id="93" name="Freeform: Shape 92">
            <a:extLst>
              <a:ext uri="{FF2B5EF4-FFF2-40B4-BE49-F238E27FC236}">
                <a16:creationId xmlns:a16="http://schemas.microsoft.com/office/drawing/2014/main" id="{4B4520B5-0162-4EA5-96A5-8BC4B19B8F8B}"/>
              </a:ext>
            </a:extLst>
          </p:cNvPr>
          <p:cNvSpPr/>
          <p:nvPr/>
        </p:nvSpPr>
        <p:spPr bwMode="auto">
          <a:xfrm>
            <a:off x="4863128" y="5226791"/>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riangle 3">
            <a:extLst>
              <a:ext uri="{FF2B5EF4-FFF2-40B4-BE49-F238E27FC236}">
                <a16:creationId xmlns:a16="http://schemas.microsoft.com/office/drawing/2014/main" id="{AAECD479-0AB2-4CF1-8300-0F2DBCE7A386}"/>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7" name="Text Placeholder 3">
            <a:extLst>
              <a:ext uri="{FF2B5EF4-FFF2-40B4-BE49-F238E27FC236}">
                <a16:creationId xmlns:a16="http://schemas.microsoft.com/office/drawing/2014/main" id="{E79CADB2-912D-4186-A4BE-78ED598BAD64}"/>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
        <p:nvSpPr>
          <p:cNvPr id="8" name="TextBox 7">
            <a:extLst>
              <a:ext uri="{FF2B5EF4-FFF2-40B4-BE49-F238E27FC236}">
                <a16:creationId xmlns:a16="http://schemas.microsoft.com/office/drawing/2014/main" id="{AAD6E87D-2C4C-43C5-A137-237107257B96}"/>
              </a:ext>
            </a:extLst>
          </p:cNvPr>
          <p:cNvSpPr txBox="1"/>
          <p:nvPr/>
        </p:nvSpPr>
        <p:spPr>
          <a:xfrm>
            <a:off x="10195763" y="5886359"/>
            <a:ext cx="62017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HDFS</a:t>
            </a:r>
          </a:p>
        </p:txBody>
      </p:sp>
      <p:sp>
        <p:nvSpPr>
          <p:cNvPr id="4" name="TextBox 3">
            <a:extLst>
              <a:ext uri="{FF2B5EF4-FFF2-40B4-BE49-F238E27FC236}">
                <a16:creationId xmlns:a16="http://schemas.microsoft.com/office/drawing/2014/main" id="{FE2E8476-0023-4FA0-B0D3-8C80DE52CBF6}"/>
              </a:ext>
            </a:extLst>
          </p:cNvPr>
          <p:cNvSpPr txBox="1"/>
          <p:nvPr/>
        </p:nvSpPr>
        <p:spPr>
          <a:xfrm>
            <a:off x="8111517" y="259954"/>
            <a:ext cx="3506344" cy="984885"/>
          </a:xfrm>
          <a:prstGeom prst="rect">
            <a:avLst/>
          </a:prstGeom>
          <a:noFill/>
        </p:spPr>
        <p:txBody>
          <a:bodyPr wrap="none" lIns="0" tIns="0" rIns="0" bIns="0" rtlCol="0">
            <a:spAutoFit/>
          </a:bodyPr>
          <a:lstStyle/>
          <a:p>
            <a:pPr algn="ctr"/>
            <a:r>
              <a:rPr lang="en-US" sz="3200" dirty="0"/>
              <a:t>“It’s all about </a:t>
            </a:r>
          </a:p>
          <a:p>
            <a:pPr algn="ctr"/>
            <a:r>
              <a:rPr lang="en-US" sz="3200" dirty="0"/>
              <a:t>Data Virtualization”</a:t>
            </a:r>
          </a:p>
        </p:txBody>
      </p:sp>
    </p:spTree>
    <p:extLst>
      <p:ext uri="{BB962C8B-B14F-4D97-AF65-F5344CB8AC3E}">
        <p14:creationId xmlns:p14="http://schemas.microsoft.com/office/powerpoint/2010/main" val="9405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uiExpand="1" build="p"/>
      <p:bldP spid="4"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0C2B2-DB01-4C21-B1DD-3D640FCB54A4}"/>
              </a:ext>
            </a:extLst>
          </p:cNvPr>
          <p:cNvSpPr>
            <a:spLocks noGrp="1"/>
          </p:cNvSpPr>
          <p:nvPr>
            <p:ph type="title"/>
          </p:nvPr>
        </p:nvSpPr>
        <p:spPr/>
        <p:txBody>
          <a:bodyPr/>
          <a:lstStyle/>
          <a:p>
            <a:r>
              <a:rPr lang="en-US" dirty="0"/>
              <a:t>Polybase as a Semantic Layer</a:t>
            </a:r>
          </a:p>
        </p:txBody>
      </p:sp>
      <p:graphicFrame>
        <p:nvGraphicFramePr>
          <p:cNvPr id="4" name="Diagram 3">
            <a:extLst>
              <a:ext uri="{FF2B5EF4-FFF2-40B4-BE49-F238E27FC236}">
                <a16:creationId xmlns:a16="http://schemas.microsoft.com/office/drawing/2014/main" id="{A2A5A61B-BBC8-42BC-81DA-EDCE8A4427E7}"/>
              </a:ext>
            </a:extLst>
          </p:cNvPr>
          <p:cNvGraphicFramePr/>
          <p:nvPr/>
        </p:nvGraphicFramePr>
        <p:xfrm>
          <a:off x="586390" y="1434370"/>
          <a:ext cx="11018520" cy="4050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468013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80243" y="245112"/>
            <a:ext cx="11018520" cy="553998"/>
          </a:xfrm>
        </p:spPr>
        <p:txBody>
          <a:bodyPr/>
          <a:lstStyle/>
          <a:p>
            <a:r>
              <a:rPr lang="en-US" dirty="0"/>
              <a:t>Polybase and Other Connectors</a:t>
            </a:r>
          </a:p>
        </p:txBody>
      </p:sp>
      <p:sp>
        <p:nvSpPr>
          <p:cNvPr id="6" name="Text Placeholder 5"/>
          <p:cNvSpPr>
            <a:spLocks noGrp="1"/>
          </p:cNvSpPr>
          <p:nvPr>
            <p:ph type="body" sz="quarter" idx="10"/>
          </p:nvPr>
        </p:nvSpPr>
        <p:spPr>
          <a:xfrm>
            <a:off x="586390" y="1434370"/>
            <a:ext cx="11018520" cy="3016210"/>
          </a:xfrm>
        </p:spPr>
        <p:txBody>
          <a:bodyPr/>
          <a:lstStyle/>
          <a:p>
            <a:r>
              <a:rPr lang="en-US" dirty="0"/>
              <a:t>Built-in Connectors (use ODBC)</a:t>
            </a:r>
          </a:p>
          <a:p>
            <a:r>
              <a:rPr lang="en-US" dirty="0"/>
              <a:t>	</a:t>
            </a:r>
            <a:r>
              <a:rPr lang="en-US" b="1" dirty="0"/>
              <a:t>sqlserver</a:t>
            </a:r>
          </a:p>
          <a:p>
            <a:r>
              <a:rPr lang="en-US" dirty="0"/>
              <a:t>	</a:t>
            </a:r>
            <a:r>
              <a:rPr lang="en-US" b="1" dirty="0"/>
              <a:t>oracle</a:t>
            </a:r>
          </a:p>
          <a:p>
            <a:r>
              <a:rPr lang="en-US" dirty="0"/>
              <a:t>	</a:t>
            </a:r>
            <a:r>
              <a:rPr lang="en-US" b="1" dirty="0"/>
              <a:t>teradata</a:t>
            </a:r>
          </a:p>
          <a:p>
            <a:r>
              <a:rPr lang="en-US" dirty="0"/>
              <a:t>	</a:t>
            </a:r>
            <a:r>
              <a:rPr lang="en-US" b="1" dirty="0"/>
              <a:t>mongodb</a:t>
            </a:r>
          </a:p>
          <a:p>
            <a:endParaRPr lang="en-US" dirty="0"/>
          </a:p>
        </p:txBody>
      </p:sp>
      <p:sp>
        <p:nvSpPr>
          <p:cNvPr id="2" name="Rectangle 1">
            <a:extLst>
              <a:ext uri="{FF2B5EF4-FFF2-40B4-BE49-F238E27FC236}">
                <a16:creationId xmlns:a16="http://schemas.microsoft.com/office/drawing/2014/main" id="{43666839-31E8-4599-8B67-C4452246CCD7}"/>
              </a:ext>
            </a:extLst>
          </p:cNvPr>
          <p:cNvSpPr/>
          <p:nvPr/>
        </p:nvSpPr>
        <p:spPr bwMode="auto">
          <a:xfrm>
            <a:off x="7907117" y="965710"/>
            <a:ext cx="4104640" cy="5539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inn\Polybase\ODBC Drivers</a:t>
            </a:r>
          </a:p>
        </p:txBody>
      </p:sp>
      <p:cxnSp>
        <p:nvCxnSpPr>
          <p:cNvPr id="4" name="Straight Arrow Connector 3">
            <a:extLst>
              <a:ext uri="{FF2B5EF4-FFF2-40B4-BE49-F238E27FC236}">
                <a16:creationId xmlns:a16="http://schemas.microsoft.com/office/drawing/2014/main" id="{6BDFEBE3-6B6C-4C8C-A1A4-2A39D976D7C0}"/>
              </a:ext>
            </a:extLst>
          </p:cNvPr>
          <p:cNvCxnSpPr>
            <a:cxnSpLocks/>
            <a:endCxn id="2" idx="1"/>
          </p:cNvCxnSpPr>
          <p:nvPr/>
        </p:nvCxnSpPr>
        <p:spPr>
          <a:xfrm flipV="1">
            <a:off x="5486037" y="1242709"/>
            <a:ext cx="2421080" cy="29915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9C692B4-FD84-46A3-9EEC-852BD9B416AE}"/>
              </a:ext>
            </a:extLst>
          </p:cNvPr>
          <p:cNvCxnSpPr>
            <a:cxnSpLocks/>
          </p:cNvCxnSpPr>
          <p:nvPr/>
        </p:nvCxnSpPr>
        <p:spPr>
          <a:xfrm>
            <a:off x="3069771" y="2188029"/>
            <a:ext cx="3852817" cy="21353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E0A0FA4-8F5B-46BA-9B02-1C787A9E7EAC}"/>
              </a:ext>
            </a:extLst>
          </p:cNvPr>
          <p:cNvSpPr/>
          <p:nvPr/>
        </p:nvSpPr>
        <p:spPr bwMode="auto">
          <a:xfrm>
            <a:off x="6972299" y="1904279"/>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Server, Azure SQL Database, Azure SQL Data Warehouse</a:t>
            </a:r>
          </a:p>
        </p:txBody>
      </p:sp>
      <p:sp>
        <p:nvSpPr>
          <p:cNvPr id="12" name="Rectangle: Rounded Corners 11">
            <a:extLst>
              <a:ext uri="{FF2B5EF4-FFF2-40B4-BE49-F238E27FC236}">
                <a16:creationId xmlns:a16="http://schemas.microsoft.com/office/drawing/2014/main" id="{9741ED0D-3681-48CA-84E9-50BF01C821EF}"/>
              </a:ext>
            </a:extLst>
          </p:cNvPr>
          <p:cNvSpPr/>
          <p:nvPr/>
        </p:nvSpPr>
        <p:spPr bwMode="auto">
          <a:xfrm>
            <a:off x="6922588" y="3273158"/>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ngoDB or CosmosDB (using MongoDB API)</a:t>
            </a:r>
          </a:p>
        </p:txBody>
      </p:sp>
      <p:cxnSp>
        <p:nvCxnSpPr>
          <p:cNvPr id="13" name="Straight Arrow Connector 12">
            <a:extLst>
              <a:ext uri="{FF2B5EF4-FFF2-40B4-BE49-F238E27FC236}">
                <a16:creationId xmlns:a16="http://schemas.microsoft.com/office/drawing/2014/main" id="{16E2C8D4-AE4C-465A-910D-9BCAE6D3C778}"/>
              </a:ext>
            </a:extLst>
          </p:cNvPr>
          <p:cNvCxnSpPr>
            <a:cxnSpLocks/>
            <a:endCxn id="12" idx="1"/>
          </p:cNvCxnSpPr>
          <p:nvPr/>
        </p:nvCxnSpPr>
        <p:spPr>
          <a:xfrm>
            <a:off x="3119482" y="3672086"/>
            <a:ext cx="3803106" cy="11134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C6B503E-890E-4648-9895-1C39C53AF5AD}"/>
              </a:ext>
            </a:extLst>
          </p:cNvPr>
          <p:cNvSpPr/>
          <p:nvPr/>
        </p:nvSpPr>
        <p:spPr bwMode="auto">
          <a:xfrm>
            <a:off x="6972299" y="4575572"/>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4bi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ODBC 3.0+ compliant</a:t>
            </a:r>
          </a:p>
        </p:txBody>
      </p:sp>
      <p:cxnSp>
        <p:nvCxnSpPr>
          <p:cNvPr id="15" name="Straight Arrow Connector 14">
            <a:extLst>
              <a:ext uri="{FF2B5EF4-FFF2-40B4-BE49-F238E27FC236}">
                <a16:creationId xmlns:a16="http://schemas.microsoft.com/office/drawing/2014/main" id="{4EA768A7-D85D-4DD2-A5B9-9D114567DE25}"/>
              </a:ext>
            </a:extLst>
          </p:cNvPr>
          <p:cNvCxnSpPr>
            <a:cxnSpLocks/>
            <a:endCxn id="14" idx="1"/>
          </p:cNvCxnSpPr>
          <p:nvPr/>
        </p:nvCxnSpPr>
        <p:spPr>
          <a:xfrm flipV="1">
            <a:off x="2483318" y="5085840"/>
            <a:ext cx="4488981" cy="2363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0CD58133-774F-4512-8D24-B4858D9362B7}"/>
              </a:ext>
            </a:extLst>
          </p:cNvPr>
          <p:cNvSpPr txBox="1">
            <a:spLocks/>
          </p:cNvSpPr>
          <p:nvPr/>
        </p:nvSpPr>
        <p:spPr>
          <a:xfrm>
            <a:off x="640093" y="4576691"/>
            <a:ext cx="11018520" cy="14650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DBC Connector</a:t>
            </a:r>
          </a:p>
          <a:p>
            <a:r>
              <a:rPr lang="en-US" dirty="0"/>
              <a:t>	</a:t>
            </a:r>
            <a:r>
              <a:rPr lang="en-US" b="1" dirty="0"/>
              <a:t>odbc</a:t>
            </a:r>
          </a:p>
          <a:p>
            <a:r>
              <a:rPr lang="en-US" dirty="0"/>
              <a:t>	You install the driver</a:t>
            </a:r>
          </a:p>
        </p:txBody>
      </p:sp>
      <p:sp>
        <p:nvSpPr>
          <p:cNvPr id="10" name="TextBox 9">
            <a:extLst>
              <a:ext uri="{FF2B5EF4-FFF2-40B4-BE49-F238E27FC236}">
                <a16:creationId xmlns:a16="http://schemas.microsoft.com/office/drawing/2014/main" id="{A947AA52-9F44-401F-9AA8-3F5DF94973CC}"/>
              </a:ext>
            </a:extLst>
          </p:cNvPr>
          <p:cNvSpPr txBox="1"/>
          <p:nvPr/>
        </p:nvSpPr>
        <p:spPr>
          <a:xfrm>
            <a:off x="180243" y="990771"/>
            <a:ext cx="531844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OCATION “string” in EXTERNAL DATA SOURCE</a:t>
            </a:r>
          </a:p>
        </p:txBody>
      </p:sp>
      <p:sp>
        <p:nvSpPr>
          <p:cNvPr id="18" name="Rectangle: Rounded Corners 17">
            <a:extLst>
              <a:ext uri="{FF2B5EF4-FFF2-40B4-BE49-F238E27FC236}">
                <a16:creationId xmlns:a16="http://schemas.microsoft.com/office/drawing/2014/main" id="{E5B9D58E-B2EF-4F47-A74C-E8819F0377E2}"/>
              </a:ext>
            </a:extLst>
          </p:cNvPr>
          <p:cNvSpPr/>
          <p:nvPr/>
        </p:nvSpPr>
        <p:spPr bwMode="auto">
          <a:xfrm>
            <a:off x="6972299" y="5710165"/>
            <a:ext cx="4632611" cy="719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x. SAP HANA (HDBCODBC Driver)</a:t>
            </a:r>
          </a:p>
        </p:txBody>
      </p:sp>
      <p:cxnSp>
        <p:nvCxnSpPr>
          <p:cNvPr id="19" name="Straight Arrow Connector 18">
            <a:extLst>
              <a:ext uri="{FF2B5EF4-FFF2-40B4-BE49-F238E27FC236}">
                <a16:creationId xmlns:a16="http://schemas.microsoft.com/office/drawing/2014/main" id="{78759A95-BB6E-4BB2-A286-CAA9C598003A}"/>
              </a:ext>
            </a:extLst>
          </p:cNvPr>
          <p:cNvCxnSpPr>
            <a:cxnSpLocks/>
          </p:cNvCxnSpPr>
          <p:nvPr/>
        </p:nvCxnSpPr>
        <p:spPr>
          <a:xfrm>
            <a:off x="5111015" y="5804030"/>
            <a:ext cx="1861283" cy="21377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Explosion: 14 Points 2">
            <a:extLst>
              <a:ext uri="{FF2B5EF4-FFF2-40B4-BE49-F238E27FC236}">
                <a16:creationId xmlns:a16="http://schemas.microsoft.com/office/drawing/2014/main" id="{46EA3DC0-07E5-4929-B542-5D8F9D830757}"/>
              </a:ext>
            </a:extLst>
          </p:cNvPr>
          <p:cNvSpPr/>
          <p:nvPr/>
        </p:nvSpPr>
        <p:spPr bwMode="auto">
          <a:xfrm>
            <a:off x="2647376" y="2337892"/>
            <a:ext cx="4747318" cy="1302414"/>
          </a:xfrm>
          <a:prstGeom prst="irregularSeal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tx1"/>
                </a:solidFill>
                <a:ea typeface="Segoe UI" pitchFamily="34" charset="0"/>
                <a:cs typeface="Segoe UI" pitchFamily="34" charset="0"/>
              </a:rPr>
              <a:t>No client software install required</a:t>
            </a:r>
          </a:p>
        </p:txBody>
      </p:sp>
      <p:sp>
        <p:nvSpPr>
          <p:cNvPr id="8" name="Left Brace 7">
            <a:extLst>
              <a:ext uri="{FF2B5EF4-FFF2-40B4-BE49-F238E27FC236}">
                <a16:creationId xmlns:a16="http://schemas.microsoft.com/office/drawing/2014/main" id="{50F4F269-CBE0-4510-B483-6A3D3C3B1C6E}"/>
              </a:ext>
            </a:extLst>
          </p:cNvPr>
          <p:cNvSpPr/>
          <p:nvPr/>
        </p:nvSpPr>
        <p:spPr>
          <a:xfrm>
            <a:off x="1157468" y="2188029"/>
            <a:ext cx="219919" cy="1085129"/>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TextBox 8">
            <a:extLst>
              <a:ext uri="{FF2B5EF4-FFF2-40B4-BE49-F238E27FC236}">
                <a16:creationId xmlns:a16="http://schemas.microsoft.com/office/drawing/2014/main" id="{B26D8FCE-FC86-4267-9604-E8CD0023B644}"/>
              </a:ext>
            </a:extLst>
          </p:cNvPr>
          <p:cNvSpPr txBox="1"/>
          <p:nvPr/>
        </p:nvSpPr>
        <p:spPr>
          <a:xfrm rot="16200000">
            <a:off x="172176" y="2510573"/>
            <a:ext cx="1320874" cy="492443"/>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Scale out with </a:t>
            </a:r>
          </a:p>
          <a:p>
            <a:pPr algn="ctr"/>
            <a:r>
              <a:rPr lang="en-US" sz="1600" dirty="0">
                <a:gradFill>
                  <a:gsLst>
                    <a:gs pos="2917">
                      <a:schemeClr val="tx1"/>
                    </a:gs>
                    <a:gs pos="30000">
                      <a:schemeClr val="tx1"/>
                    </a:gs>
                  </a:gsLst>
                  <a:lin ang="5400000" scaled="0"/>
                </a:gradFill>
              </a:rPr>
              <a:t>partitions</a:t>
            </a:r>
          </a:p>
        </p:txBody>
      </p:sp>
    </p:spTree>
    <p:extLst>
      <p:ext uri="{BB962C8B-B14F-4D97-AF65-F5344CB8AC3E}">
        <p14:creationId xmlns:p14="http://schemas.microsoft.com/office/powerpoint/2010/main" val="15428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4" grpId="0" animBg="1"/>
      <p:bldP spid="16" grpId="0"/>
      <p:bldP spid="18" grpId="0" animBg="1"/>
      <p:bldP spid="3" grpId="0" animBg="1"/>
      <p:bldP spid="8" grpId="0" animBg="1"/>
      <p:bldP spid="9"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15674" y="260689"/>
            <a:ext cx="11412059" cy="553998"/>
          </a:xfrm>
        </p:spPr>
        <p:txBody>
          <a:bodyPr/>
          <a:lstStyle/>
          <a:p>
            <a:r>
              <a:rPr lang="en-US" dirty="0"/>
              <a:t>SQL Server 2019: Data Virtualization</a:t>
            </a:r>
          </a:p>
        </p:txBody>
      </p:sp>
      <p:grpSp>
        <p:nvGrpSpPr>
          <p:cNvPr id="6" name="Group 5">
            <a:extLst>
              <a:ext uri="{FF2B5EF4-FFF2-40B4-BE49-F238E27FC236}">
                <a16:creationId xmlns:a16="http://schemas.microsoft.com/office/drawing/2014/main" id="{FBE54A2D-4670-4565-B17D-9A6A60CD23B8}"/>
              </a:ext>
            </a:extLst>
          </p:cNvPr>
          <p:cNvGrpSpPr/>
          <p:nvPr/>
        </p:nvGrpSpPr>
        <p:grpSpPr>
          <a:xfrm>
            <a:off x="5627445" y="3150401"/>
            <a:ext cx="914643" cy="1001598"/>
            <a:chOff x="5638675" y="2887316"/>
            <a:chExt cx="914643" cy="1001598"/>
          </a:xfrm>
        </p:grpSpPr>
        <p:sp>
          <p:nvSpPr>
            <p:cNvPr id="11" name="Freeform: Shape 829">
              <a:extLst>
                <a:ext uri="{FF2B5EF4-FFF2-40B4-BE49-F238E27FC236}">
                  <a16:creationId xmlns:a16="http://schemas.microsoft.com/office/drawing/2014/main" id="{00341503-30F5-42D6-B1B6-760962A08B2D}"/>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12" name="Rectangle 11">
              <a:extLst>
                <a:ext uri="{FF2B5EF4-FFF2-40B4-BE49-F238E27FC236}">
                  <a16:creationId xmlns:a16="http://schemas.microsoft.com/office/drawing/2014/main" id="{ADBF28B5-7A3B-4D49-943A-F97D7562F5BA}"/>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13" name="Picture 12">
            <a:extLst>
              <a:ext uri="{FF2B5EF4-FFF2-40B4-BE49-F238E27FC236}">
                <a16:creationId xmlns:a16="http://schemas.microsoft.com/office/drawing/2014/main" id="{738B875B-EFBB-4A2E-98E1-72D8588EE7A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892280" y="1056340"/>
            <a:ext cx="1909193" cy="1005508"/>
          </a:xfrm>
          <a:prstGeom prst="rect">
            <a:avLst/>
          </a:prstGeom>
        </p:spPr>
      </p:pic>
      <p:pic>
        <p:nvPicPr>
          <p:cNvPr id="15" name="Graphic 14">
            <a:extLst>
              <a:ext uri="{FF2B5EF4-FFF2-40B4-BE49-F238E27FC236}">
                <a16:creationId xmlns:a16="http://schemas.microsoft.com/office/drawing/2014/main" id="{75DB580B-1A06-4079-8E69-B9E789C171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48525" y="2154008"/>
            <a:ext cx="476250" cy="476250"/>
          </a:xfrm>
          <a:prstGeom prst="rect">
            <a:avLst/>
          </a:prstGeom>
        </p:spPr>
      </p:pic>
      <p:sp>
        <p:nvSpPr>
          <p:cNvPr id="16" name="TextBox 15">
            <a:extLst>
              <a:ext uri="{FF2B5EF4-FFF2-40B4-BE49-F238E27FC236}">
                <a16:creationId xmlns:a16="http://schemas.microsoft.com/office/drawing/2014/main" id="{F25E9D5D-A5C9-4242-BF79-E4D6BAF3CBF2}"/>
              </a:ext>
            </a:extLst>
          </p:cNvPr>
          <p:cNvSpPr txBox="1"/>
          <p:nvPr/>
        </p:nvSpPr>
        <p:spPr>
          <a:xfrm>
            <a:off x="10159130" y="2304591"/>
            <a:ext cx="1303177"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Mobile </a:t>
            </a:r>
          </a:p>
          <a:p>
            <a:pPr algn="l"/>
            <a:r>
              <a:rPr lang="en-US" sz="2000" dirty="0">
                <a:gradFill>
                  <a:gsLst>
                    <a:gs pos="2917">
                      <a:schemeClr val="tx1"/>
                    </a:gs>
                    <a:gs pos="30000">
                      <a:schemeClr val="tx1"/>
                    </a:gs>
                  </a:gsLst>
                  <a:lin ang="5400000" scaled="0"/>
                </a:gradFill>
              </a:rPr>
              <a:t>App Orders</a:t>
            </a:r>
          </a:p>
        </p:txBody>
      </p:sp>
      <p:pic>
        <p:nvPicPr>
          <p:cNvPr id="18" name="Picture 2" descr="http://www.bojanglesmuseum.com/wp-content/uploads/2017/07/Cool-Microsoft-Sql-Server-Logo-98-On-Create-A-Free-Logo-with-Microsoft-Sql-Server-Logo.jpg">
            <a:extLst>
              <a:ext uri="{FF2B5EF4-FFF2-40B4-BE49-F238E27FC236}">
                <a16:creationId xmlns:a16="http://schemas.microsoft.com/office/drawing/2014/main" id="{3BFC25CE-3A20-41A4-A64F-EC17352667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983" y="1180097"/>
            <a:ext cx="1004304" cy="50725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EC8C988-29D9-4955-B02F-3556876A8F31}"/>
              </a:ext>
            </a:extLst>
          </p:cNvPr>
          <p:cNvSpPr txBox="1"/>
          <p:nvPr/>
        </p:nvSpPr>
        <p:spPr>
          <a:xfrm>
            <a:off x="400299" y="1820741"/>
            <a:ext cx="189167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egacy Suppliers</a:t>
            </a:r>
          </a:p>
        </p:txBody>
      </p:sp>
      <p:sp>
        <p:nvSpPr>
          <p:cNvPr id="21" name="TextBox 20">
            <a:extLst>
              <a:ext uri="{FF2B5EF4-FFF2-40B4-BE49-F238E27FC236}">
                <a16:creationId xmlns:a16="http://schemas.microsoft.com/office/drawing/2014/main" id="{9CBAC01E-0BFA-4EFB-9303-FF0EE4FA6799}"/>
              </a:ext>
            </a:extLst>
          </p:cNvPr>
          <p:cNvSpPr txBox="1"/>
          <p:nvPr/>
        </p:nvSpPr>
        <p:spPr>
          <a:xfrm>
            <a:off x="9536780" y="5748313"/>
            <a:ext cx="230460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ccounts Receivable</a:t>
            </a:r>
          </a:p>
        </p:txBody>
      </p:sp>
      <p:pic>
        <p:nvPicPr>
          <p:cNvPr id="23" name="Picture 22">
            <a:extLst>
              <a:ext uri="{FF2B5EF4-FFF2-40B4-BE49-F238E27FC236}">
                <a16:creationId xmlns:a16="http://schemas.microsoft.com/office/drawing/2014/main" id="{5964AA12-D244-498B-8EFA-9BA744C831FA}"/>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9700809" y="4227743"/>
            <a:ext cx="1976546" cy="1482410"/>
          </a:xfrm>
          <a:prstGeom prst="rect">
            <a:avLst/>
          </a:prstGeom>
        </p:spPr>
      </p:pic>
      <p:sp>
        <p:nvSpPr>
          <p:cNvPr id="25" name="Title 2">
            <a:extLst>
              <a:ext uri="{FF2B5EF4-FFF2-40B4-BE49-F238E27FC236}">
                <a16:creationId xmlns:a16="http://schemas.microsoft.com/office/drawing/2014/main" id="{2CF7F0F3-2929-40F9-BF59-AF5B124BAD2A}"/>
              </a:ext>
            </a:extLst>
          </p:cNvPr>
          <p:cNvSpPr txBox="1">
            <a:spLocks/>
          </p:cNvSpPr>
          <p:nvPr/>
        </p:nvSpPr>
        <p:spPr>
          <a:xfrm>
            <a:off x="2849983" y="3293447"/>
            <a:ext cx="3246013"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2400" dirty="0"/>
              <a:t>SQL Server </a:t>
            </a:r>
          </a:p>
          <a:p>
            <a:pPr algn="ctr"/>
            <a:r>
              <a:rPr lang="en-US" sz="2400" dirty="0"/>
              <a:t>2019</a:t>
            </a:r>
          </a:p>
        </p:txBody>
      </p:sp>
      <p:pic>
        <p:nvPicPr>
          <p:cNvPr id="27" name="Picture 26" descr="A picture containing clipart&#10;&#10;Description automatically generated">
            <a:extLst>
              <a:ext uri="{FF2B5EF4-FFF2-40B4-BE49-F238E27FC236}">
                <a16:creationId xmlns:a16="http://schemas.microsoft.com/office/drawing/2014/main" id="{228C2513-5582-417B-9C84-5A3605FED4CC}"/>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5446829" y="5079508"/>
            <a:ext cx="1298341" cy="871656"/>
          </a:xfrm>
          <a:prstGeom prst="rect">
            <a:avLst/>
          </a:prstGeom>
        </p:spPr>
      </p:pic>
      <p:sp>
        <p:nvSpPr>
          <p:cNvPr id="29" name="TextBox 28">
            <a:extLst>
              <a:ext uri="{FF2B5EF4-FFF2-40B4-BE49-F238E27FC236}">
                <a16:creationId xmlns:a16="http://schemas.microsoft.com/office/drawing/2014/main" id="{E01F73E2-6696-44F5-89E6-BEA8567DB495}"/>
              </a:ext>
            </a:extLst>
          </p:cNvPr>
          <p:cNvSpPr txBox="1"/>
          <p:nvPr/>
        </p:nvSpPr>
        <p:spPr>
          <a:xfrm>
            <a:off x="5284526" y="6020222"/>
            <a:ext cx="16229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Order Reviews</a:t>
            </a:r>
          </a:p>
        </p:txBody>
      </p:sp>
      <p:pic>
        <p:nvPicPr>
          <p:cNvPr id="31" name="Picture 30" descr="A picture containing clipart&#10;&#10;Description automatically generated">
            <a:extLst>
              <a:ext uri="{FF2B5EF4-FFF2-40B4-BE49-F238E27FC236}">
                <a16:creationId xmlns:a16="http://schemas.microsoft.com/office/drawing/2014/main" id="{AE45E4AC-DAE2-4A28-B72E-E01DBBF732EB}"/>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1119081" y="5028666"/>
            <a:ext cx="1799530" cy="643908"/>
          </a:xfrm>
          <a:prstGeom prst="rect">
            <a:avLst/>
          </a:prstGeom>
        </p:spPr>
      </p:pic>
      <p:sp>
        <p:nvSpPr>
          <p:cNvPr id="34" name="TextBox 33">
            <a:extLst>
              <a:ext uri="{FF2B5EF4-FFF2-40B4-BE49-F238E27FC236}">
                <a16:creationId xmlns:a16="http://schemas.microsoft.com/office/drawing/2014/main" id="{F818029D-CEBF-4A50-8235-C36A7E8177FF}"/>
              </a:ext>
            </a:extLst>
          </p:cNvPr>
          <p:cNvSpPr txBox="1"/>
          <p:nvPr/>
        </p:nvSpPr>
        <p:spPr>
          <a:xfrm>
            <a:off x="182235" y="5866552"/>
            <a:ext cx="314464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ustomers from Acquisition</a:t>
            </a:r>
          </a:p>
        </p:txBody>
      </p:sp>
      <p:cxnSp>
        <p:nvCxnSpPr>
          <p:cNvPr id="42" name="Straight Connector 41">
            <a:extLst>
              <a:ext uri="{FF2B5EF4-FFF2-40B4-BE49-F238E27FC236}">
                <a16:creationId xmlns:a16="http://schemas.microsoft.com/office/drawing/2014/main" id="{6736C0D9-EC1D-48CE-A3F5-E824D32FD78B}"/>
              </a:ext>
            </a:extLst>
          </p:cNvPr>
          <p:cNvCxnSpPr>
            <a:cxnSpLocks/>
            <a:stCxn id="11" idx="6"/>
          </p:cNvCxnSpPr>
          <p:nvPr/>
        </p:nvCxnSpPr>
        <p:spPr>
          <a:xfrm flipV="1">
            <a:off x="6542088" y="1921690"/>
            <a:ext cx="3492895" cy="137170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591962F-A25C-4E31-95F1-C7C8036DF050}"/>
              </a:ext>
            </a:extLst>
          </p:cNvPr>
          <p:cNvCxnSpPr>
            <a:cxnSpLocks/>
            <a:endCxn id="11" idx="9"/>
          </p:cNvCxnSpPr>
          <p:nvPr/>
        </p:nvCxnSpPr>
        <p:spPr>
          <a:xfrm flipV="1">
            <a:off x="2499933" y="4009006"/>
            <a:ext cx="3127512" cy="90421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F4C9A28-D433-4C04-891D-E148D19E8E25}"/>
              </a:ext>
            </a:extLst>
          </p:cNvPr>
          <p:cNvCxnSpPr>
            <a:cxnSpLocks/>
          </p:cNvCxnSpPr>
          <p:nvPr/>
        </p:nvCxnSpPr>
        <p:spPr>
          <a:xfrm flipV="1">
            <a:off x="6095996" y="4124300"/>
            <a:ext cx="0" cy="78892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69D9C4-748C-4B8F-93F7-F73B5F942B6A}"/>
              </a:ext>
            </a:extLst>
          </p:cNvPr>
          <p:cNvCxnSpPr>
            <a:cxnSpLocks/>
            <a:endCxn id="11" idx="10"/>
          </p:cNvCxnSpPr>
          <p:nvPr/>
        </p:nvCxnSpPr>
        <p:spPr>
          <a:xfrm>
            <a:off x="2184850" y="1715179"/>
            <a:ext cx="3442595" cy="1578215"/>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318D58-A131-4C59-B7E3-CB4481040467}"/>
              </a:ext>
            </a:extLst>
          </p:cNvPr>
          <p:cNvCxnSpPr>
            <a:cxnSpLocks/>
          </p:cNvCxnSpPr>
          <p:nvPr/>
        </p:nvCxnSpPr>
        <p:spPr>
          <a:xfrm>
            <a:off x="6523423" y="4009006"/>
            <a:ext cx="2947889" cy="125553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6118A14-0678-4C9C-898D-126590949804}"/>
              </a:ext>
            </a:extLst>
          </p:cNvPr>
          <p:cNvSpPr txBox="1"/>
          <p:nvPr/>
        </p:nvSpPr>
        <p:spPr>
          <a:xfrm>
            <a:off x="6809863" y="3508433"/>
            <a:ext cx="2375010" cy="307777"/>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WideWorldimporters</a:t>
            </a:r>
          </a:p>
        </p:txBody>
      </p:sp>
      <p:pic>
        <p:nvPicPr>
          <p:cNvPr id="3" name="Picture 2" descr="A close up of a sign&#10;&#10;Description automatically generated">
            <a:extLst>
              <a:ext uri="{FF2B5EF4-FFF2-40B4-BE49-F238E27FC236}">
                <a16:creationId xmlns:a16="http://schemas.microsoft.com/office/drawing/2014/main" id="{13A13B8B-5F13-4AF2-B1BE-40E2756F4B5E}"/>
              </a:ext>
            </a:extLst>
          </p:cNvPr>
          <p:cNvPicPr>
            <a:picLocks noChangeAspect="1"/>
          </p:cNvPicPr>
          <p:nvPr/>
        </p:nvPicPr>
        <p:blipFill>
          <a:blip r:embed="rId14"/>
          <a:stretch>
            <a:fillRect/>
          </a:stretch>
        </p:blipFill>
        <p:spPr>
          <a:xfrm>
            <a:off x="5780842" y="1117437"/>
            <a:ext cx="780290" cy="780290"/>
          </a:xfrm>
          <a:prstGeom prst="rect">
            <a:avLst/>
          </a:prstGeom>
        </p:spPr>
      </p:pic>
      <p:cxnSp>
        <p:nvCxnSpPr>
          <p:cNvPr id="35" name="Straight Connector 34">
            <a:extLst>
              <a:ext uri="{FF2B5EF4-FFF2-40B4-BE49-F238E27FC236}">
                <a16:creationId xmlns:a16="http://schemas.microsoft.com/office/drawing/2014/main" id="{2C3DB9CA-8C6E-4E99-BF10-E3E8D660BF38}"/>
              </a:ext>
            </a:extLst>
          </p:cNvPr>
          <p:cNvCxnSpPr>
            <a:cxnSpLocks/>
          </p:cNvCxnSpPr>
          <p:nvPr/>
        </p:nvCxnSpPr>
        <p:spPr>
          <a:xfrm flipH="1" flipV="1">
            <a:off x="6067921" y="2000502"/>
            <a:ext cx="11230" cy="111071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85299E-DE80-49DB-AEFB-89F3194A3609}"/>
              </a:ext>
            </a:extLst>
          </p:cNvPr>
          <p:cNvSpPr txBox="1"/>
          <p:nvPr/>
        </p:nvSpPr>
        <p:spPr>
          <a:xfrm>
            <a:off x="6542088" y="1251317"/>
            <a:ext cx="22009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Modern StockItems</a:t>
            </a:r>
          </a:p>
        </p:txBody>
      </p:sp>
    </p:spTree>
    <p:extLst>
      <p:ext uri="{BB962C8B-B14F-4D97-AF65-F5344CB8AC3E}">
        <p14:creationId xmlns:p14="http://schemas.microsoft.com/office/powerpoint/2010/main" val="30434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56"/>
                                        </p:tgtEl>
                                        <p:attrNameLst>
                                          <p:attrName>style.visibility</p:attrName>
                                        </p:attrNameLst>
                                      </p:cBhvr>
                                      <p:to>
                                        <p:strVal val="visible"/>
                                      </p:to>
                                    </p:set>
                                    <p:animEffect transition="in" filter="fade">
                                      <p:cBhvr>
                                        <p:cTn id="46" dur="500"/>
                                        <p:tgtEl>
                                          <p:spTgt spid="5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1" grpId="0"/>
      <p:bldP spid="29" grpId="0"/>
      <p:bldP spid="34" grpId="0"/>
      <p:bldP spid="30"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The SQL Server Data Hub</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Polybase in SQL Server 2019</a:t>
            </a:r>
          </a:p>
        </p:txBody>
      </p:sp>
    </p:spTree>
    <p:extLst>
      <p:ext uri="{BB962C8B-B14F-4D97-AF65-F5344CB8AC3E}">
        <p14:creationId xmlns:p14="http://schemas.microsoft.com/office/powerpoint/2010/main" val="4254963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14092" y="300093"/>
            <a:ext cx="11018520" cy="553998"/>
          </a:xfrm>
        </p:spPr>
        <p:txBody>
          <a:bodyPr/>
          <a:lstStyle/>
          <a:p>
            <a:r>
              <a:rPr lang="en-US" dirty="0"/>
              <a:t>SQL Server 2019 Big Data Clusters and Polybase</a:t>
            </a:r>
          </a:p>
        </p:txBody>
      </p:sp>
      <p:sp>
        <p:nvSpPr>
          <p:cNvPr id="6" name="Text Placeholder 5"/>
          <p:cNvSpPr>
            <a:spLocks noGrp="1"/>
          </p:cNvSpPr>
          <p:nvPr>
            <p:ph type="body" sz="quarter" idx="10"/>
          </p:nvPr>
        </p:nvSpPr>
        <p:spPr>
          <a:xfrm>
            <a:off x="586740" y="1039705"/>
            <a:ext cx="11483340" cy="2203680"/>
          </a:xfrm>
        </p:spPr>
        <p:txBody>
          <a:bodyPr/>
          <a:lstStyle/>
          <a:p>
            <a:r>
              <a:rPr lang="en-US" b="1" dirty="0"/>
              <a:t>The Problem</a:t>
            </a:r>
          </a:p>
          <a:p>
            <a:pPr marL="457200" indent="-457200">
              <a:buFont typeface="Arial" panose="020B0604020202020204" pitchFamily="34" charset="0"/>
              <a:buChar char="•"/>
            </a:pPr>
            <a:r>
              <a:rPr lang="en-US" sz="2400" dirty="0"/>
              <a:t>Customers want to integrate with Big Data and other data sources easily</a:t>
            </a:r>
          </a:p>
          <a:p>
            <a:pPr marL="457200" indent="-457200">
              <a:buFont typeface="Arial" panose="020B0604020202020204" pitchFamily="34" charset="0"/>
              <a:buChar char="•"/>
            </a:pPr>
            <a:r>
              <a:rPr lang="en-US" sz="2400" dirty="0"/>
              <a:t>Polybase is not simple to setup, configure, maintain, and scale elastically</a:t>
            </a:r>
          </a:p>
          <a:p>
            <a:pPr marL="457200" indent="-457200">
              <a:buFont typeface="Arial" panose="020B0604020202020204" pitchFamily="34" charset="0"/>
              <a:buChar char="•"/>
            </a:pPr>
            <a:r>
              <a:rPr lang="en-US" sz="2400" dirty="0"/>
              <a:t>Customers may not have a Hadoop cluster or want to build one</a:t>
            </a:r>
          </a:p>
          <a:p>
            <a:pPr marL="457200" indent="-457200">
              <a:buFont typeface="Arial" panose="020B0604020202020204" pitchFamily="34" charset="0"/>
              <a:buChar char="•"/>
            </a:pPr>
            <a:r>
              <a:rPr lang="en-US" sz="2400" dirty="0"/>
              <a:t>Polybase “classic” (MapReduce) could be better</a:t>
            </a:r>
          </a:p>
        </p:txBody>
      </p:sp>
      <p:sp>
        <p:nvSpPr>
          <p:cNvPr id="4" name="Text Placeholder 5">
            <a:extLst>
              <a:ext uri="{FF2B5EF4-FFF2-40B4-BE49-F238E27FC236}">
                <a16:creationId xmlns:a16="http://schemas.microsoft.com/office/drawing/2014/main" id="{D64C8EF5-3EB9-4B87-AD96-80AE119ACF34}"/>
              </a:ext>
            </a:extLst>
          </p:cNvPr>
          <p:cNvSpPr txBox="1">
            <a:spLocks/>
          </p:cNvSpPr>
          <p:nvPr/>
        </p:nvSpPr>
        <p:spPr>
          <a:xfrm>
            <a:off x="586740" y="3429000"/>
            <a:ext cx="11018520" cy="30900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he Solution</a:t>
            </a:r>
          </a:p>
          <a:p>
            <a:pPr marL="457200" indent="-457200">
              <a:buFont typeface="Wingdings" panose="05000000000000000000" pitchFamily="2" charset="2"/>
              <a:buChar char="ü"/>
            </a:pPr>
            <a:r>
              <a:rPr lang="en-US" sz="2400" dirty="0"/>
              <a:t>Kubernetes and containers to deploy and scale elastically</a:t>
            </a:r>
          </a:p>
          <a:p>
            <a:pPr marL="457200" indent="-457200">
              <a:buFont typeface="Wingdings" panose="05000000000000000000" pitchFamily="2" charset="2"/>
              <a:buChar char="ü"/>
            </a:pPr>
            <a:r>
              <a:rPr lang="en-US" sz="2400" dirty="0"/>
              <a:t>Everything pre-installed including HDFS cluster</a:t>
            </a:r>
          </a:p>
          <a:p>
            <a:pPr marL="457200" indent="-457200">
              <a:buFont typeface="Wingdings" panose="05000000000000000000" pitchFamily="2" charset="2"/>
              <a:buChar char="ü"/>
            </a:pPr>
            <a:r>
              <a:rPr lang="en-US" sz="2400" dirty="0"/>
              <a:t>Build a control plane to help manage and monitor</a:t>
            </a:r>
          </a:p>
          <a:p>
            <a:pPr marL="457200" indent="-457200">
              <a:buFont typeface="Wingdings" panose="05000000000000000000" pitchFamily="2" charset="2"/>
              <a:buChar char="ü"/>
            </a:pPr>
            <a:r>
              <a:rPr lang="en-US" sz="2400" dirty="0"/>
              <a:t>Enhance SQL Server to read from HDFS natively</a:t>
            </a:r>
          </a:p>
          <a:p>
            <a:pPr marL="457200" indent="-457200">
              <a:buFont typeface="Wingdings" panose="05000000000000000000" pitchFamily="2" charset="2"/>
              <a:buChar char="ü"/>
            </a:pPr>
            <a:r>
              <a:rPr lang="en-US" sz="2400" dirty="0"/>
              <a:t>Provide a data mart for cached results</a:t>
            </a:r>
          </a:p>
          <a:p>
            <a:pPr marL="457200" indent="-457200">
              <a:buFont typeface="Wingdings" panose="05000000000000000000" pitchFamily="2" charset="2"/>
              <a:buChar char="ü"/>
            </a:pPr>
            <a:r>
              <a:rPr lang="en-US" sz="2400" dirty="0"/>
              <a:t>Introduce Spark and Notebooks for Data scientists</a:t>
            </a:r>
          </a:p>
        </p:txBody>
      </p:sp>
    </p:spTree>
    <p:extLst>
      <p:ext uri="{BB962C8B-B14F-4D97-AF65-F5344CB8AC3E}">
        <p14:creationId xmlns:p14="http://schemas.microsoft.com/office/powerpoint/2010/main" val="25255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7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606325" y="619426"/>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229" name="Group 228">
            <a:extLst>
              <a:ext uri="{FF2B5EF4-FFF2-40B4-BE49-F238E27FC236}">
                <a16:creationId xmlns:a16="http://schemas.microsoft.com/office/drawing/2014/main" id="{09FBDECD-0AD0-4747-8D8D-41AB39177BC5}"/>
              </a:ext>
            </a:extLst>
          </p:cNvPr>
          <p:cNvGrpSpPr/>
          <p:nvPr/>
        </p:nvGrpSpPr>
        <p:grpSpPr>
          <a:xfrm>
            <a:off x="4507990" y="3810691"/>
            <a:ext cx="2854110" cy="2545878"/>
            <a:chOff x="5038495" y="3838800"/>
            <a:chExt cx="2911341" cy="2596928"/>
          </a:xfrm>
        </p:grpSpPr>
        <p:sp>
          <p:nvSpPr>
            <p:cNvPr id="199" name="Oval 198">
              <a:extLst>
                <a:ext uri="{FF2B5EF4-FFF2-40B4-BE49-F238E27FC236}">
                  <a16:creationId xmlns:a16="http://schemas.microsoft.com/office/drawing/2014/main" id="{4F0F1E00-9167-49FF-980E-CAE6B0431367}"/>
                </a:ext>
              </a:extLst>
            </p:cNvPr>
            <p:cNvSpPr/>
            <p:nvPr/>
          </p:nvSpPr>
          <p:spPr>
            <a:xfrm>
              <a:off x="5038495" y="3971561"/>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rgbClr val="000000">
                      <a:lumMod val="65000"/>
                      <a:lumOff val="35000"/>
                    </a:srgbClr>
                  </a:solidFill>
                  <a:latin typeface="Segoe UI"/>
                </a:rPr>
                <a:t>Statistics</a:t>
              </a:r>
            </a:p>
          </p:txBody>
        </p:sp>
        <p:sp>
          <p:nvSpPr>
            <p:cNvPr id="203" name="TextBox 202">
              <a:extLst>
                <a:ext uri="{FF2B5EF4-FFF2-40B4-BE49-F238E27FC236}">
                  <a16:creationId xmlns:a16="http://schemas.microsoft.com/office/drawing/2014/main" id="{B99AD71E-4E08-4EAD-AE11-B28E40385E14}"/>
                </a:ext>
              </a:extLst>
            </p:cNvPr>
            <p:cNvSpPr txBox="1"/>
            <p:nvPr/>
          </p:nvSpPr>
          <p:spPr>
            <a:xfrm>
              <a:off x="6876859" y="4802889"/>
              <a:ext cx="892868" cy="401854"/>
            </a:xfrm>
            <a:prstGeom prst="rect">
              <a:avLst/>
            </a:prstGeom>
            <a:noFill/>
          </p:spPr>
          <p:txBody>
            <a:bodyPr wrap="square" rtlCol="0">
              <a:spAutoFit/>
            </a:bodyPr>
            <a:lstStyle/>
            <a:p>
              <a:pPr defTabSz="914225">
                <a:defRPr/>
              </a:pPr>
              <a:r>
                <a:rPr lang="en-US" sz="980" b="1" kern="0" dirty="0">
                  <a:solidFill>
                    <a:srgbClr val="0078D7"/>
                  </a:solidFill>
                  <a:latin typeface="Segoe UI"/>
                </a:rPr>
                <a:t>Degree earned</a:t>
              </a:r>
            </a:p>
          </p:txBody>
        </p:sp>
        <p:sp>
          <p:nvSpPr>
            <p:cNvPr id="204" name="TextBox 203">
              <a:extLst>
                <a:ext uri="{FF2B5EF4-FFF2-40B4-BE49-F238E27FC236}">
                  <a16:creationId xmlns:a16="http://schemas.microsoft.com/office/drawing/2014/main" id="{3C300C20-B7D4-4CC7-80DC-E85DD100D77C}"/>
                </a:ext>
              </a:extLst>
            </p:cNvPr>
            <p:cNvSpPr txBox="1"/>
            <p:nvPr/>
          </p:nvSpPr>
          <p:spPr>
            <a:xfrm>
              <a:off x="6843825" y="5372640"/>
              <a:ext cx="892868" cy="248019"/>
            </a:xfrm>
            <a:prstGeom prst="rect">
              <a:avLst/>
            </a:prstGeom>
            <a:noFill/>
          </p:spPr>
          <p:txBody>
            <a:bodyPr wrap="square" rtlCol="0">
              <a:spAutoFit/>
            </a:bodyPr>
            <a:lstStyle/>
            <a:p>
              <a:pPr defTabSz="914225">
                <a:defRPr/>
              </a:pPr>
              <a:r>
                <a:rPr lang="en-US" sz="980" b="1" kern="0" dirty="0">
                  <a:solidFill>
                    <a:srgbClr val="0078D7"/>
                  </a:solidFill>
                  <a:latin typeface="Segoe UI"/>
                </a:rPr>
                <a:t>Position</a:t>
              </a:r>
            </a:p>
          </p:txBody>
        </p:sp>
        <p:sp>
          <p:nvSpPr>
            <p:cNvPr id="205" name="TextBox 204">
              <a:extLst>
                <a:ext uri="{FF2B5EF4-FFF2-40B4-BE49-F238E27FC236}">
                  <a16:creationId xmlns:a16="http://schemas.microsoft.com/office/drawing/2014/main" id="{FAA04E16-3CC5-4254-A60B-A357822B2979}"/>
                </a:ext>
              </a:extLst>
            </p:cNvPr>
            <p:cNvSpPr txBox="1"/>
            <p:nvPr/>
          </p:nvSpPr>
          <p:spPr>
            <a:xfrm>
              <a:off x="5873838" y="4560932"/>
              <a:ext cx="892868" cy="248019"/>
            </a:xfrm>
            <a:prstGeom prst="rect">
              <a:avLst/>
            </a:prstGeom>
            <a:noFill/>
          </p:spPr>
          <p:txBody>
            <a:bodyPr wrap="square" rtlCol="0">
              <a:spAutoFit/>
            </a:bodyPr>
            <a:lstStyle/>
            <a:p>
              <a:pPr defTabSz="914225">
                <a:defRPr/>
              </a:pPr>
              <a:r>
                <a:rPr lang="en-US" sz="980" b="1" kern="0" spc="-29" dirty="0">
                  <a:solidFill>
                    <a:srgbClr val="0078D7"/>
                  </a:solidFill>
                  <a:latin typeface="Segoe UI"/>
                  <a:cs typeface="Segoe UI Semibold" panose="020B0702040204020203" pitchFamily="34" charset="0"/>
                </a:rPr>
                <a:t>Skill</a:t>
              </a:r>
            </a:p>
          </p:txBody>
        </p:sp>
        <p:cxnSp>
          <p:nvCxnSpPr>
            <p:cNvPr id="206" name="Straight Connector 205">
              <a:extLst>
                <a:ext uri="{FF2B5EF4-FFF2-40B4-BE49-F238E27FC236}">
                  <a16:creationId xmlns:a16="http://schemas.microsoft.com/office/drawing/2014/main" id="{D8068754-5CE9-4113-83CA-6997935E96E8}"/>
                </a:ext>
              </a:extLst>
            </p:cNvPr>
            <p:cNvCxnSpPr>
              <a:cxnSpLocks/>
            </p:cNvCxnSpPr>
            <p:nvPr/>
          </p:nvCxnSpPr>
          <p:spPr>
            <a:xfrm flipV="1">
              <a:off x="5630202" y="5578362"/>
              <a:ext cx="572765" cy="665679"/>
            </a:xfrm>
            <a:prstGeom prst="line">
              <a:avLst/>
            </a:prstGeom>
            <a:noFill/>
            <a:ln w="12700" cap="flat" cmpd="sng" algn="ctr">
              <a:solidFill>
                <a:srgbClr val="0078D7"/>
              </a:solidFill>
              <a:prstDash val="sysDash"/>
              <a:headEnd type="none"/>
              <a:tailEnd type="triangle"/>
            </a:ln>
            <a:effectLst/>
          </p:spPr>
        </p:cxnSp>
        <p:cxnSp>
          <p:nvCxnSpPr>
            <p:cNvPr id="207" name="Straight Connector 206">
              <a:extLst>
                <a:ext uri="{FF2B5EF4-FFF2-40B4-BE49-F238E27FC236}">
                  <a16:creationId xmlns:a16="http://schemas.microsoft.com/office/drawing/2014/main" id="{AB844615-0B37-4D61-B5CB-625EF7965ADC}"/>
                </a:ext>
              </a:extLst>
            </p:cNvPr>
            <p:cNvCxnSpPr>
              <a:cxnSpLocks/>
              <a:endCxn id="199" idx="5"/>
            </p:cNvCxnSpPr>
            <p:nvPr/>
          </p:nvCxnSpPr>
          <p:spPr>
            <a:xfrm flipH="1" flipV="1">
              <a:off x="5687618" y="4570910"/>
              <a:ext cx="476770" cy="476370"/>
            </a:xfrm>
            <a:prstGeom prst="line">
              <a:avLst/>
            </a:prstGeom>
            <a:noFill/>
            <a:ln w="12700" cap="flat" cmpd="sng" algn="ctr">
              <a:solidFill>
                <a:srgbClr val="0078D7"/>
              </a:solidFill>
              <a:prstDash val="sysDash"/>
              <a:headEnd type="none"/>
              <a:tailEnd type="triangle"/>
            </a:ln>
            <a:effectLst/>
          </p:spPr>
        </p:cxnSp>
        <p:cxnSp>
          <p:nvCxnSpPr>
            <p:cNvPr id="208" name="Straight Connector 207">
              <a:extLst>
                <a:ext uri="{FF2B5EF4-FFF2-40B4-BE49-F238E27FC236}">
                  <a16:creationId xmlns:a16="http://schemas.microsoft.com/office/drawing/2014/main" id="{F9B89DC8-AA26-4FBA-8A35-A21DBD829B34}"/>
                </a:ext>
              </a:extLst>
            </p:cNvPr>
            <p:cNvCxnSpPr>
              <a:cxnSpLocks/>
              <a:stCxn id="215" idx="1"/>
            </p:cNvCxnSpPr>
            <p:nvPr/>
          </p:nvCxnSpPr>
          <p:spPr>
            <a:xfrm flipH="1" flipV="1">
              <a:off x="6756293" y="5474405"/>
              <a:ext cx="544420" cy="361974"/>
            </a:xfrm>
            <a:prstGeom prst="line">
              <a:avLst/>
            </a:prstGeom>
            <a:noFill/>
            <a:ln w="12700" cap="flat" cmpd="sng" algn="ctr">
              <a:solidFill>
                <a:srgbClr val="0078D7"/>
              </a:solidFill>
              <a:prstDash val="sysDash"/>
              <a:headEnd type="triangle"/>
              <a:tailEnd type="none"/>
            </a:ln>
            <a:effectLst/>
          </p:spPr>
        </p:cxnSp>
        <p:cxnSp>
          <p:nvCxnSpPr>
            <p:cNvPr id="209" name="Straight Connector 208">
              <a:extLst>
                <a:ext uri="{FF2B5EF4-FFF2-40B4-BE49-F238E27FC236}">
                  <a16:creationId xmlns:a16="http://schemas.microsoft.com/office/drawing/2014/main" id="{B0CF9C71-A573-40C5-AEFB-20310E4F4656}"/>
                </a:ext>
              </a:extLst>
            </p:cNvPr>
            <p:cNvCxnSpPr>
              <a:cxnSpLocks/>
              <a:stCxn id="213" idx="7"/>
              <a:endCxn id="214" idx="3"/>
            </p:cNvCxnSpPr>
            <p:nvPr/>
          </p:nvCxnSpPr>
          <p:spPr>
            <a:xfrm flipV="1">
              <a:off x="6678646" y="4564394"/>
              <a:ext cx="503912" cy="470694"/>
            </a:xfrm>
            <a:prstGeom prst="line">
              <a:avLst/>
            </a:prstGeom>
            <a:noFill/>
            <a:ln w="12700" cap="flat" cmpd="sng" algn="ctr">
              <a:solidFill>
                <a:srgbClr val="0078D7"/>
              </a:solidFill>
              <a:prstDash val="sysDash"/>
              <a:headEnd type="none"/>
              <a:tailEnd type="triangle"/>
            </a:ln>
            <a:effectLst/>
          </p:spPr>
        </p:cxnSp>
        <p:sp>
          <p:nvSpPr>
            <p:cNvPr id="213" name="Oval 212">
              <a:extLst>
                <a:ext uri="{FF2B5EF4-FFF2-40B4-BE49-F238E27FC236}">
                  <a16:creationId xmlns:a16="http://schemas.microsoft.com/office/drawing/2014/main" id="{37C96B7D-8BED-4769-BBA8-2AC485768C40}"/>
                </a:ext>
              </a:extLst>
            </p:cNvPr>
            <p:cNvSpPr/>
            <p:nvPr/>
          </p:nvSpPr>
          <p:spPr>
            <a:xfrm>
              <a:off x="6029523" y="4932256"/>
              <a:ext cx="760495" cy="702181"/>
            </a:xfrm>
            <a:prstGeom prst="ellipse">
              <a:avLst/>
            </a:prstGeom>
            <a:solidFill>
              <a:srgbClr val="0078D7"/>
            </a:solid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chemeClr val="bg1"/>
                  </a:solidFill>
                  <a:latin typeface="Segoe UI"/>
                </a:rPr>
                <a:t>Andy</a:t>
              </a:r>
            </a:p>
            <a:p>
              <a:pPr algn="ctr" defTabSz="914225">
                <a:defRPr/>
              </a:pPr>
              <a:r>
                <a:rPr lang="en-US" sz="980" b="1" kern="0" dirty="0">
                  <a:solidFill>
                    <a:schemeClr val="bg1"/>
                  </a:solidFill>
                  <a:latin typeface="Segoe UI"/>
                </a:rPr>
                <a:t>Smith</a:t>
              </a:r>
            </a:p>
          </p:txBody>
        </p:sp>
        <p:sp>
          <p:nvSpPr>
            <p:cNvPr id="214" name="Oval 213">
              <a:extLst>
                <a:ext uri="{FF2B5EF4-FFF2-40B4-BE49-F238E27FC236}">
                  <a16:creationId xmlns:a16="http://schemas.microsoft.com/office/drawing/2014/main" id="{5F99E484-87A7-40E4-A8F5-792843965395}"/>
                </a:ext>
              </a:extLst>
            </p:cNvPr>
            <p:cNvSpPr/>
            <p:nvPr/>
          </p:nvSpPr>
          <p:spPr>
            <a:xfrm>
              <a:off x="7071186" y="3965045"/>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endParaRPr lang="en-US" sz="980" b="1" kern="0" dirty="0">
                <a:solidFill>
                  <a:srgbClr val="000000">
                    <a:lumMod val="65000"/>
                    <a:lumOff val="35000"/>
                  </a:srgbClr>
                </a:solidFill>
              </a:endParaRPr>
            </a:p>
            <a:p>
              <a:pPr algn="ctr" defTabSz="914225">
                <a:defRPr/>
              </a:pPr>
              <a:r>
                <a:rPr lang="en-US" sz="980" b="1" kern="0" dirty="0">
                  <a:solidFill>
                    <a:srgbClr val="000000">
                      <a:lumMod val="65000"/>
                      <a:lumOff val="35000"/>
                    </a:srgbClr>
                  </a:solidFill>
                </a:rPr>
                <a:t>B.S. Science, Finance</a:t>
              </a:r>
            </a:p>
            <a:p>
              <a:pPr algn="ctr" defTabSz="914225">
                <a:defRPr/>
              </a:pPr>
              <a:endParaRPr lang="en-US" sz="980" b="1" kern="0" dirty="0">
                <a:solidFill>
                  <a:srgbClr val="000000">
                    <a:lumMod val="65000"/>
                    <a:lumOff val="35000"/>
                  </a:srgbClr>
                </a:solidFill>
                <a:latin typeface="Segoe UI"/>
              </a:endParaRPr>
            </a:p>
          </p:txBody>
        </p:sp>
        <p:sp>
          <p:nvSpPr>
            <p:cNvPr id="215" name="Oval 214">
              <a:extLst>
                <a:ext uri="{FF2B5EF4-FFF2-40B4-BE49-F238E27FC236}">
                  <a16:creationId xmlns:a16="http://schemas.microsoft.com/office/drawing/2014/main" id="{74CFB3E3-2B39-4131-8ED8-87190690FE59}"/>
                </a:ext>
              </a:extLst>
            </p:cNvPr>
            <p:cNvSpPr/>
            <p:nvPr/>
          </p:nvSpPr>
          <p:spPr>
            <a:xfrm>
              <a:off x="7189341" y="5733547"/>
              <a:ext cx="760495" cy="702181"/>
            </a:xfrm>
            <a:prstGeom prst="ellipse">
              <a:avLst/>
            </a:prstGeom>
            <a:noFill/>
            <a:ln w="12700" cap="flat" cmpd="sng" algn="ctr">
              <a:solidFill>
                <a:srgbClr val="0078D7"/>
              </a:solidFill>
              <a:prstDash val="solid"/>
              <a:miter lim="800000"/>
            </a:ln>
            <a:effectLst/>
          </p:spPr>
          <p:txBody>
            <a:bodyPr lIns="0" rIns="0" rtlCol="0" anchor="ctr"/>
            <a:lstStyle/>
            <a:p>
              <a:pPr algn="ctr" defTabSz="914225">
                <a:defRPr/>
              </a:pPr>
              <a:endParaRPr lang="en-US" sz="980" b="1" kern="0" dirty="0">
                <a:solidFill>
                  <a:srgbClr val="0078D7"/>
                </a:solidFill>
              </a:endParaRPr>
            </a:p>
            <a:p>
              <a:pPr algn="ctr" defTabSz="914225">
                <a:defRPr/>
              </a:pPr>
              <a:r>
                <a:rPr lang="en-US" sz="980" b="1" kern="0" dirty="0">
                  <a:solidFill>
                    <a:srgbClr val="0078D7"/>
                  </a:solidFill>
                </a:rPr>
                <a:t>Business Analyst</a:t>
              </a:r>
            </a:p>
            <a:p>
              <a:pPr algn="ctr" defTabSz="914225">
                <a:defRPr/>
              </a:pPr>
              <a:endParaRPr lang="en-US" sz="980" b="1" kern="0" dirty="0">
                <a:solidFill>
                  <a:srgbClr val="000000">
                    <a:lumMod val="65000"/>
                    <a:lumOff val="35000"/>
                  </a:srgbClr>
                </a:solidFill>
                <a:latin typeface="Segoe UI"/>
              </a:endParaRPr>
            </a:p>
          </p:txBody>
        </p:sp>
        <p:sp>
          <p:nvSpPr>
            <p:cNvPr id="223" name="Rectangle 222">
              <a:extLst>
                <a:ext uri="{FF2B5EF4-FFF2-40B4-BE49-F238E27FC236}">
                  <a16:creationId xmlns:a16="http://schemas.microsoft.com/office/drawing/2014/main" id="{36E3B576-7DCE-4B93-BEFB-12B8AF3483E7}"/>
                </a:ext>
              </a:extLst>
            </p:cNvPr>
            <p:cNvSpPr/>
            <p:nvPr/>
          </p:nvSpPr>
          <p:spPr>
            <a:xfrm>
              <a:off x="6029523" y="3838800"/>
              <a:ext cx="88517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Graph Data</a:t>
              </a:r>
            </a:p>
          </p:txBody>
        </p:sp>
      </p:grpSp>
      <p:grpSp>
        <p:nvGrpSpPr>
          <p:cNvPr id="231" name="Group 230">
            <a:extLst>
              <a:ext uri="{FF2B5EF4-FFF2-40B4-BE49-F238E27FC236}">
                <a16:creationId xmlns:a16="http://schemas.microsoft.com/office/drawing/2014/main" id="{6E2EEB93-DD25-45F0-9A11-DB55F996361E}"/>
              </a:ext>
            </a:extLst>
          </p:cNvPr>
          <p:cNvGrpSpPr/>
          <p:nvPr/>
        </p:nvGrpSpPr>
        <p:grpSpPr>
          <a:xfrm>
            <a:off x="-19415" y="3325930"/>
            <a:ext cx="4023256" cy="3280337"/>
            <a:chOff x="68243" y="3395701"/>
            <a:chExt cx="4103931" cy="3346115"/>
          </a:xfrm>
        </p:grpSpPr>
        <p:sp>
          <p:nvSpPr>
            <p:cNvPr id="184" name="Rectangle 183">
              <a:extLst>
                <a:ext uri="{FF2B5EF4-FFF2-40B4-BE49-F238E27FC236}">
                  <a16:creationId xmlns:a16="http://schemas.microsoft.com/office/drawing/2014/main" id="{EBFA92C0-0B70-4C9D-9592-C63F290FAA0E}"/>
                </a:ext>
              </a:extLst>
            </p:cNvPr>
            <p:cNvSpPr/>
            <p:nvPr/>
          </p:nvSpPr>
          <p:spPr bwMode="auto">
            <a:xfrm>
              <a:off x="263142" y="5234504"/>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3B0CD489-321B-4D3A-B0F1-2C009DFA67D9}"/>
                </a:ext>
              </a:extLst>
            </p:cNvPr>
            <p:cNvSpPr/>
            <p:nvPr/>
          </p:nvSpPr>
          <p:spPr bwMode="auto">
            <a:xfrm>
              <a:off x="250190" y="3621912"/>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97410DB-71FF-4DEB-BB93-7AB93BFFC4B1}"/>
                </a:ext>
              </a:extLst>
            </p:cNvPr>
            <p:cNvSpPr/>
            <p:nvPr/>
          </p:nvSpPr>
          <p:spPr>
            <a:xfrm>
              <a:off x="234622" y="370754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Windows</a:t>
              </a:r>
            </a:p>
          </p:txBody>
        </p:sp>
        <p:sp>
          <p:nvSpPr>
            <p:cNvPr id="173" name="Rectangle 172">
              <a:extLst>
                <a:ext uri="{FF2B5EF4-FFF2-40B4-BE49-F238E27FC236}">
                  <a16:creationId xmlns:a16="http://schemas.microsoft.com/office/drawing/2014/main" id="{F29EC50D-FF11-41D9-A607-E390011F609A}"/>
                </a:ext>
              </a:extLst>
            </p:cNvPr>
            <p:cNvSpPr/>
            <p:nvPr/>
          </p:nvSpPr>
          <p:spPr>
            <a:xfrm>
              <a:off x="473015" y="4845817"/>
              <a:ext cx="705152"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175" name="Freeform 62">
              <a:extLst>
                <a:ext uri="{FF2B5EF4-FFF2-40B4-BE49-F238E27FC236}">
                  <a16:creationId xmlns:a16="http://schemas.microsoft.com/office/drawing/2014/main" id="{43E3B9E5-0271-4794-9B00-D87211CB9962}"/>
                </a:ext>
              </a:extLst>
            </p:cNvPr>
            <p:cNvSpPr/>
            <p:nvPr/>
          </p:nvSpPr>
          <p:spPr bwMode="auto">
            <a:xfrm>
              <a:off x="52643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140FFCF9-2393-488C-AE14-F1E39A72A2E2}"/>
                </a:ext>
              </a:extLst>
            </p:cNvPr>
            <p:cNvSpPr/>
            <p:nvPr/>
          </p:nvSpPr>
          <p:spPr>
            <a:xfrm>
              <a:off x="2558763" y="4877691"/>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cxnSp>
          <p:nvCxnSpPr>
            <p:cNvPr id="181" name="Straight Arrow Connector 180">
              <a:extLst>
                <a:ext uri="{FF2B5EF4-FFF2-40B4-BE49-F238E27FC236}">
                  <a16:creationId xmlns:a16="http://schemas.microsoft.com/office/drawing/2014/main" id="{1F50ECDC-D770-4295-A548-64820832B05D}"/>
                </a:ext>
              </a:extLst>
            </p:cNvPr>
            <p:cNvCxnSpPr>
              <a:cxnSpLocks/>
            </p:cNvCxnSpPr>
            <p:nvPr/>
          </p:nvCxnSpPr>
          <p:spPr>
            <a:xfrm>
              <a:off x="1178167" y="4444840"/>
              <a:ext cx="1810912" cy="32012"/>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DCB96A5E-E0A3-4A8C-9B23-A8C57358269B}"/>
                </a:ext>
              </a:extLst>
            </p:cNvPr>
            <p:cNvSpPr txBox="1"/>
            <p:nvPr/>
          </p:nvSpPr>
          <p:spPr>
            <a:xfrm>
              <a:off x="1682124" y="4237785"/>
              <a:ext cx="107533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83" name="Freeform 63">
              <a:extLst>
                <a:ext uri="{FF2B5EF4-FFF2-40B4-BE49-F238E27FC236}">
                  <a16:creationId xmlns:a16="http://schemas.microsoft.com/office/drawing/2014/main" id="{8D5D73D2-472B-41BB-937C-34CD61B4E69B}"/>
                </a:ext>
              </a:extLst>
            </p:cNvPr>
            <p:cNvSpPr/>
            <p:nvPr/>
          </p:nvSpPr>
          <p:spPr bwMode="auto">
            <a:xfrm>
              <a:off x="311079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9133C21B-3DC2-48DE-ADF6-E86FBE8F586F}"/>
                </a:ext>
              </a:extLst>
            </p:cNvPr>
            <p:cNvSpPr/>
            <p:nvPr/>
          </p:nvSpPr>
          <p:spPr>
            <a:xfrm>
              <a:off x="68243" y="526271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Linux</a:t>
              </a:r>
            </a:p>
          </p:txBody>
        </p:sp>
        <p:sp>
          <p:nvSpPr>
            <p:cNvPr id="186" name="TextBox 185">
              <a:extLst>
                <a:ext uri="{FF2B5EF4-FFF2-40B4-BE49-F238E27FC236}">
                  <a16:creationId xmlns:a16="http://schemas.microsoft.com/office/drawing/2014/main" id="{8113FB1A-A0F4-40F8-B81D-BBDBACF36230}"/>
                </a:ext>
              </a:extLst>
            </p:cNvPr>
            <p:cNvSpPr txBox="1"/>
            <p:nvPr/>
          </p:nvSpPr>
          <p:spPr>
            <a:xfrm>
              <a:off x="1427846" y="5686901"/>
              <a:ext cx="216200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87" name="Connector: Elbow 119">
              <a:extLst>
                <a:ext uri="{FF2B5EF4-FFF2-40B4-BE49-F238E27FC236}">
                  <a16:creationId xmlns:a16="http://schemas.microsoft.com/office/drawing/2014/main" id="{E7E1071F-9F4A-4701-A15B-AF656FFA8B51}"/>
                </a:ext>
              </a:extLst>
            </p:cNvPr>
            <p:cNvCxnSpPr>
              <a:cxnSpLocks/>
            </p:cNvCxnSpPr>
            <p:nvPr/>
          </p:nvCxnSpPr>
          <p:spPr>
            <a:xfrm>
              <a:off x="1187631" y="4532200"/>
              <a:ext cx="1798844" cy="1373096"/>
            </a:xfrm>
            <a:prstGeom prst="bentConnector3">
              <a:avLst>
                <a:gd name="adj1" fmla="val 8966"/>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C635652-2A99-4835-84FE-096188977001}"/>
                </a:ext>
              </a:extLst>
            </p:cNvPr>
            <p:cNvSpPr/>
            <p:nvPr/>
          </p:nvSpPr>
          <p:spPr>
            <a:xfrm>
              <a:off x="2556526" y="6303078"/>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89" name="Freeform 64">
              <a:extLst>
                <a:ext uri="{FF2B5EF4-FFF2-40B4-BE49-F238E27FC236}">
                  <a16:creationId xmlns:a16="http://schemas.microsoft.com/office/drawing/2014/main" id="{0688A0DA-90EC-44C2-AF96-281409265361}"/>
                </a:ext>
              </a:extLst>
            </p:cNvPr>
            <p:cNvSpPr/>
            <p:nvPr/>
          </p:nvSpPr>
          <p:spPr bwMode="auto">
            <a:xfrm>
              <a:off x="3059137" y="5447837"/>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779C6967-3622-48D6-A96E-CB9AC18F7C6F}"/>
                </a:ext>
              </a:extLst>
            </p:cNvPr>
            <p:cNvSpPr/>
            <p:nvPr/>
          </p:nvSpPr>
          <p:spPr>
            <a:xfrm>
              <a:off x="1178167" y="3395701"/>
              <a:ext cx="2170787"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Clusterless” Availability Groups</a:t>
              </a:r>
            </a:p>
          </p:txBody>
        </p:sp>
      </p:grpSp>
      <p:grpSp>
        <p:nvGrpSpPr>
          <p:cNvPr id="227" name="Group 226">
            <a:extLst>
              <a:ext uri="{FF2B5EF4-FFF2-40B4-BE49-F238E27FC236}">
                <a16:creationId xmlns:a16="http://schemas.microsoft.com/office/drawing/2014/main" id="{6EC68BB1-F03B-4EE0-B979-A115A8B3F54D}"/>
              </a:ext>
            </a:extLst>
          </p:cNvPr>
          <p:cNvGrpSpPr/>
          <p:nvPr/>
        </p:nvGrpSpPr>
        <p:grpSpPr>
          <a:xfrm>
            <a:off x="1217780" y="1557778"/>
            <a:ext cx="1530671" cy="796864"/>
            <a:chOff x="960437" y="1598880"/>
            <a:chExt cx="1561364" cy="812843"/>
          </a:xfrm>
        </p:grpSpPr>
        <p:grpSp>
          <p:nvGrpSpPr>
            <p:cNvPr id="119" name="Group 118">
              <a:extLst>
                <a:ext uri="{FF2B5EF4-FFF2-40B4-BE49-F238E27FC236}">
                  <a16:creationId xmlns:a16="http://schemas.microsoft.com/office/drawing/2014/main" id="{87D03AEF-D5C8-45FD-816A-277DB883901B}"/>
                </a:ext>
              </a:extLst>
            </p:cNvPr>
            <p:cNvGrpSpPr/>
            <p:nvPr/>
          </p:nvGrpSpPr>
          <p:grpSpPr>
            <a:xfrm>
              <a:off x="960437" y="2049462"/>
              <a:ext cx="1561364" cy="362261"/>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1025665" y="1598880"/>
              <a:ext cx="1338828"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latform of Choice</a:t>
              </a:r>
            </a:p>
          </p:txBody>
        </p:sp>
      </p:grpSp>
      <p:grpSp>
        <p:nvGrpSpPr>
          <p:cNvPr id="228" name="Group 227">
            <a:extLst>
              <a:ext uri="{FF2B5EF4-FFF2-40B4-BE49-F238E27FC236}">
                <a16:creationId xmlns:a16="http://schemas.microsoft.com/office/drawing/2014/main" id="{D754799D-B101-4F45-903F-E5BFAFCF8DB6}"/>
              </a:ext>
            </a:extLst>
          </p:cNvPr>
          <p:cNvGrpSpPr/>
          <p:nvPr/>
        </p:nvGrpSpPr>
        <p:grpSpPr>
          <a:xfrm>
            <a:off x="8940435" y="4378094"/>
            <a:ext cx="2404176" cy="1778837"/>
            <a:chOff x="9041704" y="4443175"/>
            <a:chExt cx="2452385" cy="1814506"/>
          </a:xfrm>
        </p:grpSpPr>
        <p:grpSp>
          <p:nvGrpSpPr>
            <p:cNvPr id="2" name="Group 1">
              <a:extLst>
                <a:ext uri="{FF2B5EF4-FFF2-40B4-BE49-F238E27FC236}">
                  <a16:creationId xmlns:a16="http://schemas.microsoft.com/office/drawing/2014/main" id="{DA9DE99D-68AC-45AC-ABC9-61BCB6A4DC15}"/>
                </a:ext>
              </a:extLst>
            </p:cNvPr>
            <p:cNvGrpSpPr/>
            <p:nvPr/>
          </p:nvGrpSpPr>
          <p:grpSpPr>
            <a:xfrm>
              <a:off x="9041704" y="4809164"/>
              <a:ext cx="2452385" cy="1448517"/>
              <a:chOff x="7513637" y="2907620"/>
              <a:chExt cx="2452385" cy="1448517"/>
            </a:xfrm>
          </p:grpSpPr>
          <p:sp>
            <p:nvSpPr>
              <p:cNvPr id="10" name="TextBox 9">
                <a:extLst>
                  <a:ext uri="{FF2B5EF4-FFF2-40B4-BE49-F238E27FC236}">
                    <a16:creationId xmlns:a16="http://schemas.microsoft.com/office/drawing/2014/main" id="{D86886AE-CB6E-4006-9D23-F01E0346ABD9}"/>
                  </a:ext>
                </a:extLst>
              </p:cNvPr>
              <p:cNvSpPr txBox="1"/>
              <p:nvPr/>
            </p:nvSpPr>
            <p:spPr>
              <a:xfrm>
                <a:off x="7731675" y="2907620"/>
                <a:ext cx="1111753" cy="627896"/>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4A9E4BC2-1612-40F3-9A18-73CBB1269C03}"/>
                  </a:ext>
                </a:extLst>
              </p:cNvPr>
              <p:cNvGrpSpPr>
                <a:grpSpLocks noChangeAspect="1"/>
              </p:cNvGrpSpPr>
              <p:nvPr/>
            </p:nvGrpSpPr>
            <p:grpSpPr bwMode="auto">
              <a:xfrm>
                <a:off x="8899260" y="3010163"/>
                <a:ext cx="426595" cy="428476"/>
                <a:chOff x="522" y="2880"/>
                <a:chExt cx="908" cy="912"/>
              </a:xfrm>
              <a:solidFill>
                <a:schemeClr val="tx2"/>
              </a:solidFill>
            </p:grpSpPr>
            <p:sp>
              <p:nvSpPr>
                <p:cNvPr id="12" name="Freeform 5">
                  <a:extLst>
                    <a:ext uri="{FF2B5EF4-FFF2-40B4-BE49-F238E27FC236}">
                      <a16:creationId xmlns:a16="http://schemas.microsoft.com/office/drawing/2014/main" id="{0E1074E1-070A-45B4-AFAC-CF71F2069ECC}"/>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3" name="Freeform 6">
                  <a:extLst>
                    <a:ext uri="{FF2B5EF4-FFF2-40B4-BE49-F238E27FC236}">
                      <a16:creationId xmlns:a16="http://schemas.microsoft.com/office/drawing/2014/main" id="{217EFD84-B2C8-4D21-AF45-D0A17526079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4" name="TextBox 13">
                <a:extLst>
                  <a:ext uri="{FF2B5EF4-FFF2-40B4-BE49-F238E27FC236}">
                    <a16:creationId xmlns:a16="http://schemas.microsoft.com/office/drawing/2014/main" id="{4BF0F10C-8D3F-498A-A11E-26FA859FBC8F}"/>
                  </a:ext>
                </a:extLst>
              </p:cNvPr>
              <p:cNvSpPr txBox="1"/>
              <p:nvPr/>
            </p:nvSpPr>
            <p:spPr>
              <a:xfrm>
                <a:off x="7513637" y="4030662"/>
                <a:ext cx="2452385" cy="325475"/>
              </a:xfrm>
              <a:prstGeom prst="rect">
                <a:avLst/>
              </a:prstGeom>
              <a:noFill/>
            </p:spPr>
            <p:txBody>
              <a:bodyPr wrap="none" lIns="0" tIns="0" rIns="0" bIns="0" rtlCol="0" anchor="b">
                <a:noAutofit/>
              </a:bodyPr>
              <a:lstStyle/>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R and Python + </a:t>
                </a:r>
                <a:br>
                  <a:rPr lang="en-US" sz="1100" kern="0" spc="49" dirty="0">
                    <a:solidFill>
                      <a:srgbClr val="505050"/>
                    </a:solidFill>
                    <a:latin typeface="Segoe UI Semilight" charset="0"/>
                    <a:ea typeface="Segoe UI Semilight" charset="0"/>
                    <a:cs typeface="Segoe UI Semilight" charset="0"/>
                  </a:rPr>
                </a:br>
                <a:r>
                  <a:rPr lang="en-US" sz="1100" kern="0" spc="49"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Native T-SQL scoring</a:t>
                </a:r>
              </a:p>
            </p:txBody>
          </p:sp>
        </p:grpSp>
        <p:sp>
          <p:nvSpPr>
            <p:cNvPr id="226" name="Rectangle 225">
              <a:extLst>
                <a:ext uri="{FF2B5EF4-FFF2-40B4-BE49-F238E27FC236}">
                  <a16:creationId xmlns:a16="http://schemas.microsoft.com/office/drawing/2014/main" id="{DDE076D6-3A61-462B-8DD2-786AFC380478}"/>
                </a:ext>
              </a:extLst>
            </p:cNvPr>
            <p:cNvSpPr/>
            <p:nvPr/>
          </p:nvSpPr>
          <p:spPr>
            <a:xfrm>
              <a:off x="9359107" y="4443175"/>
              <a:ext cx="177163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a:t>
              </a:r>
            </a:p>
          </p:txBody>
        </p:sp>
      </p:grpSp>
      <p:grpSp>
        <p:nvGrpSpPr>
          <p:cNvPr id="5" name="Group 4">
            <a:extLst>
              <a:ext uri="{FF2B5EF4-FFF2-40B4-BE49-F238E27FC236}">
                <a16:creationId xmlns:a16="http://schemas.microsoft.com/office/drawing/2014/main" id="{656B246E-8FC6-422E-B30B-7E48D8D23E8E}"/>
              </a:ext>
            </a:extLst>
          </p:cNvPr>
          <p:cNvGrpSpPr/>
          <p:nvPr/>
        </p:nvGrpSpPr>
        <p:grpSpPr>
          <a:xfrm>
            <a:off x="8187658" y="965920"/>
            <a:ext cx="3583381" cy="2864270"/>
            <a:chOff x="8351837" y="984791"/>
            <a:chExt cx="3655235" cy="2921705"/>
          </a:xfrm>
        </p:grpSpPr>
        <p:grpSp>
          <p:nvGrpSpPr>
            <p:cNvPr id="6" name="Group 5">
              <a:extLst>
                <a:ext uri="{FF2B5EF4-FFF2-40B4-BE49-F238E27FC236}">
                  <a16:creationId xmlns:a16="http://schemas.microsoft.com/office/drawing/2014/main" id="{20E56635-5F44-4B4E-B453-98EE68E3FA5B}"/>
                </a:ext>
              </a:extLst>
            </p:cNvPr>
            <p:cNvGrpSpPr/>
            <p:nvPr/>
          </p:nvGrpSpPr>
          <p:grpSpPr>
            <a:xfrm>
              <a:off x="8789920" y="1556792"/>
              <a:ext cx="3033942" cy="1217220"/>
              <a:chOff x="2483470" y="566299"/>
              <a:chExt cx="6006709" cy="3838251"/>
            </a:xfrm>
          </p:grpSpPr>
          <p:sp>
            <p:nvSpPr>
              <p:cNvPr id="104" name="Rectangle 103">
                <a:extLst>
                  <a:ext uri="{FF2B5EF4-FFF2-40B4-BE49-F238E27FC236}">
                    <a16:creationId xmlns:a16="http://schemas.microsoft.com/office/drawing/2014/main" id="{65E22075-DACA-4AD2-94F7-32C5E0F4F810}"/>
                  </a:ext>
                </a:extLst>
              </p:cNvPr>
              <p:cNvSpPr/>
              <p:nvPr/>
            </p:nvSpPr>
            <p:spPr bwMode="auto">
              <a:xfrm>
                <a:off x="2483470" y="3451359"/>
                <a:ext cx="132660" cy="95318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3121F75-B9A0-4C32-AF38-7EF6DD782744}"/>
                  </a:ext>
                </a:extLst>
              </p:cNvPr>
              <p:cNvSpPr/>
              <p:nvPr/>
            </p:nvSpPr>
            <p:spPr bwMode="auto">
              <a:xfrm>
                <a:off x="2738863" y="3755288"/>
                <a:ext cx="132660" cy="64926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919A02C7-831C-4D81-B69D-1AFDE8CBB16F}"/>
                  </a:ext>
                </a:extLst>
              </p:cNvPr>
              <p:cNvSpPr/>
              <p:nvPr/>
            </p:nvSpPr>
            <p:spPr bwMode="auto">
              <a:xfrm>
                <a:off x="2994257" y="3882966"/>
                <a:ext cx="132660" cy="521582"/>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325F30CF-F0D4-48D0-BE92-47D2BA835715}"/>
                  </a:ext>
                </a:extLst>
              </p:cNvPr>
              <p:cNvSpPr/>
              <p:nvPr/>
            </p:nvSpPr>
            <p:spPr bwMode="auto">
              <a:xfrm>
                <a:off x="3249651" y="3720593"/>
                <a:ext cx="132660" cy="68395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32E19D8E-7D93-4B59-B586-AFFCA9CB976A}"/>
                  </a:ext>
                </a:extLst>
              </p:cNvPr>
              <p:cNvSpPr/>
              <p:nvPr/>
            </p:nvSpPr>
            <p:spPr bwMode="auto">
              <a:xfrm>
                <a:off x="3505045" y="3492994"/>
                <a:ext cx="132660" cy="911554"/>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12AF1004-3258-417D-93C6-A94E215130FF}"/>
                  </a:ext>
                </a:extLst>
              </p:cNvPr>
              <p:cNvSpPr/>
              <p:nvPr/>
            </p:nvSpPr>
            <p:spPr bwMode="auto">
              <a:xfrm>
                <a:off x="3760438" y="3787207"/>
                <a:ext cx="132660" cy="61734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26A7E77B-5616-499E-91A3-96B696AFBB58}"/>
                  </a:ext>
                </a:extLst>
              </p:cNvPr>
              <p:cNvSpPr/>
              <p:nvPr/>
            </p:nvSpPr>
            <p:spPr bwMode="auto">
              <a:xfrm>
                <a:off x="4015832" y="3698013"/>
                <a:ext cx="132660" cy="70653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FDE6435C-9C28-494C-AA30-D2B00545AF52}"/>
                  </a:ext>
                </a:extLst>
              </p:cNvPr>
              <p:cNvSpPr/>
              <p:nvPr/>
            </p:nvSpPr>
            <p:spPr bwMode="auto">
              <a:xfrm>
                <a:off x="4271226"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B7FF4AE-F230-4E92-A209-6199B19FB0CC}"/>
                  </a:ext>
                </a:extLst>
              </p:cNvPr>
              <p:cNvSpPr/>
              <p:nvPr/>
            </p:nvSpPr>
            <p:spPr bwMode="auto">
              <a:xfrm>
                <a:off x="4526620"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3" name="Rectangle 112">
                <a:extLst>
                  <a:ext uri="{FF2B5EF4-FFF2-40B4-BE49-F238E27FC236}">
                    <a16:creationId xmlns:a16="http://schemas.microsoft.com/office/drawing/2014/main" id="{1FEAC611-9366-40DB-8F10-01A6F2FF5E18}"/>
                  </a:ext>
                </a:extLst>
              </p:cNvPr>
              <p:cNvSpPr/>
              <p:nvPr/>
            </p:nvSpPr>
            <p:spPr bwMode="auto">
              <a:xfrm>
                <a:off x="4782013"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CE09E56E-73C6-456C-B0E3-5C575AED404E}"/>
                  </a:ext>
                </a:extLst>
              </p:cNvPr>
              <p:cNvSpPr/>
              <p:nvPr/>
            </p:nvSpPr>
            <p:spPr bwMode="auto">
              <a:xfrm>
                <a:off x="5037407"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5" name="Rectangle 114">
                <a:extLst>
                  <a:ext uri="{FF2B5EF4-FFF2-40B4-BE49-F238E27FC236}">
                    <a16:creationId xmlns:a16="http://schemas.microsoft.com/office/drawing/2014/main" id="{14A4A90A-DA0E-4362-A163-F938C98D2544}"/>
                  </a:ext>
                </a:extLst>
              </p:cNvPr>
              <p:cNvSpPr/>
              <p:nvPr/>
            </p:nvSpPr>
            <p:spPr bwMode="auto">
              <a:xfrm>
                <a:off x="5292801"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6" name="Rectangle 115">
                <a:extLst>
                  <a:ext uri="{FF2B5EF4-FFF2-40B4-BE49-F238E27FC236}">
                    <a16:creationId xmlns:a16="http://schemas.microsoft.com/office/drawing/2014/main" id="{547FDDD3-5FBA-4BB0-BBFF-0C3FDDDFAF24}"/>
                  </a:ext>
                </a:extLst>
              </p:cNvPr>
              <p:cNvSpPr/>
              <p:nvPr/>
            </p:nvSpPr>
            <p:spPr bwMode="auto">
              <a:xfrm>
                <a:off x="5548195" y="1658530"/>
                <a:ext cx="132660" cy="274601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9BE6B60E-37BA-4DC0-8EB1-BC637459BC83}"/>
                  </a:ext>
                </a:extLst>
              </p:cNvPr>
              <p:cNvSpPr/>
              <p:nvPr/>
            </p:nvSpPr>
            <p:spPr bwMode="auto">
              <a:xfrm>
                <a:off x="5803589" y="1175167"/>
                <a:ext cx="132660" cy="3229383"/>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3" name="Rectangle 122">
                <a:extLst>
                  <a:ext uri="{FF2B5EF4-FFF2-40B4-BE49-F238E27FC236}">
                    <a16:creationId xmlns:a16="http://schemas.microsoft.com/office/drawing/2014/main" id="{366E63B8-C3E1-4181-BD9D-A63E5FF48CCF}"/>
                  </a:ext>
                </a:extLst>
              </p:cNvPr>
              <p:cNvSpPr/>
              <p:nvPr/>
            </p:nvSpPr>
            <p:spPr bwMode="auto">
              <a:xfrm>
                <a:off x="6058982" y="781693"/>
                <a:ext cx="132660" cy="3622856"/>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4" name="Rectangle 123">
                <a:extLst>
                  <a:ext uri="{FF2B5EF4-FFF2-40B4-BE49-F238E27FC236}">
                    <a16:creationId xmlns:a16="http://schemas.microsoft.com/office/drawing/2014/main" id="{B65ABABB-CCF4-4B7D-8A78-FA4B48FAFC19}"/>
                  </a:ext>
                </a:extLst>
              </p:cNvPr>
              <p:cNvSpPr/>
              <p:nvPr/>
            </p:nvSpPr>
            <p:spPr bwMode="auto">
              <a:xfrm>
                <a:off x="6314376" y="1068318"/>
                <a:ext cx="132660" cy="3336231"/>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5" name="Rectangle 124">
                <a:extLst>
                  <a:ext uri="{FF2B5EF4-FFF2-40B4-BE49-F238E27FC236}">
                    <a16:creationId xmlns:a16="http://schemas.microsoft.com/office/drawing/2014/main" id="{253E6396-4014-4DA2-A91D-4CA49A596AE3}"/>
                  </a:ext>
                </a:extLst>
              </p:cNvPr>
              <p:cNvSpPr/>
              <p:nvPr/>
            </p:nvSpPr>
            <p:spPr bwMode="auto">
              <a:xfrm>
                <a:off x="6569770" y="691804"/>
                <a:ext cx="132660" cy="3712745"/>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75337F73-1BE6-4926-9572-0227AFB8CF29}"/>
                  </a:ext>
                </a:extLst>
              </p:cNvPr>
              <p:cNvSpPr/>
              <p:nvPr/>
            </p:nvSpPr>
            <p:spPr bwMode="auto">
              <a:xfrm>
                <a:off x="6825164" y="566299"/>
                <a:ext cx="132660" cy="383825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DCB540D6-B8A7-419E-9361-2A3B2A50F689}"/>
                  </a:ext>
                </a:extLst>
              </p:cNvPr>
              <p:cNvSpPr/>
              <p:nvPr/>
            </p:nvSpPr>
            <p:spPr bwMode="auto">
              <a:xfrm>
                <a:off x="7080557"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8FF3E9F0-CEE0-4E2E-A9CA-83D6EF73E520}"/>
                  </a:ext>
                </a:extLst>
              </p:cNvPr>
              <p:cNvSpPr/>
              <p:nvPr/>
            </p:nvSpPr>
            <p:spPr bwMode="auto">
              <a:xfrm>
                <a:off x="7335951" y="3643889"/>
                <a:ext cx="132660" cy="760659"/>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74678E93-9EB2-4EEB-963C-723883AE64DB}"/>
                  </a:ext>
                </a:extLst>
              </p:cNvPr>
              <p:cNvSpPr/>
              <p:nvPr/>
            </p:nvSpPr>
            <p:spPr bwMode="auto">
              <a:xfrm>
                <a:off x="7591345"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71520104-5C3F-4BD2-8604-604BF73763BC}"/>
                  </a:ext>
                </a:extLst>
              </p:cNvPr>
              <p:cNvSpPr/>
              <p:nvPr/>
            </p:nvSpPr>
            <p:spPr bwMode="auto">
              <a:xfrm>
                <a:off x="7846739"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1" name="Rectangle 130">
                <a:extLst>
                  <a:ext uri="{FF2B5EF4-FFF2-40B4-BE49-F238E27FC236}">
                    <a16:creationId xmlns:a16="http://schemas.microsoft.com/office/drawing/2014/main" id="{AF7E9A7E-5C35-4532-901B-DFF6E82FDAC6}"/>
                  </a:ext>
                </a:extLst>
              </p:cNvPr>
              <p:cNvSpPr/>
              <p:nvPr/>
            </p:nvSpPr>
            <p:spPr bwMode="auto">
              <a:xfrm>
                <a:off x="8102132"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D308BAAA-9085-4AF4-97CB-3A8B56EAA424}"/>
                  </a:ext>
                </a:extLst>
              </p:cNvPr>
              <p:cNvSpPr/>
              <p:nvPr/>
            </p:nvSpPr>
            <p:spPr bwMode="auto">
              <a:xfrm>
                <a:off x="8357519" y="3679972"/>
                <a:ext cx="132660" cy="72457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cxnSp>
          <p:nvCxnSpPr>
            <p:cNvPr id="133" name="Straight Arrow Connector 132">
              <a:extLst>
                <a:ext uri="{FF2B5EF4-FFF2-40B4-BE49-F238E27FC236}">
                  <a16:creationId xmlns:a16="http://schemas.microsoft.com/office/drawing/2014/main" id="{24D67E43-E131-4323-A24F-5B35A68F6A30}"/>
                </a:ext>
              </a:extLst>
            </p:cNvPr>
            <p:cNvCxnSpPr>
              <a:cxnSpLocks/>
            </p:cNvCxnSpPr>
            <p:nvPr/>
          </p:nvCxnSpPr>
          <p:spPr>
            <a:xfrm flipV="1">
              <a:off x="8654272" y="1183263"/>
              <a:ext cx="0" cy="1716536"/>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213C3EB-9EA3-4D59-945F-AFB25E6164BD}"/>
                </a:ext>
              </a:extLst>
            </p:cNvPr>
            <p:cNvCxnSpPr>
              <a:cxnSpLocks/>
            </p:cNvCxnSpPr>
            <p:nvPr/>
          </p:nvCxnSpPr>
          <p:spPr>
            <a:xfrm>
              <a:off x="8659040" y="2899799"/>
              <a:ext cx="3348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84E3D607-F363-4B86-BF08-1C2DD8307F2B}"/>
                </a:ext>
              </a:extLst>
            </p:cNvPr>
            <p:cNvSpPr/>
            <p:nvPr/>
          </p:nvSpPr>
          <p:spPr>
            <a:xfrm rot="16200000">
              <a:off x="8005497" y="1923623"/>
              <a:ext cx="946942" cy="254262"/>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36" name="Rectangle 135">
              <a:extLst>
                <a:ext uri="{FF2B5EF4-FFF2-40B4-BE49-F238E27FC236}">
                  <a16:creationId xmlns:a16="http://schemas.microsoft.com/office/drawing/2014/main" id="{CF6BF073-BE53-466A-8384-183A207D31FF}"/>
                </a:ext>
              </a:extLst>
            </p:cNvPr>
            <p:cNvSpPr/>
            <p:nvPr/>
          </p:nvSpPr>
          <p:spPr>
            <a:xfrm>
              <a:off x="9787922" y="984791"/>
              <a:ext cx="827471" cy="406265"/>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utomatic</a:t>
              </a:r>
            </a:p>
            <a:p>
              <a:pPr algn="ctr" defTabSz="754235">
                <a:defRPr/>
              </a:pPr>
              <a:r>
                <a:rPr lang="en-US" sz="1000" b="1" kern="0" dirty="0">
                  <a:ln>
                    <a:solidFill>
                      <a:srgbClr val="FFFFFF">
                        <a:alpha val="0"/>
                      </a:srgbClr>
                    </a:solidFill>
                  </a:ln>
                  <a:solidFill>
                    <a:srgbClr val="0078D7"/>
                  </a:solidFill>
                  <a:latin typeface="Segoe UI" charset="0"/>
                  <a:cs typeface="Segoe UI" charset="0"/>
                </a:rPr>
                <a:t>Tuning</a:t>
              </a:r>
            </a:p>
          </p:txBody>
        </p:sp>
        <p:sp>
          <p:nvSpPr>
            <p:cNvPr id="137" name="Rectangle 136">
              <a:extLst>
                <a:ext uri="{FF2B5EF4-FFF2-40B4-BE49-F238E27FC236}">
                  <a16:creationId xmlns:a16="http://schemas.microsoft.com/office/drawing/2014/main" id="{3F00FC15-2693-42F3-8011-2481BDE2911E}"/>
                </a:ext>
              </a:extLst>
            </p:cNvPr>
            <p:cNvSpPr/>
            <p:nvPr/>
          </p:nvSpPr>
          <p:spPr>
            <a:xfrm>
              <a:off x="8833561" y="3012030"/>
              <a:ext cx="574182" cy="254262"/>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38" name="Rectangle 137">
              <a:extLst>
                <a:ext uri="{FF2B5EF4-FFF2-40B4-BE49-F238E27FC236}">
                  <a16:creationId xmlns:a16="http://schemas.microsoft.com/office/drawing/2014/main" id="{B0DF76E9-045D-4576-94A5-EC01CE7ECFF8}"/>
                </a:ext>
              </a:extLst>
            </p:cNvPr>
            <p:cNvSpPr/>
            <p:nvPr/>
          </p:nvSpPr>
          <p:spPr>
            <a:xfrm>
              <a:off x="9652678"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39" name="Rectangle 138">
              <a:extLst>
                <a:ext uri="{FF2B5EF4-FFF2-40B4-BE49-F238E27FC236}">
                  <a16:creationId xmlns:a16="http://schemas.microsoft.com/office/drawing/2014/main" id="{DB2C5B10-84D7-4CF9-9677-DB274F85883A}"/>
                </a:ext>
              </a:extLst>
            </p:cNvPr>
            <p:cNvSpPr/>
            <p:nvPr/>
          </p:nvSpPr>
          <p:spPr>
            <a:xfrm>
              <a:off x="10408694" y="3005790"/>
              <a:ext cx="574182" cy="254262"/>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40" name="Rectangle 139">
              <a:extLst>
                <a:ext uri="{FF2B5EF4-FFF2-40B4-BE49-F238E27FC236}">
                  <a16:creationId xmlns:a16="http://schemas.microsoft.com/office/drawing/2014/main" id="{08654A1A-CEF1-426A-8D51-1EF71D0810EE}"/>
                </a:ext>
              </a:extLst>
            </p:cNvPr>
            <p:cNvSpPr/>
            <p:nvPr/>
          </p:nvSpPr>
          <p:spPr>
            <a:xfrm>
              <a:off x="11227811"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41" name="Rectangle 140">
              <a:extLst>
                <a:ext uri="{FF2B5EF4-FFF2-40B4-BE49-F238E27FC236}">
                  <a16:creationId xmlns:a16="http://schemas.microsoft.com/office/drawing/2014/main" id="{EE660718-2BBA-402D-9AC0-8E9196981E5E}"/>
                </a:ext>
              </a:extLst>
            </p:cNvPr>
            <p:cNvSpPr/>
            <p:nvPr/>
          </p:nvSpPr>
          <p:spPr>
            <a:xfrm>
              <a:off x="10272891" y="3319797"/>
              <a:ext cx="1099981" cy="586699"/>
            </a:xfrm>
            <a:prstGeom prst="rect">
              <a:avLst/>
            </a:prstGeom>
          </p:spPr>
          <p:txBody>
            <a:bodyPr wrap="none">
              <a:spAutoFit/>
            </a:bodyPr>
            <a:lstStyle/>
            <a:p>
              <a:pPr algn="ctr" defTabSz="914225">
                <a:defRPr/>
              </a:pPr>
              <a:r>
                <a:rPr lang="en-US" sz="1050" b="1" dirty="0">
                  <a:solidFill>
                    <a:srgbClr val="0078D7"/>
                  </a:solidFill>
                  <a:latin typeface="Segoe UI"/>
                </a:rPr>
                <a:t>Revert to </a:t>
              </a:r>
            </a:p>
            <a:p>
              <a:pPr algn="ctr" defTabSz="914225">
                <a:defRPr/>
              </a:pPr>
              <a:r>
                <a:rPr lang="en-US" sz="1050" b="1" dirty="0">
                  <a:solidFill>
                    <a:srgbClr val="0078D7"/>
                  </a:solidFill>
                  <a:latin typeface="Segoe UI"/>
                </a:rPr>
                <a:t>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42" name="Freeform 4">
              <a:extLst>
                <a:ext uri="{FF2B5EF4-FFF2-40B4-BE49-F238E27FC236}">
                  <a16:creationId xmlns:a16="http://schemas.microsoft.com/office/drawing/2014/main" id="{266358F5-AC11-49BD-925D-920CC96852E7}"/>
                </a:ext>
              </a:extLst>
            </p:cNvPr>
            <p:cNvSpPr/>
            <p:nvPr/>
          </p:nvSpPr>
          <p:spPr bwMode="auto">
            <a:xfrm>
              <a:off x="9950895" y="3340902"/>
              <a:ext cx="453999" cy="190572"/>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3" name="Freeform 61">
              <a:extLst>
                <a:ext uri="{FF2B5EF4-FFF2-40B4-BE49-F238E27FC236}">
                  <a16:creationId xmlns:a16="http://schemas.microsoft.com/office/drawing/2014/main" id="{91901112-C1DF-4E6C-97FB-E8A0F85B1702}"/>
                </a:ext>
              </a:extLst>
            </p:cNvPr>
            <p:cNvSpPr/>
            <p:nvPr/>
          </p:nvSpPr>
          <p:spPr bwMode="auto">
            <a:xfrm flipH="1">
              <a:off x="11228359" y="3200814"/>
              <a:ext cx="257996" cy="325475"/>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4" name="Freeform 13">
              <a:extLst>
                <a:ext uri="{FF2B5EF4-FFF2-40B4-BE49-F238E27FC236}">
                  <a16:creationId xmlns:a16="http://schemas.microsoft.com/office/drawing/2014/main" id="{8B407818-B163-4CE5-922E-369FEEFAC91B}"/>
                </a:ext>
              </a:extLst>
            </p:cNvPr>
            <p:cNvSpPr/>
            <p:nvPr/>
          </p:nvSpPr>
          <p:spPr bwMode="auto">
            <a:xfrm rot="10800000">
              <a:off x="9652677" y="3234780"/>
              <a:ext cx="623219" cy="65793"/>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grpSp>
    </p:spTree>
    <p:extLst>
      <p:ext uri="{BB962C8B-B14F-4D97-AF65-F5344CB8AC3E}">
        <p14:creationId xmlns:p14="http://schemas.microsoft.com/office/powerpoint/2010/main" val="4086452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fade">
                                      <p:cBhvr>
                                        <p:cTn id="7" dur="500"/>
                                        <p:tgtEl>
                                          <p:spTgt spid="2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1"/>
                                        </p:tgtEl>
                                        <p:attrNameLst>
                                          <p:attrName>style.visibility</p:attrName>
                                        </p:attrNameLst>
                                      </p:cBhvr>
                                      <p:to>
                                        <p:strVal val="visible"/>
                                      </p:to>
                                    </p:set>
                                    <p:animEffect transition="in" filter="fade">
                                      <p:cBhvr>
                                        <p:cTn id="20" dur="500"/>
                                        <p:tgtEl>
                                          <p:spTgt spid="2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9"/>
                                        </p:tgtEl>
                                        <p:attrNameLst>
                                          <p:attrName>style.visibility</p:attrName>
                                        </p:attrNameLst>
                                      </p:cBhvr>
                                      <p:to>
                                        <p:strVal val="visible"/>
                                      </p:to>
                                    </p:set>
                                    <p:animEffect transition="in" filter="fade">
                                      <p:cBhvr>
                                        <p:cTn id="25" dur="500"/>
                                        <p:tgtEl>
                                          <p:spTgt spid="229"/>
                                        </p:tgtEl>
                                      </p:cBhvr>
                                    </p:animEffect>
                                  </p:childTnLst>
                                </p:cTn>
                              </p:par>
                              <p:par>
                                <p:cTn id="26" presetID="10" presetClass="entr" presetSubtype="0" fill="hold" nodeType="with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t>SQL Server 2019 Big Data Cluster Scenarios</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B3F0-C6E8-4B45-BF0D-A821BECF14F2}"/>
              </a:ext>
            </a:extLst>
          </p:cNvPr>
          <p:cNvSpPr>
            <a:spLocks noGrp="1"/>
          </p:cNvSpPr>
          <p:nvPr>
            <p:ph type="title"/>
          </p:nvPr>
        </p:nvSpPr>
        <p:spPr>
          <a:xfrm>
            <a:off x="420902" y="255225"/>
            <a:ext cx="11018520" cy="553998"/>
          </a:xfrm>
        </p:spPr>
        <p:txBody>
          <a:bodyPr/>
          <a:lstStyle/>
          <a:p>
            <a:r>
              <a:rPr lang="en-US" dirty="0"/>
              <a:t>SQL Server Big Data Cluster Architecture</a:t>
            </a:r>
          </a:p>
        </p:txBody>
      </p:sp>
      <p:grpSp>
        <p:nvGrpSpPr>
          <p:cNvPr id="24" name="Group 23">
            <a:extLst>
              <a:ext uri="{FF2B5EF4-FFF2-40B4-BE49-F238E27FC236}">
                <a16:creationId xmlns:a16="http://schemas.microsoft.com/office/drawing/2014/main" id="{C15504BB-55FB-6D44-9A40-CE8EC6D29A61}"/>
              </a:ext>
            </a:extLst>
          </p:cNvPr>
          <p:cNvGrpSpPr/>
          <p:nvPr/>
        </p:nvGrpSpPr>
        <p:grpSpPr>
          <a:xfrm>
            <a:off x="2121895" y="1894433"/>
            <a:ext cx="9717457" cy="3679346"/>
            <a:chOff x="2207623" y="1668010"/>
            <a:chExt cx="9717457" cy="3679346"/>
          </a:xfrm>
        </p:grpSpPr>
        <p:sp>
          <p:nvSpPr>
            <p:cNvPr id="358" name="Rectangle 357">
              <a:extLst>
                <a:ext uri="{FF2B5EF4-FFF2-40B4-BE49-F238E27FC236}">
                  <a16:creationId xmlns:a16="http://schemas.microsoft.com/office/drawing/2014/main" id="{CD7CA6D3-F28E-6C4F-8710-4F89B59F298E}"/>
                </a:ext>
              </a:extLst>
            </p:cNvPr>
            <p:cNvSpPr/>
            <p:nvPr/>
          </p:nvSpPr>
          <p:spPr>
            <a:xfrm>
              <a:off x="2207623" y="1910200"/>
              <a:ext cx="9717457" cy="343715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71" name="TextBox 170">
              <a:extLst>
                <a:ext uri="{FF2B5EF4-FFF2-40B4-BE49-F238E27FC236}">
                  <a16:creationId xmlns:a16="http://schemas.microsoft.com/office/drawing/2014/main" id="{8D8A9E50-8E89-4463-9A06-114F5E9AC68D}"/>
                </a:ext>
              </a:extLst>
            </p:cNvPr>
            <p:cNvSpPr txBox="1"/>
            <p:nvPr/>
          </p:nvSpPr>
          <p:spPr>
            <a:xfrm>
              <a:off x="2207623" y="1668010"/>
              <a:ext cx="1269836"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Cluster</a:t>
              </a:r>
            </a:p>
          </p:txBody>
        </p:sp>
      </p:grpSp>
      <p:grpSp>
        <p:nvGrpSpPr>
          <p:cNvPr id="27" name="Group 26">
            <a:extLst>
              <a:ext uri="{FF2B5EF4-FFF2-40B4-BE49-F238E27FC236}">
                <a16:creationId xmlns:a16="http://schemas.microsoft.com/office/drawing/2014/main" id="{F3D145BC-F7D5-C540-A99E-50CCF5B1EBB7}"/>
              </a:ext>
            </a:extLst>
          </p:cNvPr>
          <p:cNvGrpSpPr/>
          <p:nvPr/>
        </p:nvGrpSpPr>
        <p:grpSpPr>
          <a:xfrm>
            <a:off x="6018494" y="2546169"/>
            <a:ext cx="4332209" cy="1428112"/>
            <a:chOff x="6104222" y="2319746"/>
            <a:chExt cx="4332209" cy="1428112"/>
          </a:xfrm>
        </p:grpSpPr>
        <p:grpSp>
          <p:nvGrpSpPr>
            <p:cNvPr id="14" name="Group 13">
              <a:extLst>
                <a:ext uri="{FF2B5EF4-FFF2-40B4-BE49-F238E27FC236}">
                  <a16:creationId xmlns:a16="http://schemas.microsoft.com/office/drawing/2014/main" id="{7EF3B390-4933-9E44-AD53-E25E23CB21B1}"/>
                </a:ext>
              </a:extLst>
            </p:cNvPr>
            <p:cNvGrpSpPr/>
            <p:nvPr/>
          </p:nvGrpSpPr>
          <p:grpSpPr>
            <a:xfrm>
              <a:off x="6104222" y="2319746"/>
              <a:ext cx="4332209" cy="1023523"/>
              <a:chOff x="6104222" y="2319746"/>
              <a:chExt cx="4332209" cy="1023523"/>
            </a:xfrm>
          </p:grpSpPr>
          <p:cxnSp>
            <p:nvCxnSpPr>
              <p:cNvPr id="13" name="Straight Arrow Connector 12">
                <a:extLst>
                  <a:ext uri="{FF2B5EF4-FFF2-40B4-BE49-F238E27FC236}">
                    <a16:creationId xmlns:a16="http://schemas.microsoft.com/office/drawing/2014/main" id="{5B1FE8DC-0528-4919-B74D-E53AA4CDFF23}"/>
                  </a:ext>
                </a:extLst>
              </p:cNvPr>
              <p:cNvCxnSpPr>
                <a:cxnSpLocks/>
              </p:cNvCxnSpPr>
              <p:nvPr/>
            </p:nvCxnSpPr>
            <p:spPr>
              <a:xfrm>
                <a:off x="8107165" y="2319746"/>
                <a:ext cx="1" cy="17428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6BC3D8E-080D-444B-9279-5C3E5FF372F3}"/>
                  </a:ext>
                </a:extLst>
              </p:cNvPr>
              <p:cNvGrpSpPr/>
              <p:nvPr/>
            </p:nvGrpSpPr>
            <p:grpSpPr>
              <a:xfrm>
                <a:off x="6104222" y="2552611"/>
                <a:ext cx="4332209" cy="790658"/>
                <a:chOff x="6104222" y="2941231"/>
                <a:chExt cx="4332209" cy="790658"/>
              </a:xfrm>
            </p:grpSpPr>
            <p:sp>
              <p:nvSpPr>
                <p:cNvPr id="370" name="Rectangle 369">
                  <a:extLst>
                    <a:ext uri="{FF2B5EF4-FFF2-40B4-BE49-F238E27FC236}">
                      <a16:creationId xmlns:a16="http://schemas.microsoft.com/office/drawing/2014/main" id="{83F84B8E-3B50-C547-8BBB-522B1D0BF60A}"/>
                    </a:ext>
                  </a:extLst>
                </p:cNvPr>
                <p:cNvSpPr/>
                <p:nvPr/>
              </p:nvSpPr>
              <p:spPr>
                <a:xfrm>
                  <a:off x="6104222" y="2941231"/>
                  <a:ext cx="4332209"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6" name="Rectangle 175">
                  <a:extLst>
                    <a:ext uri="{FF2B5EF4-FFF2-40B4-BE49-F238E27FC236}">
                      <a16:creationId xmlns:a16="http://schemas.microsoft.com/office/drawing/2014/main" id="{24CAFD6D-9677-4A43-BFB9-F66AD8A0F2C8}"/>
                    </a:ext>
                  </a:extLst>
                </p:cNvPr>
                <p:cNvSpPr/>
                <p:nvPr/>
              </p:nvSpPr>
              <p:spPr>
                <a:xfrm>
                  <a:off x="6217111" y="3216793"/>
                  <a:ext cx="1160433"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7" name="Rectangle 176">
                  <a:extLst>
                    <a:ext uri="{FF2B5EF4-FFF2-40B4-BE49-F238E27FC236}">
                      <a16:creationId xmlns:a16="http://schemas.microsoft.com/office/drawing/2014/main" id="{C6D412FC-B60A-4C64-A9AC-1B69BD6D09B5}"/>
                    </a:ext>
                  </a:extLst>
                </p:cNvPr>
                <p:cNvSpPr/>
                <p:nvPr/>
              </p:nvSpPr>
              <p:spPr>
                <a:xfrm>
                  <a:off x="7488640" y="3216793"/>
                  <a:ext cx="118786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8" name="Rectangle 177">
                  <a:extLst>
                    <a:ext uri="{FF2B5EF4-FFF2-40B4-BE49-F238E27FC236}">
                      <a16:creationId xmlns:a16="http://schemas.microsoft.com/office/drawing/2014/main" id="{9A7168CA-422D-45FB-BE5B-455C7C547498}"/>
                    </a:ext>
                  </a:extLst>
                </p:cNvPr>
                <p:cNvSpPr/>
                <p:nvPr/>
              </p:nvSpPr>
              <p:spPr>
                <a:xfrm>
                  <a:off x="9155070" y="3216793"/>
                  <a:ext cx="1170774"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9" name="Rectangle 178">
                  <a:extLst>
                    <a:ext uri="{FF2B5EF4-FFF2-40B4-BE49-F238E27FC236}">
                      <a16:creationId xmlns:a16="http://schemas.microsoft.com/office/drawing/2014/main" id="{BE9E4212-8ABB-460D-B29A-A98FC38E127B}"/>
                    </a:ext>
                  </a:extLst>
                </p:cNvPr>
                <p:cNvSpPr/>
                <p:nvPr/>
              </p:nvSpPr>
              <p:spPr>
                <a:xfrm>
                  <a:off x="8835922" y="3286043"/>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grpSp>
        </p:grpSp>
        <p:cxnSp>
          <p:nvCxnSpPr>
            <p:cNvPr id="37" name="Straight Connector 36">
              <a:extLst>
                <a:ext uri="{FF2B5EF4-FFF2-40B4-BE49-F238E27FC236}">
                  <a16:creationId xmlns:a16="http://schemas.microsoft.com/office/drawing/2014/main" id="{672E99E8-03BF-4768-9763-5F93EB31AB24}"/>
                </a:ext>
              </a:extLst>
            </p:cNvPr>
            <p:cNvCxnSpPr>
              <a:cxnSpLocks/>
            </p:cNvCxnSpPr>
            <p:nvPr/>
          </p:nvCxnSpPr>
          <p:spPr>
            <a:xfrm>
              <a:off x="8063790" y="3218839"/>
              <a:ext cx="0" cy="529019"/>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F435F568-8824-914C-857C-D6D985A3D075}"/>
              </a:ext>
            </a:extLst>
          </p:cNvPr>
          <p:cNvGrpSpPr/>
          <p:nvPr/>
        </p:nvGrpSpPr>
        <p:grpSpPr>
          <a:xfrm>
            <a:off x="284612" y="2505658"/>
            <a:ext cx="7735082" cy="1075205"/>
            <a:chOff x="370340" y="2279235"/>
            <a:chExt cx="7735082" cy="1075205"/>
          </a:xfrm>
        </p:grpSpPr>
        <p:cxnSp>
          <p:nvCxnSpPr>
            <p:cNvPr id="136" name="Straight Connector 135">
              <a:extLst>
                <a:ext uri="{FF2B5EF4-FFF2-40B4-BE49-F238E27FC236}">
                  <a16:creationId xmlns:a16="http://schemas.microsoft.com/office/drawing/2014/main" id="{6601B619-AA66-3E4B-A7F9-851582DEDEB8}"/>
                </a:ext>
              </a:extLst>
            </p:cNvPr>
            <p:cNvCxnSpPr>
              <a:cxnSpLocks/>
              <a:stCxn id="172" idx="1"/>
            </p:cNvCxnSpPr>
            <p:nvPr/>
          </p:nvCxnSpPr>
          <p:spPr>
            <a:xfrm flipH="1">
              <a:off x="1982626" y="3028228"/>
              <a:ext cx="547982" cy="0"/>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C2846D-2A52-454A-B91F-6D413BDB1F95}"/>
                </a:ext>
              </a:extLst>
            </p:cNvPr>
            <p:cNvGrpSpPr/>
            <p:nvPr/>
          </p:nvGrpSpPr>
          <p:grpSpPr>
            <a:xfrm>
              <a:off x="370340" y="2279235"/>
              <a:ext cx="7735082" cy="1075205"/>
              <a:chOff x="370340" y="2279235"/>
              <a:chExt cx="7735082" cy="1075205"/>
            </a:xfrm>
          </p:grpSpPr>
          <p:grpSp>
            <p:nvGrpSpPr>
              <p:cNvPr id="40" name="Group 39">
                <a:extLst>
                  <a:ext uri="{FF2B5EF4-FFF2-40B4-BE49-F238E27FC236}">
                    <a16:creationId xmlns:a16="http://schemas.microsoft.com/office/drawing/2014/main" id="{007B1569-CC16-4ACA-B378-441F54B50587}"/>
                  </a:ext>
                </a:extLst>
              </p:cNvPr>
              <p:cNvGrpSpPr/>
              <p:nvPr/>
            </p:nvGrpSpPr>
            <p:grpSpPr>
              <a:xfrm>
                <a:off x="2413947" y="2552611"/>
                <a:ext cx="1226561" cy="790658"/>
                <a:chOff x="2413947" y="2847225"/>
                <a:chExt cx="1226561" cy="790658"/>
              </a:xfrm>
            </p:grpSpPr>
            <p:sp>
              <p:nvSpPr>
                <p:cNvPr id="383" name="Rectangle 382">
                  <a:extLst>
                    <a:ext uri="{FF2B5EF4-FFF2-40B4-BE49-F238E27FC236}">
                      <a16:creationId xmlns:a16="http://schemas.microsoft.com/office/drawing/2014/main" id="{60D70C8C-47F1-A048-8107-CDF80A6B0E6A}"/>
                    </a:ext>
                  </a:extLst>
                </p:cNvPr>
                <p:cNvSpPr/>
                <p:nvPr/>
              </p:nvSpPr>
              <p:spPr>
                <a:xfrm>
                  <a:off x="2413947" y="2847225"/>
                  <a:ext cx="1226561"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2" name="Rectangle 171">
                  <a:extLst>
                    <a:ext uri="{FF2B5EF4-FFF2-40B4-BE49-F238E27FC236}">
                      <a16:creationId xmlns:a16="http://schemas.microsoft.com/office/drawing/2014/main" id="{89DC9FD9-105B-4316-94A7-BDB88592F37C}"/>
                    </a:ext>
                  </a:extLst>
                </p:cNvPr>
                <p:cNvSpPr/>
                <p:nvPr/>
              </p:nvSpPr>
              <p:spPr>
                <a:xfrm>
                  <a:off x="2530608"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grpSp>
            <p:nvGrpSpPr>
              <p:cNvPr id="44" name="Group 43">
                <a:extLst>
                  <a:ext uri="{FF2B5EF4-FFF2-40B4-BE49-F238E27FC236}">
                    <a16:creationId xmlns:a16="http://schemas.microsoft.com/office/drawing/2014/main" id="{C0B88CBD-5512-479C-B733-1723750AA82D}"/>
                  </a:ext>
                </a:extLst>
              </p:cNvPr>
              <p:cNvGrpSpPr/>
              <p:nvPr/>
            </p:nvGrpSpPr>
            <p:grpSpPr>
              <a:xfrm>
                <a:off x="370340" y="2279235"/>
                <a:ext cx="1618588" cy="1075205"/>
                <a:chOff x="370340" y="3924085"/>
                <a:chExt cx="1618588" cy="1075205"/>
              </a:xfrm>
            </p:grpSpPr>
            <p:sp>
              <p:nvSpPr>
                <p:cNvPr id="378" name="Rectangle 377">
                  <a:extLst>
                    <a:ext uri="{FF2B5EF4-FFF2-40B4-BE49-F238E27FC236}">
                      <a16:creationId xmlns:a16="http://schemas.microsoft.com/office/drawing/2014/main" id="{26DAA9E4-FAB4-0A44-9035-DB460FC7AFED}"/>
                    </a:ext>
                  </a:extLst>
                </p:cNvPr>
                <p:cNvSpPr/>
                <p:nvPr/>
              </p:nvSpPr>
              <p:spPr>
                <a:xfrm>
                  <a:off x="446314" y="4187440"/>
                  <a:ext cx="1542614" cy="8118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endParaRPr lang="en-US" sz="1200" dirty="0">
                    <a:solidFill>
                      <a:schemeClr val="tx2"/>
                    </a:solidFill>
                    <a:latin typeface="Segoe UI" panose="020B0502040204020203" pitchFamily="34" charset="0"/>
                    <a:cs typeface="Segoe UI" panose="020B0502040204020203" pitchFamily="34" charset="0"/>
                  </a:endParaRPr>
                </a:p>
              </p:txBody>
            </p:sp>
            <p:sp>
              <p:nvSpPr>
                <p:cNvPr id="130" name="TextBox 129">
                  <a:extLst>
                    <a:ext uri="{FF2B5EF4-FFF2-40B4-BE49-F238E27FC236}">
                      <a16:creationId xmlns:a16="http://schemas.microsoft.com/office/drawing/2014/main" id="{7C46B434-30D1-4547-B4A6-CAF0CEB9F8A1}"/>
                    </a:ext>
                  </a:extLst>
                </p:cNvPr>
                <p:cNvSpPr txBox="1"/>
                <p:nvPr/>
              </p:nvSpPr>
              <p:spPr>
                <a:xfrm>
                  <a:off x="370340" y="3924085"/>
                  <a:ext cx="1613999"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External data sources</a:t>
                  </a:r>
                </a:p>
              </p:txBody>
            </p:sp>
            <p:pic>
              <p:nvPicPr>
                <p:cNvPr id="16" name="Picture 15">
                  <a:extLst>
                    <a:ext uri="{FF2B5EF4-FFF2-40B4-BE49-F238E27FC236}">
                      <a16:creationId xmlns:a16="http://schemas.microsoft.com/office/drawing/2014/main" id="{BA283E28-207B-4F29-A869-50C56DFE32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142" y="4686332"/>
                  <a:ext cx="653815" cy="177602"/>
                </a:xfrm>
                <a:prstGeom prst="rect">
                  <a:avLst/>
                </a:prstGeom>
              </p:spPr>
            </p:pic>
            <p:pic>
              <p:nvPicPr>
                <p:cNvPr id="18" name="Picture 17">
                  <a:extLst>
                    <a:ext uri="{FF2B5EF4-FFF2-40B4-BE49-F238E27FC236}">
                      <a16:creationId xmlns:a16="http://schemas.microsoft.com/office/drawing/2014/main" id="{79FFACEE-9020-46F6-8ED1-9402CB42F2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49930" y="4377334"/>
                  <a:ext cx="488117" cy="112526"/>
                </a:xfrm>
                <a:prstGeom prst="rect">
                  <a:avLst/>
                </a:prstGeom>
              </p:spPr>
            </p:pic>
            <p:pic>
              <p:nvPicPr>
                <p:cNvPr id="21" name="Picture 20">
                  <a:extLst>
                    <a:ext uri="{FF2B5EF4-FFF2-40B4-BE49-F238E27FC236}">
                      <a16:creationId xmlns:a16="http://schemas.microsoft.com/office/drawing/2014/main" id="{D80B2BB8-C926-4C5F-8542-983C8CA009D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3686" y="4738698"/>
                  <a:ext cx="585535" cy="83017"/>
                </a:xfrm>
                <a:prstGeom prst="rect">
                  <a:avLst/>
                </a:prstGeom>
              </p:spPr>
            </p:pic>
            <p:pic>
              <p:nvPicPr>
                <p:cNvPr id="29" name="Picture 28">
                  <a:extLst>
                    <a:ext uri="{FF2B5EF4-FFF2-40B4-BE49-F238E27FC236}">
                      <a16:creationId xmlns:a16="http://schemas.microsoft.com/office/drawing/2014/main" id="{3F690E81-88FC-43A4-AB7A-BFA86C18B26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08913" y="4257906"/>
                  <a:ext cx="678953" cy="342792"/>
                </a:xfrm>
                <a:prstGeom prst="rect">
                  <a:avLst/>
                </a:prstGeom>
              </p:spPr>
            </p:pic>
          </p:grpSp>
          <p:sp>
            <p:nvSpPr>
              <p:cNvPr id="288" name="Freeform 287">
                <a:extLst>
                  <a:ext uri="{FF2B5EF4-FFF2-40B4-BE49-F238E27FC236}">
                    <a16:creationId xmlns:a16="http://schemas.microsoft.com/office/drawing/2014/main" id="{C8D41B75-444A-8E44-938F-7E779329E1A8}"/>
                  </a:ext>
                </a:extLst>
              </p:cNvPr>
              <p:cNvSpPr/>
              <p:nvPr/>
            </p:nvSpPr>
            <p:spPr bwMode="auto">
              <a:xfrm rot="10800000">
                <a:off x="2945404" y="2371995"/>
                <a:ext cx="5160018"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2" name="Group 21">
            <a:extLst>
              <a:ext uri="{FF2B5EF4-FFF2-40B4-BE49-F238E27FC236}">
                <a16:creationId xmlns:a16="http://schemas.microsoft.com/office/drawing/2014/main" id="{ED019FB9-EE28-D74D-86B4-38FA07D173EC}"/>
              </a:ext>
            </a:extLst>
          </p:cNvPr>
          <p:cNvGrpSpPr/>
          <p:nvPr/>
        </p:nvGrpSpPr>
        <p:grpSpPr>
          <a:xfrm>
            <a:off x="562325" y="3591197"/>
            <a:ext cx="3157593" cy="1853193"/>
            <a:chOff x="648053" y="3364774"/>
            <a:chExt cx="3157593" cy="1853193"/>
          </a:xfrm>
        </p:grpSpPr>
        <p:grpSp>
          <p:nvGrpSpPr>
            <p:cNvPr id="20" name="Group 19">
              <a:extLst>
                <a:ext uri="{FF2B5EF4-FFF2-40B4-BE49-F238E27FC236}">
                  <a16:creationId xmlns:a16="http://schemas.microsoft.com/office/drawing/2014/main" id="{01180750-AC36-E14C-B8A7-DA58F9BBDA72}"/>
                </a:ext>
              </a:extLst>
            </p:cNvPr>
            <p:cNvGrpSpPr/>
            <p:nvPr/>
          </p:nvGrpSpPr>
          <p:grpSpPr>
            <a:xfrm>
              <a:off x="648053" y="3364774"/>
              <a:ext cx="3157593" cy="1853193"/>
              <a:chOff x="648053" y="3364774"/>
              <a:chExt cx="3157593" cy="1853193"/>
            </a:xfrm>
          </p:grpSpPr>
          <p:sp>
            <p:nvSpPr>
              <p:cNvPr id="9" name="Freeform 8">
                <a:extLst>
                  <a:ext uri="{FF2B5EF4-FFF2-40B4-BE49-F238E27FC236}">
                    <a16:creationId xmlns:a16="http://schemas.microsoft.com/office/drawing/2014/main" id="{FD085326-2DEC-E142-A618-125D1ACD16F8}"/>
                  </a:ext>
                </a:extLst>
              </p:cNvPr>
              <p:cNvSpPr/>
              <p:nvPr/>
            </p:nvSpPr>
            <p:spPr bwMode="auto">
              <a:xfrm>
                <a:off x="1175657" y="3364774"/>
                <a:ext cx="2629989" cy="914400"/>
              </a:xfrm>
              <a:custGeom>
                <a:avLst/>
                <a:gdLst>
                  <a:gd name="connsiteX0" fmla="*/ 2629989 w 2629989"/>
                  <a:gd name="connsiteY0" fmla="*/ 914400 h 914400"/>
                  <a:gd name="connsiteX1" fmla="*/ 0 w 2629989"/>
                  <a:gd name="connsiteY1" fmla="*/ 914400 h 914400"/>
                  <a:gd name="connsiteX2" fmla="*/ 0 w 2629989"/>
                  <a:gd name="connsiteY2" fmla="*/ 0 h 914400"/>
                </a:gdLst>
                <a:ahLst/>
                <a:cxnLst>
                  <a:cxn ang="0">
                    <a:pos x="connsiteX0" y="connsiteY0"/>
                  </a:cxn>
                  <a:cxn ang="0">
                    <a:pos x="connsiteX1" y="connsiteY1"/>
                  </a:cxn>
                  <a:cxn ang="0">
                    <a:pos x="connsiteX2" y="connsiteY2"/>
                  </a:cxn>
                </a:cxnLst>
                <a:rect l="l" t="t" r="r" b="b"/>
                <a:pathLst>
                  <a:path w="2629989" h="914400">
                    <a:moveTo>
                      <a:pt x="2629989" y="914400"/>
                    </a:moveTo>
                    <a:lnTo>
                      <a:pt x="0" y="914400"/>
                    </a:ln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4B5A3B7-C252-7246-8581-3B93DD47C4C1}"/>
                  </a:ext>
                </a:extLst>
              </p:cNvPr>
              <p:cNvGrpSpPr/>
              <p:nvPr/>
            </p:nvGrpSpPr>
            <p:grpSpPr>
              <a:xfrm>
                <a:off x="648053" y="4681467"/>
                <a:ext cx="3157593" cy="536500"/>
                <a:chOff x="648053" y="5070087"/>
                <a:chExt cx="3157593" cy="536500"/>
              </a:xfrm>
            </p:grpSpPr>
            <p:sp>
              <p:nvSpPr>
                <p:cNvPr id="250" name="Rectangle: Rounded Corners 53">
                  <a:extLst>
                    <a:ext uri="{FF2B5EF4-FFF2-40B4-BE49-F238E27FC236}">
                      <a16:creationId xmlns:a16="http://schemas.microsoft.com/office/drawing/2014/main" id="{D47238E0-BC9C-DD41-A1BC-9B72ACF203A5}"/>
                    </a:ext>
                  </a:extLst>
                </p:cNvPr>
                <p:cNvSpPr/>
                <p:nvPr/>
              </p:nvSpPr>
              <p:spPr>
                <a:xfrm>
                  <a:off x="648053" y="5284119"/>
                  <a:ext cx="1125072" cy="322468"/>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mj-lt"/>
                      <a:cs typeface="Segoe UI" panose="020B0502040204020203" pitchFamily="34" charset="0"/>
                    </a:rPr>
                    <a:t>IoT data</a:t>
                  </a:r>
                </a:p>
              </p:txBody>
            </p:sp>
            <p:sp>
              <p:nvSpPr>
                <p:cNvPr id="251" name="Freeform 250">
                  <a:extLst>
                    <a:ext uri="{FF2B5EF4-FFF2-40B4-BE49-F238E27FC236}">
                      <a16:creationId xmlns:a16="http://schemas.microsoft.com/office/drawing/2014/main" id="{9ADFCDB4-1A25-2D47-B4F4-77C816A2688B}"/>
                    </a:ext>
                  </a:extLst>
                </p:cNvPr>
                <p:cNvSpPr/>
                <p:nvPr/>
              </p:nvSpPr>
              <p:spPr bwMode="auto">
                <a:xfrm flipV="1">
                  <a:off x="1583473" y="5070087"/>
                  <a:ext cx="2222173" cy="45719"/>
                </a:xfrm>
                <a:custGeom>
                  <a:avLst/>
                  <a:gdLst>
                    <a:gd name="connsiteX0" fmla="*/ 2629989 w 2629989"/>
                    <a:gd name="connsiteY0" fmla="*/ 914400 h 914400"/>
                    <a:gd name="connsiteX1" fmla="*/ 0 w 2629989"/>
                    <a:gd name="connsiteY1" fmla="*/ 914400 h 914400"/>
                    <a:gd name="connsiteX2" fmla="*/ 0 w 2629989"/>
                    <a:gd name="connsiteY2" fmla="*/ 0 h 914400"/>
                    <a:gd name="connsiteX0" fmla="*/ 2629989 w 2629989"/>
                    <a:gd name="connsiteY0" fmla="*/ 0 h 0"/>
                    <a:gd name="connsiteX1" fmla="*/ 0 w 2629989"/>
                    <a:gd name="connsiteY1" fmla="*/ 0 h 0"/>
                  </a:gdLst>
                  <a:ahLst/>
                  <a:cxnLst>
                    <a:cxn ang="0">
                      <a:pos x="connsiteX0" y="connsiteY0"/>
                    </a:cxn>
                    <a:cxn ang="0">
                      <a:pos x="connsiteX1" y="connsiteY1"/>
                    </a:cxn>
                  </a:cxnLst>
                  <a:rect l="l" t="t" r="r" b="b"/>
                  <a:pathLst>
                    <a:path w="2629989">
                      <a:moveTo>
                        <a:pt x="2629989" y="0"/>
                      </a:move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36" name="Group 235">
              <a:extLst>
                <a:ext uri="{FF2B5EF4-FFF2-40B4-BE49-F238E27FC236}">
                  <a16:creationId xmlns:a16="http://schemas.microsoft.com/office/drawing/2014/main" id="{3712DC54-4164-1B46-8B3B-817ECEF68F65}"/>
                </a:ext>
              </a:extLst>
            </p:cNvPr>
            <p:cNvGrpSpPr/>
            <p:nvPr/>
          </p:nvGrpSpPr>
          <p:grpSpPr>
            <a:xfrm>
              <a:off x="997320" y="4591136"/>
              <a:ext cx="440602" cy="311882"/>
              <a:chOff x="6309111" y="4815821"/>
              <a:chExt cx="657292" cy="465267"/>
            </a:xfrm>
          </p:grpSpPr>
          <p:sp>
            <p:nvSpPr>
              <p:cNvPr id="237" name="Freeform 236">
                <a:extLst>
                  <a:ext uri="{FF2B5EF4-FFF2-40B4-BE49-F238E27FC236}">
                    <a16:creationId xmlns:a16="http://schemas.microsoft.com/office/drawing/2014/main" id="{5D90E92C-405B-3F42-B2D3-C1044DC6A471}"/>
                  </a:ext>
                </a:extLst>
              </p:cNvPr>
              <p:cNvSpPr/>
              <p:nvPr/>
            </p:nvSpPr>
            <p:spPr bwMode="auto">
              <a:xfrm rot="10800000" flipH="1">
                <a:off x="6309111" y="4976523"/>
                <a:ext cx="657292" cy="256793"/>
              </a:xfrm>
              <a:custGeom>
                <a:avLst/>
                <a:gdLst>
                  <a:gd name="connsiteX0" fmla="*/ 299413 w 530284"/>
                  <a:gd name="connsiteY0" fmla="*/ 235659 h 235659"/>
                  <a:gd name="connsiteX1" fmla="*/ 436233 w 530284"/>
                  <a:gd name="connsiteY1" fmla="*/ 235659 h 235659"/>
                  <a:gd name="connsiteX2" fmla="*/ 530284 w 530284"/>
                  <a:gd name="connsiteY2" fmla="*/ 141608 h 235659"/>
                  <a:gd name="connsiteX3" fmla="*/ 530283 w 530284"/>
                  <a:gd name="connsiteY3" fmla="*/ 47558 h 235659"/>
                  <a:gd name="connsiteX4" fmla="*/ 529572 w 530284"/>
                  <a:gd name="connsiteY4" fmla="*/ 47558 h 235659"/>
                  <a:gd name="connsiteX5" fmla="*/ 529572 w 530284"/>
                  <a:gd name="connsiteY5" fmla="*/ 22945 h 235659"/>
                  <a:gd name="connsiteX6" fmla="*/ 506628 w 530284"/>
                  <a:gd name="connsiteY6" fmla="*/ 1 h 235659"/>
                  <a:gd name="connsiteX7" fmla="*/ 334732 w 530284"/>
                  <a:gd name="connsiteY7" fmla="*/ 1 h 235659"/>
                  <a:gd name="connsiteX8" fmla="*/ 334732 w 530284"/>
                  <a:gd name="connsiteY8" fmla="*/ 0 h 235659"/>
                  <a:gd name="connsiteX9" fmla="*/ 110382 w 530284"/>
                  <a:gd name="connsiteY9" fmla="*/ 0 h 235659"/>
                  <a:gd name="connsiteX10" fmla="*/ 0 w 530284"/>
                  <a:gd name="connsiteY10" fmla="*/ 86901 h 235659"/>
                  <a:gd name="connsiteX11" fmla="*/ 76625 w 530284"/>
                  <a:gd name="connsiteY11" fmla="*/ 229307 h 235659"/>
                  <a:gd name="connsiteX12" fmla="*/ 299413 w 530284"/>
                  <a:gd name="connsiteY12" fmla="*/ 234788 h 2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84" h="235659">
                    <a:moveTo>
                      <a:pt x="299413" y="235659"/>
                    </a:moveTo>
                    <a:lnTo>
                      <a:pt x="436233" y="235659"/>
                    </a:lnTo>
                    <a:cubicBezTo>
                      <a:pt x="488176" y="235659"/>
                      <a:pt x="530284" y="193551"/>
                      <a:pt x="530284" y="141608"/>
                    </a:cubicBezTo>
                    <a:cubicBezTo>
                      <a:pt x="530284" y="110258"/>
                      <a:pt x="530283" y="78908"/>
                      <a:pt x="530283" y="47558"/>
                    </a:cubicBezTo>
                    <a:lnTo>
                      <a:pt x="529572" y="47558"/>
                    </a:lnTo>
                    <a:lnTo>
                      <a:pt x="529572" y="22945"/>
                    </a:lnTo>
                    <a:cubicBezTo>
                      <a:pt x="529572" y="10273"/>
                      <a:pt x="519300" y="1"/>
                      <a:pt x="506628" y="1"/>
                    </a:cubicBezTo>
                    <a:lnTo>
                      <a:pt x="334732" y="1"/>
                    </a:lnTo>
                    <a:lnTo>
                      <a:pt x="334732" y="0"/>
                    </a:lnTo>
                    <a:lnTo>
                      <a:pt x="110382" y="0"/>
                    </a:lnTo>
                    <a:cubicBezTo>
                      <a:pt x="49420" y="0"/>
                      <a:pt x="0" y="38907"/>
                      <a:pt x="0" y="86901"/>
                    </a:cubicBezTo>
                    <a:lnTo>
                      <a:pt x="76625" y="229307"/>
                    </a:lnTo>
                    <a:lnTo>
                      <a:pt x="299413" y="234788"/>
                    </a:lnTo>
                    <a:close/>
                  </a:path>
                </a:pathLst>
              </a:cu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C85B66D5-99B0-B643-A0B3-06FF23FB8C4B}"/>
                  </a:ext>
                </a:extLst>
              </p:cNvPr>
              <p:cNvSpPr/>
              <p:nvPr/>
            </p:nvSpPr>
            <p:spPr bwMode="auto">
              <a:xfrm>
                <a:off x="6373585"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B6C57984-FD3B-B142-A1D6-7C8ED8407049}"/>
                  </a:ext>
                </a:extLst>
              </p:cNvPr>
              <p:cNvSpPr/>
              <p:nvPr/>
            </p:nvSpPr>
            <p:spPr bwMode="auto">
              <a:xfrm>
                <a:off x="6731921"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40" name="Round Single Corner Rectangle 12">
                <a:extLst>
                  <a:ext uri="{FF2B5EF4-FFF2-40B4-BE49-F238E27FC236}">
                    <a16:creationId xmlns:a16="http://schemas.microsoft.com/office/drawing/2014/main" id="{C3C94367-F50C-CE43-9EF2-9A8547549316}"/>
                  </a:ext>
                </a:extLst>
              </p:cNvPr>
              <p:cNvSpPr/>
              <p:nvPr/>
            </p:nvSpPr>
            <p:spPr bwMode="auto">
              <a:xfrm>
                <a:off x="6574671" y="4815821"/>
                <a:ext cx="260296" cy="173908"/>
              </a:xfrm>
              <a:custGeom>
                <a:avLst/>
                <a:gdLst>
                  <a:gd name="connsiteX0" fmla="*/ 0 w 198549"/>
                  <a:gd name="connsiteY0" fmla="*/ 0 h 167558"/>
                  <a:gd name="connsiteX1" fmla="*/ 114770 w 198549"/>
                  <a:gd name="connsiteY1" fmla="*/ 0 h 167558"/>
                  <a:gd name="connsiteX2" fmla="*/ 198549 w 198549"/>
                  <a:gd name="connsiteY2" fmla="*/ 83779 h 167558"/>
                  <a:gd name="connsiteX3" fmla="*/ 198549 w 198549"/>
                  <a:gd name="connsiteY3" fmla="*/ 167558 h 167558"/>
                  <a:gd name="connsiteX4" fmla="*/ 0 w 198549"/>
                  <a:gd name="connsiteY4" fmla="*/ 167558 h 167558"/>
                  <a:gd name="connsiteX5" fmla="*/ 0 w 198549"/>
                  <a:gd name="connsiteY5" fmla="*/ 0 h 167558"/>
                  <a:gd name="connsiteX0" fmla="*/ 0 w 290624"/>
                  <a:gd name="connsiteY0" fmla="*/ 0 h 173908"/>
                  <a:gd name="connsiteX1" fmla="*/ 114770 w 290624"/>
                  <a:gd name="connsiteY1" fmla="*/ 0 h 173908"/>
                  <a:gd name="connsiteX2" fmla="*/ 19854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14770 w 290624"/>
                  <a:gd name="connsiteY1" fmla="*/ 0 h 173908"/>
                  <a:gd name="connsiteX2" fmla="*/ 23029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15152 h 189060"/>
                  <a:gd name="connsiteX1" fmla="*/ 114770 w 290624"/>
                  <a:gd name="connsiteY1" fmla="*/ 15152 h 189060"/>
                  <a:gd name="connsiteX2" fmla="*/ 150924 w 290624"/>
                  <a:gd name="connsiteY2" fmla="*/ 22731 h 189060"/>
                  <a:gd name="connsiteX3" fmla="*/ 290624 w 290624"/>
                  <a:gd name="connsiteY3" fmla="*/ 189060 h 189060"/>
                  <a:gd name="connsiteX4" fmla="*/ 0 w 290624"/>
                  <a:gd name="connsiteY4" fmla="*/ 182710 h 189060"/>
                  <a:gd name="connsiteX5" fmla="*/ 0 w 290624"/>
                  <a:gd name="connsiteY5" fmla="*/ 15152 h 189060"/>
                  <a:gd name="connsiteX0" fmla="*/ 0 w 290624"/>
                  <a:gd name="connsiteY0" fmla="*/ 0 h 173908"/>
                  <a:gd name="connsiteX1" fmla="*/ 114770 w 290624"/>
                  <a:gd name="connsiteY1" fmla="*/ 0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52870 w 290624"/>
                  <a:gd name="connsiteY1" fmla="*/ 3175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624" h="173908">
                    <a:moveTo>
                      <a:pt x="0" y="0"/>
                    </a:moveTo>
                    <a:lnTo>
                      <a:pt x="152870" y="3175"/>
                    </a:lnTo>
                    <a:cubicBezTo>
                      <a:pt x="199140" y="3175"/>
                      <a:pt x="287449" y="116884"/>
                      <a:pt x="287449" y="163154"/>
                    </a:cubicBezTo>
                    <a:lnTo>
                      <a:pt x="290624" y="173908"/>
                    </a:lnTo>
                    <a:lnTo>
                      <a:pt x="0" y="167558"/>
                    </a:lnTo>
                    <a:lnTo>
                      <a:pt x="0" y="0"/>
                    </a:lnTo>
                    <a:close/>
                  </a:path>
                </a:pathLst>
              </a:custGeom>
              <a:noFill/>
              <a:ln w="254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41" name="Straight Connector 240">
                <a:extLst>
                  <a:ext uri="{FF2B5EF4-FFF2-40B4-BE49-F238E27FC236}">
                    <a16:creationId xmlns:a16="http://schemas.microsoft.com/office/drawing/2014/main" id="{0790F52D-7A6C-264B-A26F-94397923E46D}"/>
                  </a:ext>
                </a:extLst>
              </p:cNvPr>
              <p:cNvCxnSpPr>
                <a:cxnSpLocks/>
              </p:cNvCxnSpPr>
              <p:nvPr/>
            </p:nvCxnSpPr>
            <p:spPr>
              <a:xfrm flipV="1">
                <a:off x="6413376" y="4815821"/>
                <a:ext cx="82726" cy="17845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CFDBB507-6A1C-8E4B-A0DF-4CEB5FE206B9}"/>
                  </a:ext>
                </a:extLst>
              </p:cNvPr>
              <p:cNvCxnSpPr>
                <a:cxnSpLocks/>
                <a:stCxn id="240" idx="0"/>
              </p:cNvCxnSpPr>
              <p:nvPr/>
            </p:nvCxnSpPr>
            <p:spPr>
              <a:xfrm flipH="1">
                <a:off x="6454355" y="4815821"/>
                <a:ext cx="120316"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9F9971DB-CFC0-D340-AA25-4A4FF88DEA72}"/>
              </a:ext>
            </a:extLst>
          </p:cNvPr>
          <p:cNvGrpSpPr/>
          <p:nvPr/>
        </p:nvGrpSpPr>
        <p:grpSpPr>
          <a:xfrm>
            <a:off x="1380196" y="1349230"/>
            <a:ext cx="10467574" cy="5191476"/>
            <a:chOff x="1465924" y="1122807"/>
            <a:chExt cx="10467574" cy="5191476"/>
          </a:xfrm>
        </p:grpSpPr>
        <p:sp>
          <p:nvSpPr>
            <p:cNvPr id="291" name="Freeform 290">
              <a:extLst>
                <a:ext uri="{FF2B5EF4-FFF2-40B4-BE49-F238E27FC236}">
                  <a16:creationId xmlns:a16="http://schemas.microsoft.com/office/drawing/2014/main" id="{C55379C5-6CB3-CF46-99CC-17030E28B308}"/>
                </a:ext>
              </a:extLst>
            </p:cNvPr>
            <p:cNvSpPr/>
            <p:nvPr/>
          </p:nvSpPr>
          <p:spPr bwMode="auto">
            <a:xfrm rot="10800000" flipH="1">
              <a:off x="8120048" y="2371992"/>
              <a:ext cx="2850445"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9CD8599E-AAFF-BD47-AD31-7CE287B66EDF}"/>
                </a:ext>
              </a:extLst>
            </p:cNvPr>
            <p:cNvGrpSpPr/>
            <p:nvPr/>
          </p:nvGrpSpPr>
          <p:grpSpPr>
            <a:xfrm>
              <a:off x="1465924" y="1122807"/>
              <a:ext cx="10467574" cy="5191476"/>
              <a:chOff x="1465924" y="1122807"/>
              <a:chExt cx="10467574" cy="5191476"/>
            </a:xfrm>
          </p:grpSpPr>
          <p:grpSp>
            <p:nvGrpSpPr>
              <p:cNvPr id="12" name="Group 11">
                <a:extLst>
                  <a:ext uri="{FF2B5EF4-FFF2-40B4-BE49-F238E27FC236}">
                    <a16:creationId xmlns:a16="http://schemas.microsoft.com/office/drawing/2014/main" id="{A4D3D3D3-8715-4336-8931-12E006C0F3DC}"/>
                  </a:ext>
                </a:extLst>
              </p:cNvPr>
              <p:cNvGrpSpPr/>
              <p:nvPr/>
            </p:nvGrpSpPr>
            <p:grpSpPr>
              <a:xfrm>
                <a:off x="10497148" y="2600853"/>
                <a:ext cx="916666" cy="1556697"/>
                <a:chOff x="8566575" y="2895467"/>
                <a:chExt cx="916678" cy="1556697"/>
              </a:xfrm>
            </p:grpSpPr>
            <p:sp>
              <p:nvSpPr>
                <p:cNvPr id="307" name="TextBox 306">
                  <a:extLst>
                    <a:ext uri="{FF2B5EF4-FFF2-40B4-BE49-F238E27FC236}">
                      <a16:creationId xmlns:a16="http://schemas.microsoft.com/office/drawing/2014/main" id="{46F7F0B2-72C6-DC42-ACB6-E00866669B0F}"/>
                    </a:ext>
                  </a:extLst>
                </p:cNvPr>
                <p:cNvSpPr txBox="1"/>
                <p:nvPr/>
              </p:nvSpPr>
              <p:spPr>
                <a:xfrm>
                  <a:off x="8596137" y="2895467"/>
                  <a:ext cx="887116" cy="577081"/>
                </a:xfrm>
                <a:prstGeom prst="rect">
                  <a:avLst/>
                </a:prstGeom>
                <a:noFill/>
                <a:ln w="12700">
                  <a:noFill/>
                  <a:prstDash val="dash"/>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Segoe UI" panose="020B0502040204020203" pitchFamily="34" charset="0"/>
                      <a:cs typeface="Segoe UI" panose="020B0502040204020203" pitchFamily="34" charset="0"/>
                    </a:rPr>
                    <a:t>Directly read from HDFS</a:t>
                  </a:r>
                </a:p>
              </p:txBody>
            </p:sp>
            <p:cxnSp>
              <p:nvCxnSpPr>
                <p:cNvPr id="31" name="Connector: Elbow 30">
                  <a:extLst>
                    <a:ext uri="{FF2B5EF4-FFF2-40B4-BE49-F238E27FC236}">
                      <a16:creationId xmlns:a16="http://schemas.microsoft.com/office/drawing/2014/main" id="{091CBD28-8825-4F95-97EC-E8B46E14FD04}"/>
                    </a:ext>
                  </a:extLst>
                </p:cNvPr>
                <p:cNvCxnSpPr>
                  <a:cxnSpLocks/>
                </p:cNvCxnSpPr>
                <p:nvPr/>
              </p:nvCxnSpPr>
              <p:spPr>
                <a:xfrm rot="5400000">
                  <a:off x="8351076" y="3758099"/>
                  <a:ext cx="909564" cy="478566"/>
                </a:xfrm>
                <a:prstGeom prst="bentConnector2">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C02FFDB-A6A3-6041-A47A-A1C2D85CF42F}"/>
                  </a:ext>
                </a:extLst>
              </p:cNvPr>
              <p:cNvGrpSpPr/>
              <p:nvPr/>
            </p:nvGrpSpPr>
            <p:grpSpPr>
              <a:xfrm>
                <a:off x="1465924" y="1122807"/>
                <a:ext cx="10467574" cy="5191476"/>
                <a:chOff x="1465924" y="1122807"/>
                <a:chExt cx="10467574" cy="5191476"/>
              </a:xfrm>
            </p:grpSpPr>
            <p:sp>
              <p:nvSpPr>
                <p:cNvPr id="229" name="TextBox 228">
                  <a:extLst>
                    <a:ext uri="{FF2B5EF4-FFF2-40B4-BE49-F238E27FC236}">
                      <a16:creationId xmlns:a16="http://schemas.microsoft.com/office/drawing/2014/main" id="{77F31403-FBDB-4EEF-903A-2A75AECFEDBE}"/>
                    </a:ext>
                  </a:extLst>
                </p:cNvPr>
                <p:cNvSpPr txBox="1"/>
                <p:nvPr/>
              </p:nvSpPr>
              <p:spPr>
                <a:xfrm>
                  <a:off x="2216041" y="6068062"/>
                  <a:ext cx="9717457" cy="246221"/>
                </a:xfrm>
                <a:prstGeom prst="rect">
                  <a:avLst/>
                </a:prstGeom>
                <a:noFill/>
                <a:ln w="12700">
                  <a:solidFill>
                    <a:srgbClr val="757575"/>
                  </a:solidFill>
                </a:ln>
              </p:spPr>
              <p:txBody>
                <a:bodyPr wrap="square" rtlCol="0">
                  <a:spAutoFit/>
                </a:bodyPr>
                <a:lstStyle/>
                <a:p>
                  <a:pPr algn="ctr" defTabSz="457200">
                    <a:defRPr/>
                  </a:pPr>
                  <a:r>
                    <a:rPr lang="en-US" sz="1000" b="1" dirty="0">
                      <a:solidFill>
                        <a:srgbClr val="0077D7"/>
                      </a:solidFill>
                      <a:latin typeface="+mj-lt"/>
                      <a:cs typeface="Segoe UI" panose="020B0502040204020203" pitchFamily="34" charset="0"/>
                    </a:rPr>
                    <a:t>Persistent storage </a:t>
                  </a:r>
                </a:p>
              </p:txBody>
            </p:sp>
            <p:sp>
              <p:nvSpPr>
                <p:cNvPr id="135" name="Rectangle 134">
                  <a:extLst>
                    <a:ext uri="{FF2B5EF4-FFF2-40B4-BE49-F238E27FC236}">
                      <a16:creationId xmlns:a16="http://schemas.microsoft.com/office/drawing/2014/main" id="{DC4DC094-453F-694E-87CC-1890F9B2CDF6}"/>
                    </a:ext>
                  </a:extLst>
                </p:cNvPr>
                <p:cNvSpPr/>
                <p:nvPr/>
              </p:nvSpPr>
              <p:spPr>
                <a:xfrm>
                  <a:off x="8801739" y="4085288"/>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sp>
              <p:nvSpPr>
                <p:cNvPr id="332" name="Rectangle 331">
                  <a:extLst>
                    <a:ext uri="{FF2B5EF4-FFF2-40B4-BE49-F238E27FC236}">
                      <a16:creationId xmlns:a16="http://schemas.microsoft.com/office/drawing/2014/main" id="{5555553C-0B66-8141-A97A-F8C3DAB84B06}"/>
                    </a:ext>
                  </a:extLst>
                </p:cNvPr>
                <p:cNvSpPr/>
                <p:nvPr/>
              </p:nvSpPr>
              <p:spPr>
                <a:xfrm>
                  <a:off x="6104221" y="3541509"/>
                  <a:ext cx="4332717" cy="16567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Storage pool</a:t>
                  </a:r>
                </a:p>
              </p:txBody>
            </p:sp>
            <p:sp>
              <p:nvSpPr>
                <p:cNvPr id="373" name="Rectangle 372">
                  <a:extLst>
                    <a:ext uri="{FF2B5EF4-FFF2-40B4-BE49-F238E27FC236}">
                      <a16:creationId xmlns:a16="http://schemas.microsoft.com/office/drawing/2014/main" id="{C99EFA25-E720-5145-9AD9-721C12DDEDD9}"/>
                    </a:ext>
                  </a:extLst>
                </p:cNvPr>
                <p:cNvSpPr/>
                <p:nvPr/>
              </p:nvSpPr>
              <p:spPr>
                <a:xfrm>
                  <a:off x="6930037" y="3474046"/>
                  <a:ext cx="1062524" cy="6893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88" name="Group 187">
                  <a:extLst>
                    <a:ext uri="{FF2B5EF4-FFF2-40B4-BE49-F238E27FC236}">
                      <a16:creationId xmlns:a16="http://schemas.microsoft.com/office/drawing/2014/main" id="{40AABA38-6FF8-43EC-9D34-17DE86E3B3A4}"/>
                    </a:ext>
                  </a:extLst>
                </p:cNvPr>
                <p:cNvGrpSpPr/>
                <p:nvPr/>
              </p:nvGrpSpPr>
              <p:grpSpPr>
                <a:xfrm>
                  <a:off x="9153376" y="3972909"/>
                  <a:ext cx="1164920" cy="886972"/>
                  <a:chOff x="8464489" y="2534822"/>
                  <a:chExt cx="1610123" cy="1334562"/>
                </a:xfrm>
              </p:grpSpPr>
              <p:sp>
                <p:nvSpPr>
                  <p:cNvPr id="201" name="Rectangle 200">
                    <a:extLst>
                      <a:ext uri="{FF2B5EF4-FFF2-40B4-BE49-F238E27FC236}">
                        <a16:creationId xmlns:a16="http://schemas.microsoft.com/office/drawing/2014/main" id="{B659A47B-2326-45C6-86E3-FEA68FE41FA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202" name="Straight Connector 201">
                    <a:extLst>
                      <a:ext uri="{FF2B5EF4-FFF2-40B4-BE49-F238E27FC236}">
                        <a16:creationId xmlns:a16="http://schemas.microsoft.com/office/drawing/2014/main" id="{BBC5D4C1-B7FD-478C-8A9D-BA73D06E9895}"/>
                      </a:ext>
                    </a:extLst>
                  </p:cNvPr>
                  <p:cNvCxnSpPr>
                    <a:cxnSpLocks/>
                  </p:cNvCxnSpPr>
                  <p:nvPr/>
                </p:nvCxnSpPr>
                <p:spPr>
                  <a:xfrm>
                    <a:off x="8839606"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2AD861E7-B27B-4AA4-8887-429C49BFC295}"/>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5" name="Straight Connector 204">
                    <a:extLst>
                      <a:ext uri="{FF2B5EF4-FFF2-40B4-BE49-F238E27FC236}">
                        <a16:creationId xmlns:a16="http://schemas.microsoft.com/office/drawing/2014/main" id="{0E21F37A-47E7-44DB-BEA0-E4DDCD18ACFE}"/>
                      </a:ext>
                    </a:extLst>
                  </p:cNvPr>
                  <p:cNvCxnSpPr>
                    <a:cxnSpLocks/>
                  </p:cNvCxnSpPr>
                  <p:nvPr/>
                </p:nvCxnSpPr>
                <p:spPr>
                  <a:xfrm>
                    <a:off x="9704625"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50C55D8D-07BE-403A-A287-6CEACB41AF10}"/>
                      </a:ext>
                    </a:extLst>
                  </p:cNvPr>
                  <p:cNvSpPr/>
                  <p:nvPr/>
                </p:nvSpPr>
                <p:spPr>
                  <a:xfrm>
                    <a:off x="8464489" y="347007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89" name="Group 188">
                  <a:extLst>
                    <a:ext uri="{FF2B5EF4-FFF2-40B4-BE49-F238E27FC236}">
                      <a16:creationId xmlns:a16="http://schemas.microsoft.com/office/drawing/2014/main" id="{0A227153-E73A-4926-A182-605BDBAD1DF2}"/>
                    </a:ext>
                  </a:extLst>
                </p:cNvPr>
                <p:cNvGrpSpPr/>
                <p:nvPr/>
              </p:nvGrpSpPr>
              <p:grpSpPr>
                <a:xfrm>
                  <a:off x="6223915" y="3972905"/>
                  <a:ext cx="1164920" cy="883619"/>
                  <a:chOff x="8464489" y="2534822"/>
                  <a:chExt cx="1610123" cy="1329517"/>
                </a:xfrm>
              </p:grpSpPr>
              <p:sp>
                <p:nvSpPr>
                  <p:cNvPr id="196" name="Rectangle 195">
                    <a:extLst>
                      <a:ext uri="{FF2B5EF4-FFF2-40B4-BE49-F238E27FC236}">
                        <a16:creationId xmlns:a16="http://schemas.microsoft.com/office/drawing/2014/main" id="{60BEBBC3-479A-4D87-B17F-988838490CE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7" name="Straight Connector 196">
                    <a:extLst>
                      <a:ext uri="{FF2B5EF4-FFF2-40B4-BE49-F238E27FC236}">
                        <a16:creationId xmlns:a16="http://schemas.microsoft.com/office/drawing/2014/main" id="{AAF6AF06-965F-4D9C-B0D7-DBE0A65971F9}"/>
                      </a:ext>
                    </a:extLst>
                  </p:cNvPr>
                  <p:cNvCxnSpPr>
                    <a:cxnSpLocks/>
                  </p:cNvCxnSpPr>
                  <p:nvPr/>
                </p:nvCxnSpPr>
                <p:spPr>
                  <a:xfrm>
                    <a:off x="8839606"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7F9B4C1B-16CA-4C90-8839-7FFEC4F0581F}"/>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0" name="Straight Connector 199">
                    <a:extLst>
                      <a:ext uri="{FF2B5EF4-FFF2-40B4-BE49-F238E27FC236}">
                        <a16:creationId xmlns:a16="http://schemas.microsoft.com/office/drawing/2014/main" id="{F637EAF5-5FDF-4DD4-8F89-FB58767C1A4B}"/>
                      </a:ext>
                    </a:extLst>
                  </p:cNvPr>
                  <p:cNvCxnSpPr>
                    <a:cxnSpLocks/>
                  </p:cNvCxnSpPr>
                  <p:nvPr/>
                </p:nvCxnSpPr>
                <p:spPr>
                  <a:xfrm>
                    <a:off x="9704625"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63B1BF4D-A695-4DFA-97F4-06803C18AA4B}"/>
                      </a:ext>
                    </a:extLst>
                  </p:cNvPr>
                  <p:cNvSpPr/>
                  <p:nvPr/>
                </p:nvSpPr>
                <p:spPr>
                  <a:xfrm>
                    <a:off x="8464489" y="3465029"/>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90" name="Group 189">
                  <a:extLst>
                    <a:ext uri="{FF2B5EF4-FFF2-40B4-BE49-F238E27FC236}">
                      <a16:creationId xmlns:a16="http://schemas.microsoft.com/office/drawing/2014/main" id="{E7B9E9F8-A42F-4986-B033-DE3FBE5454F9}"/>
                    </a:ext>
                  </a:extLst>
                </p:cNvPr>
                <p:cNvGrpSpPr/>
                <p:nvPr/>
              </p:nvGrpSpPr>
              <p:grpSpPr>
                <a:xfrm>
                  <a:off x="7501270" y="3972905"/>
                  <a:ext cx="1164920" cy="885131"/>
                  <a:chOff x="8464489" y="2534822"/>
                  <a:chExt cx="1610123" cy="1331792"/>
                </a:xfrm>
              </p:grpSpPr>
              <p:sp>
                <p:nvSpPr>
                  <p:cNvPr id="191" name="Rectangle 190">
                    <a:extLst>
                      <a:ext uri="{FF2B5EF4-FFF2-40B4-BE49-F238E27FC236}">
                        <a16:creationId xmlns:a16="http://schemas.microsoft.com/office/drawing/2014/main" id="{982354FD-10DC-4C85-86C6-80F26860B06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2" name="Straight Connector 191">
                    <a:extLst>
                      <a:ext uri="{FF2B5EF4-FFF2-40B4-BE49-F238E27FC236}">
                        <a16:creationId xmlns:a16="http://schemas.microsoft.com/office/drawing/2014/main" id="{63EAEEAB-F6DB-4CF0-9600-0D91949D0B09}"/>
                      </a:ext>
                    </a:extLst>
                  </p:cNvPr>
                  <p:cNvCxnSpPr>
                    <a:cxnSpLocks/>
                  </p:cNvCxnSpPr>
                  <p:nvPr/>
                </p:nvCxnSpPr>
                <p:spPr>
                  <a:xfrm>
                    <a:off x="8839606"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727D8FBD-5E6A-4B61-8E59-C94111542AE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195" name="Straight Connector 194">
                    <a:extLst>
                      <a:ext uri="{FF2B5EF4-FFF2-40B4-BE49-F238E27FC236}">
                        <a16:creationId xmlns:a16="http://schemas.microsoft.com/office/drawing/2014/main" id="{9B5DF033-A942-4AB2-8DF3-EE05E1669CEA}"/>
                      </a:ext>
                    </a:extLst>
                  </p:cNvPr>
                  <p:cNvCxnSpPr>
                    <a:cxnSpLocks/>
                  </p:cNvCxnSpPr>
                  <p:nvPr/>
                </p:nvCxnSpPr>
                <p:spPr>
                  <a:xfrm>
                    <a:off x="9704625"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FF13864D-3451-49C2-B929-93EAC9A5823C}"/>
                      </a:ext>
                    </a:extLst>
                  </p:cNvPr>
                  <p:cNvSpPr/>
                  <p:nvPr/>
                </p:nvSpPr>
                <p:spPr>
                  <a:xfrm>
                    <a:off x="8464489" y="346730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cxnSp>
              <p:nvCxnSpPr>
                <p:cNvPr id="33" name="Connector: Elbow 32">
                  <a:extLst>
                    <a:ext uri="{FF2B5EF4-FFF2-40B4-BE49-F238E27FC236}">
                      <a16:creationId xmlns:a16="http://schemas.microsoft.com/office/drawing/2014/main" id="{49519957-4C27-40DB-919F-6521874F322F}"/>
                    </a:ext>
                  </a:extLst>
                </p:cNvPr>
                <p:cNvCxnSpPr>
                  <a:cxnSpLocks/>
                  <a:stCxn id="201" idx="0"/>
                  <a:endCxn id="196" idx="0"/>
                </p:cNvCxnSpPr>
                <p:nvPr/>
              </p:nvCxnSpPr>
              <p:spPr>
                <a:xfrm rot="16200000" flipV="1">
                  <a:off x="8585880" y="2508173"/>
                  <a:ext cx="12700" cy="2929461"/>
                </a:xfrm>
                <a:prstGeom prst="bentConnector3">
                  <a:avLst>
                    <a:gd name="adj1" fmla="val 1800000"/>
                  </a:avLst>
                </a:prstGeom>
                <a:ln w="12700">
                  <a:solidFill>
                    <a:srgbClr val="75757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0E98216-87A2-4C63-80D9-54DBF7DBD174}"/>
                    </a:ext>
                  </a:extLst>
                </p:cNvPr>
                <p:cNvSpPr/>
                <p:nvPr/>
              </p:nvSpPr>
              <p:spPr>
                <a:xfrm>
                  <a:off x="7448645" y="3856110"/>
                  <a:ext cx="1283056" cy="1252942"/>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5835B9B0-982B-4B08-8EF4-3093178F82C6}"/>
                    </a:ext>
                  </a:extLst>
                </p:cNvPr>
                <p:cNvSpPr txBox="1"/>
                <p:nvPr/>
              </p:nvSpPr>
              <p:spPr>
                <a:xfrm>
                  <a:off x="7514670" y="4862830"/>
                  <a:ext cx="1137659"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mj-lt"/>
                      <a:cs typeface="Segoe UI" panose="020B0502040204020203" pitchFamily="34" charset="0"/>
                    </a:rPr>
                    <a:t>Kubernetes pod</a:t>
                  </a:r>
                </a:p>
              </p:txBody>
            </p:sp>
            <p:sp>
              <p:nvSpPr>
                <p:cNvPr id="145" name="TextBox 144">
                  <a:extLst>
                    <a:ext uri="{FF2B5EF4-FFF2-40B4-BE49-F238E27FC236}">
                      <a16:creationId xmlns:a16="http://schemas.microsoft.com/office/drawing/2014/main" id="{568549EE-3AA6-44B4-8959-E35CA3B2B83B}"/>
                    </a:ext>
                  </a:extLst>
                </p:cNvPr>
                <p:cNvSpPr txBox="1"/>
                <p:nvPr/>
              </p:nvSpPr>
              <p:spPr>
                <a:xfrm>
                  <a:off x="9339941" y="1218602"/>
                  <a:ext cx="1002190" cy="246221"/>
                </a:xfrm>
                <a:prstGeom prst="rect">
                  <a:avLst/>
                </a:prstGeom>
                <a:noFill/>
              </p:spPr>
              <p:txBody>
                <a:bodyPr wrap="square" bIns="45720" rtlCol="0">
                  <a:spAutoFit/>
                </a:bodyPr>
                <a:lstStyle/>
                <a:p>
                  <a:pPr marR="0" lvl="0" indent="0" algn="ctr"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Analytics</a:t>
                  </a:r>
                </a:p>
              </p:txBody>
            </p:sp>
            <p:cxnSp>
              <p:nvCxnSpPr>
                <p:cNvPr id="169" name="Connector: Elbow 168">
                  <a:extLst>
                    <a:ext uri="{FF2B5EF4-FFF2-40B4-BE49-F238E27FC236}">
                      <a16:creationId xmlns:a16="http://schemas.microsoft.com/office/drawing/2014/main" id="{768D203E-BC05-4AD0-B43A-280412A60AEB}"/>
                    </a:ext>
                  </a:extLst>
                </p:cNvPr>
                <p:cNvCxnSpPr>
                  <a:cxnSpLocks/>
                </p:cNvCxnSpPr>
                <p:nvPr/>
              </p:nvCxnSpPr>
              <p:spPr>
                <a:xfrm rot="16200000" flipH="1">
                  <a:off x="8092455" y="348059"/>
                  <a:ext cx="12700" cy="2437022"/>
                </a:xfrm>
                <a:prstGeom prst="bentConnector3">
                  <a:avLst>
                    <a:gd name="adj1" fmla="val 737142"/>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4BDB416-0943-4F6B-B863-679C20BF80A5}"/>
                    </a:ext>
                  </a:extLst>
                </p:cNvPr>
                <p:cNvCxnSpPr>
                  <a:cxnSpLocks/>
                </p:cNvCxnSpPr>
                <p:nvPr/>
              </p:nvCxnSpPr>
              <p:spPr>
                <a:xfrm>
                  <a:off x="8101447" y="1592208"/>
                  <a:ext cx="1" cy="288739"/>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CEF8009-0BC0-46F2-9378-01A59C9CFB03}"/>
                    </a:ext>
                  </a:extLst>
                </p:cNvPr>
                <p:cNvSpPr txBox="1"/>
                <p:nvPr/>
              </p:nvSpPr>
              <p:spPr>
                <a:xfrm>
                  <a:off x="7045862" y="1122807"/>
                  <a:ext cx="698235" cy="427809"/>
                </a:xfrm>
                <a:prstGeom prst="rect">
                  <a:avLst/>
                </a:prstGeom>
                <a:noFill/>
                <a:ln>
                  <a:noFill/>
                </a:ln>
              </p:spPr>
              <p:txBody>
                <a:bodyPr wrap="square" bIns="73152" rtlCol="0">
                  <a:spAutoFit/>
                </a:bodyPr>
                <a:lstStyle/>
                <a:p>
                  <a:pPr marR="0" lvl="0" indent="0"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Custom</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apps</a:t>
                  </a:r>
                </a:p>
              </p:txBody>
            </p:sp>
            <p:sp>
              <p:nvSpPr>
                <p:cNvPr id="117" name="TextBox 116">
                  <a:extLst>
                    <a:ext uri="{FF2B5EF4-FFF2-40B4-BE49-F238E27FC236}">
                      <a16:creationId xmlns:a16="http://schemas.microsoft.com/office/drawing/2014/main" id="{E2A4761C-D819-468C-9122-65D0787DCD35}"/>
                    </a:ext>
                  </a:extLst>
                </p:cNvPr>
                <p:cNvSpPr txBox="1"/>
                <p:nvPr/>
              </p:nvSpPr>
              <p:spPr>
                <a:xfrm>
                  <a:off x="8306274" y="1218601"/>
                  <a:ext cx="370223" cy="273921"/>
                </a:xfrm>
                <a:prstGeom prst="rect">
                  <a:avLst/>
                </a:prstGeom>
                <a:noFill/>
              </p:spPr>
              <p:txBody>
                <a:bodyPr wrap="square" bIns="73152" rtlCol="0">
                  <a:spAutoFit/>
                </a:bodyPr>
                <a:lstStyle/>
                <a:p>
                  <a:pPr algn="ctr" defTabSz="457200">
                    <a:defRPr/>
                  </a:pPr>
                  <a:r>
                    <a:rPr lang="en-US" sz="1000" b="1" dirty="0">
                      <a:solidFill>
                        <a:schemeClr val="tx2"/>
                      </a:solidFill>
                      <a:latin typeface="+mj-lt"/>
                      <a:cs typeface="Segoe UI" panose="020B0502040204020203" pitchFamily="34" charset="0"/>
                    </a:rPr>
                    <a:t>BI</a:t>
                  </a:r>
                </a:p>
              </p:txBody>
            </p:sp>
            <p:cxnSp>
              <p:nvCxnSpPr>
                <p:cNvPr id="5" name="Straight Connector 4">
                  <a:extLst>
                    <a:ext uri="{FF2B5EF4-FFF2-40B4-BE49-F238E27FC236}">
                      <a16:creationId xmlns:a16="http://schemas.microsoft.com/office/drawing/2014/main" id="{D57AACCA-308C-7549-B252-302359591FD2}"/>
                    </a:ext>
                  </a:extLst>
                </p:cNvPr>
                <p:cNvCxnSpPr>
                  <a:cxnSpLocks/>
                </p:cNvCxnSpPr>
                <p:nvPr/>
              </p:nvCxnSpPr>
              <p:spPr>
                <a:xfrm>
                  <a:off x="8404070" y="3747858"/>
                  <a:ext cx="0" cy="222101"/>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02" name="Rectangle 301">
                  <a:extLst>
                    <a:ext uri="{FF2B5EF4-FFF2-40B4-BE49-F238E27FC236}">
                      <a16:creationId xmlns:a16="http://schemas.microsoft.com/office/drawing/2014/main" id="{FEA9D8F1-C4EC-0047-9621-92C6929912CD}"/>
                    </a:ext>
                  </a:extLst>
                </p:cNvPr>
                <p:cNvSpPr/>
                <p:nvPr/>
              </p:nvSpPr>
              <p:spPr>
                <a:xfrm>
                  <a:off x="8216107" y="1947004"/>
                  <a:ext cx="2216210" cy="427809"/>
                </a:xfrm>
                <a:prstGeom prst="rect">
                  <a:avLst/>
                </a:prstGeom>
                <a:noFill/>
                <a:ln>
                  <a:noFill/>
                </a:ln>
              </p:spPr>
              <p:txBody>
                <a:bodyPr wrap="square" bIns="73152" rtlCol="0">
                  <a:spAutoFit/>
                </a:bodyPr>
                <a:lstStyle/>
                <a:p>
                  <a:pPr defTabSz="457200"/>
                  <a:r>
                    <a:rPr lang="en-US" sz="1000" b="1" dirty="0">
                      <a:solidFill>
                        <a:schemeClr val="tx2"/>
                      </a:solidFill>
                      <a:latin typeface="+mj-lt"/>
                      <a:cs typeface="Segoe UI" panose="020B0502040204020203" pitchFamily="34" charset="0"/>
                    </a:rPr>
                    <a:t>SQL Server </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master instance</a:t>
                  </a:r>
                </a:p>
              </p:txBody>
            </p:sp>
            <p:pic>
              <p:nvPicPr>
                <p:cNvPr id="253" name="Picture 252">
                  <a:extLst>
                    <a:ext uri="{FF2B5EF4-FFF2-40B4-BE49-F238E27FC236}">
                      <a16:creationId xmlns:a16="http://schemas.microsoft.com/office/drawing/2014/main" id="{C82ECAE6-3E1B-4F7A-8463-24AECF9147B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465924" y="5628519"/>
                  <a:ext cx="453297" cy="336508"/>
                </a:xfrm>
                <a:prstGeom prst="rect">
                  <a:avLst/>
                </a:prstGeom>
              </p:spPr>
            </p:pic>
            <p:grpSp>
              <p:nvGrpSpPr>
                <p:cNvPr id="6" name="Group 5">
                  <a:extLst>
                    <a:ext uri="{FF2B5EF4-FFF2-40B4-BE49-F238E27FC236}">
                      <a16:creationId xmlns:a16="http://schemas.microsoft.com/office/drawing/2014/main" id="{A6694C5E-DCC3-E844-9BEB-0409DB9FB311}"/>
                    </a:ext>
                  </a:extLst>
                </p:cNvPr>
                <p:cNvGrpSpPr/>
                <p:nvPr/>
              </p:nvGrpSpPr>
              <p:grpSpPr>
                <a:xfrm>
                  <a:off x="2601701" y="5494591"/>
                  <a:ext cx="831068" cy="577782"/>
                  <a:chOff x="2601701" y="5883211"/>
                  <a:chExt cx="831068" cy="577782"/>
                </a:xfrm>
              </p:grpSpPr>
              <p:sp>
                <p:nvSpPr>
                  <p:cNvPr id="396" name="TextBox 395">
                    <a:extLst>
                      <a:ext uri="{FF2B5EF4-FFF2-40B4-BE49-F238E27FC236}">
                        <a16:creationId xmlns:a16="http://schemas.microsoft.com/office/drawing/2014/main" id="{0FA689F7-5F43-45F5-8D27-6BDDC03C0B1C}"/>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243" name="Group 242">
                    <a:extLst>
                      <a:ext uri="{FF2B5EF4-FFF2-40B4-BE49-F238E27FC236}">
                        <a16:creationId xmlns:a16="http://schemas.microsoft.com/office/drawing/2014/main" id="{5CBBB4AD-F437-CE40-BA55-55C2445B05FD}"/>
                      </a:ext>
                    </a:extLst>
                  </p:cNvPr>
                  <p:cNvGrpSpPr/>
                  <p:nvPr/>
                </p:nvGrpSpPr>
                <p:grpSpPr>
                  <a:xfrm>
                    <a:off x="2867821" y="5883211"/>
                    <a:ext cx="317340" cy="313918"/>
                    <a:chOff x="6712956" y="9045673"/>
                    <a:chExt cx="464984" cy="459971"/>
                  </a:xfrm>
                </p:grpSpPr>
                <p:sp>
                  <p:nvSpPr>
                    <p:cNvPr id="244" name="Rectangle 243">
                      <a:extLst>
                        <a:ext uri="{FF2B5EF4-FFF2-40B4-BE49-F238E27FC236}">
                          <a16:creationId xmlns:a16="http://schemas.microsoft.com/office/drawing/2014/main" id="{F893E8C6-54E6-0C47-BD14-0E6E5089BA7F}"/>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45" name="Rectangle 244">
                      <a:extLst>
                        <a:ext uri="{FF2B5EF4-FFF2-40B4-BE49-F238E27FC236}">
                          <a16:creationId xmlns:a16="http://schemas.microsoft.com/office/drawing/2014/main" id="{D176CD69-C9F4-9C4D-B83A-C296395DF39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246" name="Group 245">
                      <a:extLst>
                        <a:ext uri="{FF2B5EF4-FFF2-40B4-BE49-F238E27FC236}">
                          <a16:creationId xmlns:a16="http://schemas.microsoft.com/office/drawing/2014/main" id="{B94F745E-2C60-F442-81F7-7D0CBA783E1D}"/>
                        </a:ext>
                      </a:extLst>
                    </p:cNvPr>
                    <p:cNvGrpSpPr/>
                    <p:nvPr/>
                  </p:nvGrpSpPr>
                  <p:grpSpPr>
                    <a:xfrm>
                      <a:off x="6712956" y="9045673"/>
                      <a:ext cx="464984" cy="138505"/>
                      <a:chOff x="551886" y="4922823"/>
                      <a:chExt cx="508602" cy="151498"/>
                    </a:xfrm>
                  </p:grpSpPr>
                  <p:sp>
                    <p:nvSpPr>
                      <p:cNvPr id="268" name="Rectangle 267">
                        <a:extLst>
                          <a:ext uri="{FF2B5EF4-FFF2-40B4-BE49-F238E27FC236}">
                            <a16:creationId xmlns:a16="http://schemas.microsoft.com/office/drawing/2014/main" id="{4DF8A28E-9F59-BE41-BAF2-C7991A434DF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B2A79333-E6FD-224E-BF21-0180E749634A}"/>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270" name="Straight Connector 269">
                        <a:extLst>
                          <a:ext uri="{FF2B5EF4-FFF2-40B4-BE49-F238E27FC236}">
                            <a16:creationId xmlns:a16="http://schemas.microsoft.com/office/drawing/2014/main" id="{0001DA93-A807-7D43-BA58-9AE6B5CB3F57}"/>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1A3B0D12-2076-9746-8A88-6B33D100B24A}"/>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146621C-D43A-F74D-8505-1831C579845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2DE358-1E71-D84A-A3C0-1E319EA18F39}"/>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C182B588-6C35-0243-B5E3-9C928C78DA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230092A-314D-4140-BBBE-68F8D7445777}"/>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33D628E-19F0-7C43-B790-62ADA51C462A}"/>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8D9D57F-8B62-E647-AE68-828DE5CE4BD9}"/>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BD4AF6A-A3AE-F748-8DD9-ADAD16A88FB3}"/>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6" name="Group 515">
                  <a:extLst>
                    <a:ext uri="{FF2B5EF4-FFF2-40B4-BE49-F238E27FC236}">
                      <a16:creationId xmlns:a16="http://schemas.microsoft.com/office/drawing/2014/main" id="{76A8E501-3E79-A941-A0F9-1F162F991AC9}"/>
                    </a:ext>
                  </a:extLst>
                </p:cNvPr>
                <p:cNvGrpSpPr/>
                <p:nvPr/>
              </p:nvGrpSpPr>
              <p:grpSpPr>
                <a:xfrm>
                  <a:off x="3965022" y="5494591"/>
                  <a:ext cx="831068" cy="577782"/>
                  <a:chOff x="2601701" y="5883211"/>
                  <a:chExt cx="831068" cy="577782"/>
                </a:xfrm>
              </p:grpSpPr>
              <p:sp>
                <p:nvSpPr>
                  <p:cNvPr id="517" name="TextBox 516">
                    <a:extLst>
                      <a:ext uri="{FF2B5EF4-FFF2-40B4-BE49-F238E27FC236}">
                        <a16:creationId xmlns:a16="http://schemas.microsoft.com/office/drawing/2014/main" id="{E6D42AC8-7DD8-E740-ABAD-FD4E499403A6}"/>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18" name="Group 517">
                    <a:extLst>
                      <a:ext uri="{FF2B5EF4-FFF2-40B4-BE49-F238E27FC236}">
                        <a16:creationId xmlns:a16="http://schemas.microsoft.com/office/drawing/2014/main" id="{4431EB2E-1D82-5F44-A1A3-70D038FCA06A}"/>
                      </a:ext>
                    </a:extLst>
                  </p:cNvPr>
                  <p:cNvGrpSpPr/>
                  <p:nvPr/>
                </p:nvGrpSpPr>
                <p:grpSpPr>
                  <a:xfrm>
                    <a:off x="2867821" y="5883211"/>
                    <a:ext cx="317340" cy="313918"/>
                    <a:chOff x="6712956" y="9045673"/>
                    <a:chExt cx="464984" cy="459971"/>
                  </a:xfrm>
                </p:grpSpPr>
                <p:sp>
                  <p:nvSpPr>
                    <p:cNvPr id="519" name="Rectangle 518">
                      <a:extLst>
                        <a:ext uri="{FF2B5EF4-FFF2-40B4-BE49-F238E27FC236}">
                          <a16:creationId xmlns:a16="http://schemas.microsoft.com/office/drawing/2014/main" id="{4443554E-8B97-9649-BD56-58D40BD2FEE3}"/>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20" name="Rectangle 519">
                      <a:extLst>
                        <a:ext uri="{FF2B5EF4-FFF2-40B4-BE49-F238E27FC236}">
                          <a16:creationId xmlns:a16="http://schemas.microsoft.com/office/drawing/2014/main" id="{04A064F9-DB6E-2C4C-84FC-55CEF1FAF8F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21" name="Group 520">
                      <a:extLst>
                        <a:ext uri="{FF2B5EF4-FFF2-40B4-BE49-F238E27FC236}">
                          <a16:creationId xmlns:a16="http://schemas.microsoft.com/office/drawing/2014/main" id="{AAAE0D36-5B2D-1649-80BE-E04EB47E7D72}"/>
                        </a:ext>
                      </a:extLst>
                    </p:cNvPr>
                    <p:cNvGrpSpPr/>
                    <p:nvPr/>
                  </p:nvGrpSpPr>
                  <p:grpSpPr>
                    <a:xfrm>
                      <a:off x="6712956" y="9045673"/>
                      <a:ext cx="464984" cy="138505"/>
                      <a:chOff x="551886" y="4922823"/>
                      <a:chExt cx="508602" cy="151498"/>
                    </a:xfrm>
                  </p:grpSpPr>
                  <p:sp>
                    <p:nvSpPr>
                      <p:cNvPr id="530" name="Rectangle 529">
                        <a:extLst>
                          <a:ext uri="{FF2B5EF4-FFF2-40B4-BE49-F238E27FC236}">
                            <a16:creationId xmlns:a16="http://schemas.microsoft.com/office/drawing/2014/main" id="{62C077F4-AF99-CD43-A4B9-0131B3EA104D}"/>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1" name="Oval 530">
                        <a:extLst>
                          <a:ext uri="{FF2B5EF4-FFF2-40B4-BE49-F238E27FC236}">
                            <a16:creationId xmlns:a16="http://schemas.microsoft.com/office/drawing/2014/main" id="{7A3B29C6-DCC7-B54B-A1AB-C2F3C04368C8}"/>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32" name="Straight Connector 531">
                        <a:extLst>
                          <a:ext uri="{FF2B5EF4-FFF2-40B4-BE49-F238E27FC236}">
                            <a16:creationId xmlns:a16="http://schemas.microsoft.com/office/drawing/2014/main" id="{B9D45F34-79E2-0441-8DE0-78F79CDDF1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22" name="Straight Connector 521">
                      <a:extLst>
                        <a:ext uri="{FF2B5EF4-FFF2-40B4-BE49-F238E27FC236}">
                          <a16:creationId xmlns:a16="http://schemas.microsoft.com/office/drawing/2014/main" id="{F9E32227-DAC1-DF48-909F-3D3FEECEC584}"/>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756D9367-B050-DC47-B813-27E2CF5D078D}"/>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E5924ED6-33BC-FF4B-ABD4-C4AE5540AF31}"/>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CD44BE65-2EC0-D54C-B2EA-4AAE1856BA37}"/>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AC995BDE-C184-4547-ABD9-6B2437891F2F}"/>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953B041F-E082-274F-835D-457699B6500B}"/>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40316641-C0E8-FF41-A691-7F28401A7C54}"/>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5D610662-5732-384B-91C7-746BA9520D37}"/>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33" name="Group 532">
                  <a:extLst>
                    <a:ext uri="{FF2B5EF4-FFF2-40B4-BE49-F238E27FC236}">
                      <a16:creationId xmlns:a16="http://schemas.microsoft.com/office/drawing/2014/main" id="{19526B77-EC7A-D64D-85BD-C5820ED1C7BE}"/>
                    </a:ext>
                  </a:extLst>
                </p:cNvPr>
                <p:cNvGrpSpPr/>
                <p:nvPr/>
              </p:nvGrpSpPr>
              <p:grpSpPr>
                <a:xfrm>
                  <a:off x="5291524" y="5494591"/>
                  <a:ext cx="831068" cy="577782"/>
                  <a:chOff x="2601701" y="5883211"/>
                  <a:chExt cx="831068" cy="577782"/>
                </a:xfrm>
              </p:grpSpPr>
              <p:sp>
                <p:nvSpPr>
                  <p:cNvPr id="534" name="TextBox 533">
                    <a:extLst>
                      <a:ext uri="{FF2B5EF4-FFF2-40B4-BE49-F238E27FC236}">
                        <a16:creationId xmlns:a16="http://schemas.microsoft.com/office/drawing/2014/main" id="{352A7484-C450-1E4C-8EDB-89821AB4FCE3}"/>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35" name="Group 534">
                    <a:extLst>
                      <a:ext uri="{FF2B5EF4-FFF2-40B4-BE49-F238E27FC236}">
                        <a16:creationId xmlns:a16="http://schemas.microsoft.com/office/drawing/2014/main" id="{2963ACF8-AA8A-D749-8930-F9B9182B0CA0}"/>
                      </a:ext>
                    </a:extLst>
                  </p:cNvPr>
                  <p:cNvGrpSpPr/>
                  <p:nvPr/>
                </p:nvGrpSpPr>
                <p:grpSpPr>
                  <a:xfrm>
                    <a:off x="2867821" y="5883211"/>
                    <a:ext cx="317340" cy="313918"/>
                    <a:chOff x="6712956" y="9045673"/>
                    <a:chExt cx="464984" cy="459971"/>
                  </a:xfrm>
                </p:grpSpPr>
                <p:sp>
                  <p:nvSpPr>
                    <p:cNvPr id="536" name="Rectangle 535">
                      <a:extLst>
                        <a:ext uri="{FF2B5EF4-FFF2-40B4-BE49-F238E27FC236}">
                          <a16:creationId xmlns:a16="http://schemas.microsoft.com/office/drawing/2014/main" id="{97914BAD-6E97-8E4E-B122-DF2950A691DE}"/>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7" name="Rectangle 536">
                      <a:extLst>
                        <a:ext uri="{FF2B5EF4-FFF2-40B4-BE49-F238E27FC236}">
                          <a16:creationId xmlns:a16="http://schemas.microsoft.com/office/drawing/2014/main" id="{88EA9E1C-013E-CB4C-958C-2C5277C0EE17}"/>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38" name="Group 537">
                      <a:extLst>
                        <a:ext uri="{FF2B5EF4-FFF2-40B4-BE49-F238E27FC236}">
                          <a16:creationId xmlns:a16="http://schemas.microsoft.com/office/drawing/2014/main" id="{9B6DF391-6506-8A4A-BD3A-1F31F2E268EC}"/>
                        </a:ext>
                      </a:extLst>
                    </p:cNvPr>
                    <p:cNvGrpSpPr/>
                    <p:nvPr/>
                  </p:nvGrpSpPr>
                  <p:grpSpPr>
                    <a:xfrm>
                      <a:off x="6712956" y="9045673"/>
                      <a:ext cx="464984" cy="138505"/>
                      <a:chOff x="551886" y="4922823"/>
                      <a:chExt cx="508602" cy="151498"/>
                    </a:xfrm>
                  </p:grpSpPr>
                  <p:sp>
                    <p:nvSpPr>
                      <p:cNvPr id="547" name="Rectangle 546">
                        <a:extLst>
                          <a:ext uri="{FF2B5EF4-FFF2-40B4-BE49-F238E27FC236}">
                            <a16:creationId xmlns:a16="http://schemas.microsoft.com/office/drawing/2014/main" id="{7FB522E8-839E-4748-A2D3-132B3505F84A}"/>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48" name="Oval 547">
                        <a:extLst>
                          <a:ext uri="{FF2B5EF4-FFF2-40B4-BE49-F238E27FC236}">
                            <a16:creationId xmlns:a16="http://schemas.microsoft.com/office/drawing/2014/main" id="{61A20461-7F9B-8649-8513-DC30CD389A25}"/>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49" name="Straight Connector 548">
                        <a:extLst>
                          <a:ext uri="{FF2B5EF4-FFF2-40B4-BE49-F238E27FC236}">
                            <a16:creationId xmlns:a16="http://schemas.microsoft.com/office/drawing/2014/main" id="{9E3A14EE-01D9-3B4D-BB55-7AB789E5252E}"/>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39" name="Straight Connector 538">
                      <a:extLst>
                        <a:ext uri="{FF2B5EF4-FFF2-40B4-BE49-F238E27FC236}">
                          <a16:creationId xmlns:a16="http://schemas.microsoft.com/office/drawing/2014/main" id="{B6238CD8-C82D-FE4C-B831-9F2897DFD68C}"/>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8DE1EFE-83E1-294D-98CA-B1E030068C3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88A6F7D-9BA3-7D40-BA50-09C2D30471A5}"/>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5B1DF23D-C443-FB40-B28E-49819110429D}"/>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22F85206-45C0-9C4B-90CC-7CF8E288164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C134E871-0F4D-1843-BABF-0CDBC63FA44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2A5C9ED8-9013-D547-BAAE-9D45DD0A4AC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717FF71-36A2-3946-BCD7-9985CD4709FB}"/>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50" name="Group 549">
                  <a:extLst>
                    <a:ext uri="{FF2B5EF4-FFF2-40B4-BE49-F238E27FC236}">
                      <a16:creationId xmlns:a16="http://schemas.microsoft.com/office/drawing/2014/main" id="{572FE91A-5328-2F49-87EE-E6825C1DFD86}"/>
                    </a:ext>
                  </a:extLst>
                </p:cNvPr>
                <p:cNvGrpSpPr/>
                <p:nvPr/>
              </p:nvGrpSpPr>
              <p:grpSpPr>
                <a:xfrm>
                  <a:off x="6650817" y="5503842"/>
                  <a:ext cx="831068" cy="568531"/>
                  <a:chOff x="2601701" y="5883211"/>
                  <a:chExt cx="831068" cy="568531"/>
                </a:xfrm>
              </p:grpSpPr>
              <p:sp>
                <p:nvSpPr>
                  <p:cNvPr id="551" name="TextBox 550">
                    <a:extLst>
                      <a:ext uri="{FF2B5EF4-FFF2-40B4-BE49-F238E27FC236}">
                        <a16:creationId xmlns:a16="http://schemas.microsoft.com/office/drawing/2014/main" id="{397E7E73-EE82-F948-A6E0-A5FFA1EA20F6}"/>
                      </a:ext>
                    </a:extLst>
                  </p:cNvPr>
                  <p:cNvSpPr txBox="1"/>
                  <p:nvPr/>
                </p:nvSpPr>
                <p:spPr>
                  <a:xfrm>
                    <a:off x="2601701" y="6220910"/>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52" name="Group 551">
                    <a:extLst>
                      <a:ext uri="{FF2B5EF4-FFF2-40B4-BE49-F238E27FC236}">
                        <a16:creationId xmlns:a16="http://schemas.microsoft.com/office/drawing/2014/main" id="{DB7460BC-5646-1141-AEE1-25192540F094}"/>
                      </a:ext>
                    </a:extLst>
                  </p:cNvPr>
                  <p:cNvGrpSpPr/>
                  <p:nvPr/>
                </p:nvGrpSpPr>
                <p:grpSpPr>
                  <a:xfrm>
                    <a:off x="2867821" y="5883211"/>
                    <a:ext cx="317340" cy="313918"/>
                    <a:chOff x="6712956" y="9045673"/>
                    <a:chExt cx="464984" cy="459971"/>
                  </a:xfrm>
                </p:grpSpPr>
                <p:sp>
                  <p:nvSpPr>
                    <p:cNvPr id="553" name="Rectangle 552">
                      <a:extLst>
                        <a:ext uri="{FF2B5EF4-FFF2-40B4-BE49-F238E27FC236}">
                          <a16:creationId xmlns:a16="http://schemas.microsoft.com/office/drawing/2014/main" id="{F9D75ED2-7039-754B-BA08-9165C53176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4" name="Rectangle 553">
                      <a:extLst>
                        <a:ext uri="{FF2B5EF4-FFF2-40B4-BE49-F238E27FC236}">
                          <a16:creationId xmlns:a16="http://schemas.microsoft.com/office/drawing/2014/main" id="{D977A923-0DE2-3B40-8CDE-953510B91A8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55" name="Group 554">
                      <a:extLst>
                        <a:ext uri="{FF2B5EF4-FFF2-40B4-BE49-F238E27FC236}">
                          <a16:creationId xmlns:a16="http://schemas.microsoft.com/office/drawing/2014/main" id="{BBEF7754-5858-4F4D-9D1D-CF9221DAF164}"/>
                        </a:ext>
                      </a:extLst>
                    </p:cNvPr>
                    <p:cNvGrpSpPr/>
                    <p:nvPr/>
                  </p:nvGrpSpPr>
                  <p:grpSpPr>
                    <a:xfrm>
                      <a:off x="6712956" y="9045673"/>
                      <a:ext cx="464984" cy="138505"/>
                      <a:chOff x="551886" y="4922823"/>
                      <a:chExt cx="508602" cy="151498"/>
                    </a:xfrm>
                  </p:grpSpPr>
                  <p:sp>
                    <p:nvSpPr>
                      <p:cNvPr id="564" name="Rectangle 563">
                        <a:extLst>
                          <a:ext uri="{FF2B5EF4-FFF2-40B4-BE49-F238E27FC236}">
                            <a16:creationId xmlns:a16="http://schemas.microsoft.com/office/drawing/2014/main" id="{8D9B4BDC-4F54-144B-B083-682BAC0B9029}"/>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65" name="Oval 564">
                        <a:extLst>
                          <a:ext uri="{FF2B5EF4-FFF2-40B4-BE49-F238E27FC236}">
                            <a16:creationId xmlns:a16="http://schemas.microsoft.com/office/drawing/2014/main" id="{EF4066D4-3577-5848-B4CF-0F5E8B586709}"/>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66" name="Straight Connector 565">
                        <a:extLst>
                          <a:ext uri="{FF2B5EF4-FFF2-40B4-BE49-F238E27FC236}">
                            <a16:creationId xmlns:a16="http://schemas.microsoft.com/office/drawing/2014/main" id="{6737A257-A214-164C-BE88-A2666B178B0C}"/>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56" name="Straight Connector 555">
                      <a:extLst>
                        <a:ext uri="{FF2B5EF4-FFF2-40B4-BE49-F238E27FC236}">
                          <a16:creationId xmlns:a16="http://schemas.microsoft.com/office/drawing/2014/main" id="{0AF2E54E-C51B-6741-9A01-18774F7F5952}"/>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48830C8F-9716-9F40-A2B6-9A3160D4F41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8FE927E9-6155-A548-9E7C-4BC887E77F07}"/>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BE294872-B769-9043-94B5-B29DCFEC3AF1}"/>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C0DD454A-87EA-F142-B5B8-DA4504B658C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F6A96B99-125C-4C41-93F2-292EF55A24E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FBB3965E-628C-4848-8CF0-4914EAD93D7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807644D-5A3D-AC4F-8A3F-E28AC1F7972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67" name="Group 566">
                  <a:extLst>
                    <a:ext uri="{FF2B5EF4-FFF2-40B4-BE49-F238E27FC236}">
                      <a16:creationId xmlns:a16="http://schemas.microsoft.com/office/drawing/2014/main" id="{B6EC7F98-0BCD-5042-8BC8-9CDD83164685}"/>
                    </a:ext>
                  </a:extLst>
                </p:cNvPr>
                <p:cNvGrpSpPr/>
                <p:nvPr/>
              </p:nvGrpSpPr>
              <p:grpSpPr>
                <a:xfrm>
                  <a:off x="7995728" y="5512695"/>
                  <a:ext cx="831068" cy="559678"/>
                  <a:chOff x="2601701" y="5883211"/>
                  <a:chExt cx="831068" cy="559678"/>
                </a:xfrm>
              </p:grpSpPr>
              <p:sp>
                <p:nvSpPr>
                  <p:cNvPr id="568" name="TextBox 567">
                    <a:extLst>
                      <a:ext uri="{FF2B5EF4-FFF2-40B4-BE49-F238E27FC236}">
                        <a16:creationId xmlns:a16="http://schemas.microsoft.com/office/drawing/2014/main" id="{E0FEA766-9A11-AE41-8E7B-B07CF2931FF7}"/>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69" name="Group 568">
                    <a:extLst>
                      <a:ext uri="{FF2B5EF4-FFF2-40B4-BE49-F238E27FC236}">
                        <a16:creationId xmlns:a16="http://schemas.microsoft.com/office/drawing/2014/main" id="{CAB06B9B-7C75-DB49-8B6E-3B7AC3213BDE}"/>
                      </a:ext>
                    </a:extLst>
                  </p:cNvPr>
                  <p:cNvGrpSpPr/>
                  <p:nvPr/>
                </p:nvGrpSpPr>
                <p:grpSpPr>
                  <a:xfrm>
                    <a:off x="2867821" y="5883211"/>
                    <a:ext cx="317340" cy="313918"/>
                    <a:chOff x="6712956" y="9045673"/>
                    <a:chExt cx="464984" cy="459971"/>
                  </a:xfrm>
                </p:grpSpPr>
                <p:sp>
                  <p:nvSpPr>
                    <p:cNvPr id="570" name="Rectangle 569">
                      <a:extLst>
                        <a:ext uri="{FF2B5EF4-FFF2-40B4-BE49-F238E27FC236}">
                          <a16:creationId xmlns:a16="http://schemas.microsoft.com/office/drawing/2014/main" id="{C998E1E7-2D54-764D-88F6-824F6898BB20}"/>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71" name="Rectangle 570">
                      <a:extLst>
                        <a:ext uri="{FF2B5EF4-FFF2-40B4-BE49-F238E27FC236}">
                          <a16:creationId xmlns:a16="http://schemas.microsoft.com/office/drawing/2014/main" id="{39A78577-6460-3642-AA08-06A6E30614F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72" name="Group 571">
                      <a:extLst>
                        <a:ext uri="{FF2B5EF4-FFF2-40B4-BE49-F238E27FC236}">
                          <a16:creationId xmlns:a16="http://schemas.microsoft.com/office/drawing/2014/main" id="{78B713C2-093A-2C44-84EF-B8F97920E221}"/>
                        </a:ext>
                      </a:extLst>
                    </p:cNvPr>
                    <p:cNvGrpSpPr/>
                    <p:nvPr/>
                  </p:nvGrpSpPr>
                  <p:grpSpPr>
                    <a:xfrm>
                      <a:off x="6712956" y="9045673"/>
                      <a:ext cx="464984" cy="138505"/>
                      <a:chOff x="551886" y="4922823"/>
                      <a:chExt cx="508602" cy="151498"/>
                    </a:xfrm>
                  </p:grpSpPr>
                  <p:sp>
                    <p:nvSpPr>
                      <p:cNvPr id="581" name="Rectangle 580">
                        <a:extLst>
                          <a:ext uri="{FF2B5EF4-FFF2-40B4-BE49-F238E27FC236}">
                            <a16:creationId xmlns:a16="http://schemas.microsoft.com/office/drawing/2014/main" id="{0142E9A6-9AB5-724A-A518-ACD558347187}"/>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2" name="Oval 581">
                        <a:extLst>
                          <a:ext uri="{FF2B5EF4-FFF2-40B4-BE49-F238E27FC236}">
                            <a16:creationId xmlns:a16="http://schemas.microsoft.com/office/drawing/2014/main" id="{0A175BBC-2D4F-AA46-BDD9-1C392C0B7503}"/>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83" name="Straight Connector 582">
                        <a:extLst>
                          <a:ext uri="{FF2B5EF4-FFF2-40B4-BE49-F238E27FC236}">
                            <a16:creationId xmlns:a16="http://schemas.microsoft.com/office/drawing/2014/main" id="{CBA153A7-1D6E-8C43-A9F4-A30A81234A0A}"/>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73" name="Straight Connector 572">
                      <a:extLst>
                        <a:ext uri="{FF2B5EF4-FFF2-40B4-BE49-F238E27FC236}">
                          <a16:creationId xmlns:a16="http://schemas.microsoft.com/office/drawing/2014/main" id="{4BA20CCB-7FEB-4A4D-A113-816AE25A8EB9}"/>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865CE0D2-F114-F442-84CB-271AF0D2E7AF}"/>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A758BE6B-D358-6B4F-B896-02B8F78414C4}"/>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0342211E-E14F-954F-A1EF-5A4E7FFCEBFB}"/>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61695851-0A68-9542-B0BB-7AFDD159D501}"/>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5F924029-55E2-1A4E-844B-B6564A55A345}"/>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CF9D7C43-D8EE-8E4C-BF63-E785C63DC986}"/>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C2FBC159-7BD7-4049-9111-9BF78843DFCF}"/>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4" name="Group 583">
                  <a:extLst>
                    <a:ext uri="{FF2B5EF4-FFF2-40B4-BE49-F238E27FC236}">
                      <a16:creationId xmlns:a16="http://schemas.microsoft.com/office/drawing/2014/main" id="{AC795AC6-157D-C649-B55D-FFC4FAFD5BB9}"/>
                    </a:ext>
                  </a:extLst>
                </p:cNvPr>
                <p:cNvGrpSpPr/>
                <p:nvPr/>
              </p:nvGrpSpPr>
              <p:grpSpPr>
                <a:xfrm>
                  <a:off x="9340639" y="5512695"/>
                  <a:ext cx="831068" cy="559678"/>
                  <a:chOff x="2601701" y="5883211"/>
                  <a:chExt cx="831068" cy="559678"/>
                </a:xfrm>
              </p:grpSpPr>
              <p:sp>
                <p:nvSpPr>
                  <p:cNvPr id="585" name="TextBox 584">
                    <a:extLst>
                      <a:ext uri="{FF2B5EF4-FFF2-40B4-BE49-F238E27FC236}">
                        <a16:creationId xmlns:a16="http://schemas.microsoft.com/office/drawing/2014/main" id="{8019F070-A70B-C245-830A-2F3FF382D241}"/>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86" name="Group 585">
                    <a:extLst>
                      <a:ext uri="{FF2B5EF4-FFF2-40B4-BE49-F238E27FC236}">
                        <a16:creationId xmlns:a16="http://schemas.microsoft.com/office/drawing/2014/main" id="{7540C5A0-6755-6049-9C4F-5C0FE6C3FEF5}"/>
                      </a:ext>
                    </a:extLst>
                  </p:cNvPr>
                  <p:cNvGrpSpPr/>
                  <p:nvPr/>
                </p:nvGrpSpPr>
                <p:grpSpPr>
                  <a:xfrm>
                    <a:off x="2867821" y="5883211"/>
                    <a:ext cx="317340" cy="313918"/>
                    <a:chOff x="6712956" y="9045673"/>
                    <a:chExt cx="464984" cy="459971"/>
                  </a:xfrm>
                </p:grpSpPr>
                <p:sp>
                  <p:nvSpPr>
                    <p:cNvPr id="587" name="Rectangle 586">
                      <a:extLst>
                        <a:ext uri="{FF2B5EF4-FFF2-40B4-BE49-F238E27FC236}">
                          <a16:creationId xmlns:a16="http://schemas.microsoft.com/office/drawing/2014/main" id="{573EDA02-8A0A-D04F-85AB-E44D38A6E1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8" name="Rectangle 587">
                      <a:extLst>
                        <a:ext uri="{FF2B5EF4-FFF2-40B4-BE49-F238E27FC236}">
                          <a16:creationId xmlns:a16="http://schemas.microsoft.com/office/drawing/2014/main" id="{56D05172-C43F-C547-9090-74E9B7A2E42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9" name="Group 588">
                      <a:extLst>
                        <a:ext uri="{FF2B5EF4-FFF2-40B4-BE49-F238E27FC236}">
                          <a16:creationId xmlns:a16="http://schemas.microsoft.com/office/drawing/2014/main" id="{02E2F390-88FF-6040-8CF2-7AEC600E2138}"/>
                        </a:ext>
                      </a:extLst>
                    </p:cNvPr>
                    <p:cNvGrpSpPr/>
                    <p:nvPr/>
                  </p:nvGrpSpPr>
                  <p:grpSpPr>
                    <a:xfrm>
                      <a:off x="6712956" y="9045673"/>
                      <a:ext cx="464984" cy="138505"/>
                      <a:chOff x="551886" y="4922823"/>
                      <a:chExt cx="508602" cy="151498"/>
                    </a:xfrm>
                  </p:grpSpPr>
                  <p:sp>
                    <p:nvSpPr>
                      <p:cNvPr id="598" name="Rectangle 597">
                        <a:extLst>
                          <a:ext uri="{FF2B5EF4-FFF2-40B4-BE49-F238E27FC236}">
                            <a16:creationId xmlns:a16="http://schemas.microsoft.com/office/drawing/2014/main" id="{953AB943-195C-D34A-94D0-5E5C41592571}"/>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99" name="Oval 598">
                        <a:extLst>
                          <a:ext uri="{FF2B5EF4-FFF2-40B4-BE49-F238E27FC236}">
                            <a16:creationId xmlns:a16="http://schemas.microsoft.com/office/drawing/2014/main" id="{449AB676-3A4D-7B45-8E97-77244E4C8064}"/>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00" name="Straight Connector 599">
                        <a:extLst>
                          <a:ext uri="{FF2B5EF4-FFF2-40B4-BE49-F238E27FC236}">
                            <a16:creationId xmlns:a16="http://schemas.microsoft.com/office/drawing/2014/main" id="{6E7D3DB7-DE2B-444A-BFB2-13D6CA0678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90" name="Straight Connector 589">
                      <a:extLst>
                        <a:ext uri="{FF2B5EF4-FFF2-40B4-BE49-F238E27FC236}">
                          <a16:creationId xmlns:a16="http://schemas.microsoft.com/office/drawing/2014/main" id="{401941E2-17C6-1B4A-8027-18379EB957BD}"/>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33D3C8E5-1698-E841-8C75-B19F02E2A3C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3807532-2381-1643-A8F8-B5B295BF11F0}"/>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ADA7250-5147-4E40-BB61-B304D2B4D6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0E7CCA7-2F31-B94D-9576-605BCD219A66}"/>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A3C7429-66AB-0B48-A829-9E5A501420E0}"/>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1ED7BD03-289C-E242-850C-89C32229A3B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930D005-D3DD-7040-98D7-EDB4CF8E9CB4}"/>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1" name="Group 600">
                  <a:extLst>
                    <a:ext uri="{FF2B5EF4-FFF2-40B4-BE49-F238E27FC236}">
                      <a16:creationId xmlns:a16="http://schemas.microsoft.com/office/drawing/2014/main" id="{E016A479-EAD2-AF49-B806-0A9F0237D3DD}"/>
                    </a:ext>
                  </a:extLst>
                </p:cNvPr>
                <p:cNvGrpSpPr/>
                <p:nvPr/>
              </p:nvGrpSpPr>
              <p:grpSpPr>
                <a:xfrm>
                  <a:off x="10686897" y="5520256"/>
                  <a:ext cx="831068" cy="552117"/>
                  <a:chOff x="2601701" y="5883211"/>
                  <a:chExt cx="831068" cy="552117"/>
                </a:xfrm>
              </p:grpSpPr>
              <p:sp>
                <p:nvSpPr>
                  <p:cNvPr id="602" name="TextBox 601">
                    <a:extLst>
                      <a:ext uri="{FF2B5EF4-FFF2-40B4-BE49-F238E27FC236}">
                        <a16:creationId xmlns:a16="http://schemas.microsoft.com/office/drawing/2014/main" id="{80580BDB-05CE-CA4F-9985-CC7551D86142}"/>
                      </a:ext>
                    </a:extLst>
                  </p:cNvPr>
                  <p:cNvSpPr txBox="1"/>
                  <p:nvPr/>
                </p:nvSpPr>
                <p:spPr>
                  <a:xfrm>
                    <a:off x="2601701" y="6204496"/>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603" name="Group 602">
                    <a:extLst>
                      <a:ext uri="{FF2B5EF4-FFF2-40B4-BE49-F238E27FC236}">
                        <a16:creationId xmlns:a16="http://schemas.microsoft.com/office/drawing/2014/main" id="{92E05CAC-D9DB-0D4F-9AD6-36C2960D40FA}"/>
                      </a:ext>
                    </a:extLst>
                  </p:cNvPr>
                  <p:cNvGrpSpPr/>
                  <p:nvPr/>
                </p:nvGrpSpPr>
                <p:grpSpPr>
                  <a:xfrm>
                    <a:off x="2867821" y="5883211"/>
                    <a:ext cx="317340" cy="313918"/>
                    <a:chOff x="6712956" y="9045673"/>
                    <a:chExt cx="464984" cy="459971"/>
                  </a:xfrm>
                </p:grpSpPr>
                <p:sp>
                  <p:nvSpPr>
                    <p:cNvPr id="604" name="Rectangle 603">
                      <a:extLst>
                        <a:ext uri="{FF2B5EF4-FFF2-40B4-BE49-F238E27FC236}">
                          <a16:creationId xmlns:a16="http://schemas.microsoft.com/office/drawing/2014/main" id="{AB347A38-8795-5D45-9769-F5F3E6731387}"/>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05" name="Rectangle 604">
                      <a:extLst>
                        <a:ext uri="{FF2B5EF4-FFF2-40B4-BE49-F238E27FC236}">
                          <a16:creationId xmlns:a16="http://schemas.microsoft.com/office/drawing/2014/main" id="{6B45BDB5-17E5-4942-86D6-567F38FB19B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606" name="Group 605">
                      <a:extLst>
                        <a:ext uri="{FF2B5EF4-FFF2-40B4-BE49-F238E27FC236}">
                          <a16:creationId xmlns:a16="http://schemas.microsoft.com/office/drawing/2014/main" id="{6E56783D-BBC1-E240-9E5C-82FF2CAE14FE}"/>
                        </a:ext>
                      </a:extLst>
                    </p:cNvPr>
                    <p:cNvGrpSpPr/>
                    <p:nvPr/>
                  </p:nvGrpSpPr>
                  <p:grpSpPr>
                    <a:xfrm>
                      <a:off x="6712956" y="9045673"/>
                      <a:ext cx="464984" cy="138505"/>
                      <a:chOff x="551886" y="4922823"/>
                      <a:chExt cx="508602" cy="151498"/>
                    </a:xfrm>
                  </p:grpSpPr>
                  <p:sp>
                    <p:nvSpPr>
                      <p:cNvPr id="615" name="Rectangle 614">
                        <a:extLst>
                          <a:ext uri="{FF2B5EF4-FFF2-40B4-BE49-F238E27FC236}">
                            <a16:creationId xmlns:a16="http://schemas.microsoft.com/office/drawing/2014/main" id="{042669B9-3C7F-E44A-A010-89EE9D2B9A75}"/>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16" name="Oval 615">
                        <a:extLst>
                          <a:ext uri="{FF2B5EF4-FFF2-40B4-BE49-F238E27FC236}">
                            <a16:creationId xmlns:a16="http://schemas.microsoft.com/office/drawing/2014/main" id="{A465B4AE-342F-7C4E-8F1B-6BE65B2CD58B}"/>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17" name="Straight Connector 616">
                        <a:extLst>
                          <a:ext uri="{FF2B5EF4-FFF2-40B4-BE49-F238E27FC236}">
                            <a16:creationId xmlns:a16="http://schemas.microsoft.com/office/drawing/2014/main" id="{C3898B18-3447-6A47-AFD1-E37B76ECA7E8}"/>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07" name="Straight Connector 606">
                      <a:extLst>
                        <a:ext uri="{FF2B5EF4-FFF2-40B4-BE49-F238E27FC236}">
                          <a16:creationId xmlns:a16="http://schemas.microsoft.com/office/drawing/2014/main" id="{88B6511F-FDAD-0C47-9E23-7DB29C5730E8}"/>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F5BC0FB-7EFB-3F48-B224-11A4889E0A78}"/>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A91D7DD8-7092-7944-9151-2B3F53ED7CEE}"/>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AAACA8B2-E3DC-9E49-96CA-812360CD692C}"/>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D854F83-987E-A440-BC39-C5F6B39C3760}"/>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BD73F8F-8322-5F4E-B2E8-16BF95E9CCA3}"/>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B634E7E9-521D-9848-86B1-8F64693B6FE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DB1F7853-FA02-0E40-8241-34D1E20F87B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21" name="Group 620">
                  <a:extLst>
                    <a:ext uri="{FF2B5EF4-FFF2-40B4-BE49-F238E27FC236}">
                      <a16:creationId xmlns:a16="http://schemas.microsoft.com/office/drawing/2014/main" id="{148FFD82-7AD3-E043-9F06-616BC140BE21}"/>
                    </a:ext>
                  </a:extLst>
                </p:cNvPr>
                <p:cNvGrpSpPr/>
                <p:nvPr/>
              </p:nvGrpSpPr>
              <p:grpSpPr>
                <a:xfrm>
                  <a:off x="6660949" y="1152637"/>
                  <a:ext cx="357399" cy="346269"/>
                  <a:chOff x="3525140" y="7975566"/>
                  <a:chExt cx="929360" cy="931976"/>
                </a:xfrm>
              </p:grpSpPr>
              <p:grpSp>
                <p:nvGrpSpPr>
                  <p:cNvPr id="622" name="Group 621">
                    <a:extLst>
                      <a:ext uri="{FF2B5EF4-FFF2-40B4-BE49-F238E27FC236}">
                        <a16:creationId xmlns:a16="http://schemas.microsoft.com/office/drawing/2014/main" id="{7B36D514-C4CC-9049-9F1F-3F419265DCD6}"/>
                      </a:ext>
                    </a:extLst>
                  </p:cNvPr>
                  <p:cNvGrpSpPr/>
                  <p:nvPr/>
                </p:nvGrpSpPr>
                <p:grpSpPr>
                  <a:xfrm>
                    <a:off x="3525140" y="7975566"/>
                    <a:ext cx="929360" cy="931976"/>
                    <a:chOff x="4825203" y="4636641"/>
                    <a:chExt cx="484632" cy="485997"/>
                  </a:xfrm>
                  <a:noFill/>
                </p:grpSpPr>
                <p:grpSp>
                  <p:nvGrpSpPr>
                    <p:cNvPr id="627" name="Group 626">
                      <a:extLst>
                        <a:ext uri="{FF2B5EF4-FFF2-40B4-BE49-F238E27FC236}">
                          <a16:creationId xmlns:a16="http://schemas.microsoft.com/office/drawing/2014/main" id="{A83DED60-5D1C-F544-9C7D-EAF84E663517}"/>
                        </a:ext>
                      </a:extLst>
                    </p:cNvPr>
                    <p:cNvGrpSpPr/>
                    <p:nvPr/>
                  </p:nvGrpSpPr>
                  <p:grpSpPr>
                    <a:xfrm>
                      <a:off x="4825203" y="4636641"/>
                      <a:ext cx="484632" cy="485997"/>
                      <a:chOff x="2107244" y="1575258"/>
                      <a:chExt cx="310993" cy="264555"/>
                    </a:xfrm>
                    <a:grpFill/>
                  </p:grpSpPr>
                  <p:sp>
                    <p:nvSpPr>
                      <p:cNvPr id="629" name="Rectangle 9">
                        <a:extLst>
                          <a:ext uri="{FF2B5EF4-FFF2-40B4-BE49-F238E27FC236}">
                            <a16:creationId xmlns:a16="http://schemas.microsoft.com/office/drawing/2014/main" id="{DED79499-D353-A142-999D-BE32944EF21A}"/>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0" name="Line 10">
                        <a:extLst>
                          <a:ext uri="{FF2B5EF4-FFF2-40B4-BE49-F238E27FC236}">
                            <a16:creationId xmlns:a16="http://schemas.microsoft.com/office/drawing/2014/main" id="{52996241-2219-1D42-AA62-AEF7700BADD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28" name="Oval 627">
                      <a:extLst>
                        <a:ext uri="{FF2B5EF4-FFF2-40B4-BE49-F238E27FC236}">
                          <a16:creationId xmlns:a16="http://schemas.microsoft.com/office/drawing/2014/main" id="{2D25CCF7-AE99-8E4F-A8D2-7CA7B30290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23" name="Group 622">
                    <a:extLst>
                      <a:ext uri="{FF2B5EF4-FFF2-40B4-BE49-F238E27FC236}">
                        <a16:creationId xmlns:a16="http://schemas.microsoft.com/office/drawing/2014/main" id="{7B67599C-CAF9-EC42-8098-3654797E64A5}"/>
                      </a:ext>
                    </a:extLst>
                  </p:cNvPr>
                  <p:cNvGrpSpPr/>
                  <p:nvPr/>
                </p:nvGrpSpPr>
                <p:grpSpPr>
                  <a:xfrm>
                    <a:off x="3706611" y="8401312"/>
                    <a:ext cx="558505" cy="314757"/>
                    <a:chOff x="831850" y="2085362"/>
                    <a:chExt cx="923925" cy="520700"/>
                  </a:xfrm>
                </p:grpSpPr>
                <p:sp>
                  <p:nvSpPr>
                    <p:cNvPr id="624" name="Freeform 78">
                      <a:extLst>
                        <a:ext uri="{FF2B5EF4-FFF2-40B4-BE49-F238E27FC236}">
                          <a16:creationId xmlns:a16="http://schemas.microsoft.com/office/drawing/2014/main" id="{A11C2407-0133-E047-88F7-A5C5DF78F06F}"/>
                        </a:ext>
                      </a:extLst>
                    </p:cNvPr>
                    <p:cNvSpPr/>
                    <p:nvPr/>
                  </p:nvSpPr>
                  <p:spPr bwMode="auto">
                    <a:xfrm>
                      <a:off x="8318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625" name="Freeform 79">
                      <a:extLst>
                        <a:ext uri="{FF2B5EF4-FFF2-40B4-BE49-F238E27FC236}">
                          <a16:creationId xmlns:a16="http://schemas.microsoft.com/office/drawing/2014/main" id="{698B6EBF-F350-D246-8C12-864E08A6D9C7}"/>
                        </a:ext>
                      </a:extLst>
                    </p:cNvPr>
                    <p:cNvSpPr/>
                    <p:nvPr/>
                  </p:nvSpPr>
                  <p:spPr bwMode="auto">
                    <a:xfrm flipH="1">
                      <a:off x="15049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cxnSp>
                  <p:nvCxnSpPr>
                    <p:cNvPr id="626" name="Straight Connector 625">
                      <a:extLst>
                        <a:ext uri="{FF2B5EF4-FFF2-40B4-BE49-F238E27FC236}">
                          <a16:creationId xmlns:a16="http://schemas.microsoft.com/office/drawing/2014/main" id="{B7A4F04F-D1E6-374B-8BD4-B5DCABF43D2B}"/>
                        </a:ext>
                      </a:extLst>
                    </p:cNvPr>
                    <p:cNvCxnSpPr/>
                    <p:nvPr/>
                  </p:nvCxnSpPr>
                  <p:spPr>
                    <a:xfrm flipH="1">
                      <a:off x="1181100" y="2085362"/>
                      <a:ext cx="215900"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31" name="Group 630">
                  <a:extLst>
                    <a:ext uri="{FF2B5EF4-FFF2-40B4-BE49-F238E27FC236}">
                      <a16:creationId xmlns:a16="http://schemas.microsoft.com/office/drawing/2014/main" id="{FB5845DC-3584-7144-A9A4-14853DA61E41}"/>
                    </a:ext>
                  </a:extLst>
                </p:cNvPr>
                <p:cNvGrpSpPr/>
                <p:nvPr/>
              </p:nvGrpSpPr>
              <p:grpSpPr>
                <a:xfrm>
                  <a:off x="9067373" y="1152637"/>
                  <a:ext cx="357399" cy="346269"/>
                  <a:chOff x="7157554" y="1735934"/>
                  <a:chExt cx="397423" cy="398542"/>
                </a:xfrm>
              </p:grpSpPr>
              <p:grpSp>
                <p:nvGrpSpPr>
                  <p:cNvPr id="632" name="Group 631">
                    <a:extLst>
                      <a:ext uri="{FF2B5EF4-FFF2-40B4-BE49-F238E27FC236}">
                        <a16:creationId xmlns:a16="http://schemas.microsoft.com/office/drawing/2014/main" id="{A4450A72-89FB-034C-AACB-50C5629BB57C}"/>
                      </a:ext>
                    </a:extLst>
                  </p:cNvPr>
                  <p:cNvGrpSpPr/>
                  <p:nvPr/>
                </p:nvGrpSpPr>
                <p:grpSpPr>
                  <a:xfrm>
                    <a:off x="7157554" y="1735934"/>
                    <a:ext cx="397423" cy="398542"/>
                    <a:chOff x="2107244" y="1575258"/>
                    <a:chExt cx="310993" cy="264555"/>
                  </a:xfrm>
                  <a:solidFill>
                    <a:srgbClr val="0078D7"/>
                  </a:solidFill>
                </p:grpSpPr>
                <p:sp>
                  <p:nvSpPr>
                    <p:cNvPr id="637" name="Rectangle 9">
                      <a:extLst>
                        <a:ext uri="{FF2B5EF4-FFF2-40B4-BE49-F238E27FC236}">
                          <a16:creationId xmlns:a16="http://schemas.microsoft.com/office/drawing/2014/main" id="{9FA7275F-44A3-F24B-8458-92A6E157EC67}"/>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8" name="Line 10">
                      <a:extLst>
                        <a:ext uri="{FF2B5EF4-FFF2-40B4-BE49-F238E27FC236}">
                          <a16:creationId xmlns:a16="http://schemas.microsoft.com/office/drawing/2014/main" id="{B4E6F8AA-CE5C-054C-BDC9-4592A704B3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grpSp>
                <p:nvGrpSpPr>
                  <p:cNvPr id="633" name="Group 632">
                    <a:extLst>
                      <a:ext uri="{FF2B5EF4-FFF2-40B4-BE49-F238E27FC236}">
                        <a16:creationId xmlns:a16="http://schemas.microsoft.com/office/drawing/2014/main" id="{B830F05D-6569-754E-94B4-9540EEE2A439}"/>
                      </a:ext>
                    </a:extLst>
                  </p:cNvPr>
                  <p:cNvGrpSpPr/>
                  <p:nvPr/>
                </p:nvGrpSpPr>
                <p:grpSpPr>
                  <a:xfrm>
                    <a:off x="7264761" y="1903738"/>
                    <a:ext cx="191394" cy="180132"/>
                    <a:chOff x="2202934" y="1701907"/>
                    <a:chExt cx="95690" cy="90061"/>
                  </a:xfrm>
                  <a:solidFill>
                    <a:srgbClr val="50E6FF"/>
                  </a:solidFill>
                </p:grpSpPr>
                <p:sp>
                  <p:nvSpPr>
                    <p:cNvPr id="635" name="Freeform 14">
                      <a:extLst>
                        <a:ext uri="{FF2B5EF4-FFF2-40B4-BE49-F238E27FC236}">
                          <a16:creationId xmlns:a16="http://schemas.microsoft.com/office/drawing/2014/main" id="{7C35835C-C4E7-C34C-8AE1-31F169FA5BB0}"/>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6" name="Line 15">
                      <a:extLst>
                        <a:ext uri="{FF2B5EF4-FFF2-40B4-BE49-F238E27FC236}">
                          <a16:creationId xmlns:a16="http://schemas.microsoft.com/office/drawing/2014/main" id="{92869FF0-80F5-5246-B0AE-5B903F53D42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34" name="Oval 633">
                    <a:extLst>
                      <a:ext uri="{FF2B5EF4-FFF2-40B4-BE49-F238E27FC236}">
                        <a16:creationId xmlns:a16="http://schemas.microsoft.com/office/drawing/2014/main" id="{1E5E1220-E062-7246-9AD6-3F91360442B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39" name="Group 638">
                  <a:extLst>
                    <a:ext uri="{FF2B5EF4-FFF2-40B4-BE49-F238E27FC236}">
                      <a16:creationId xmlns:a16="http://schemas.microsoft.com/office/drawing/2014/main" id="{F092C4EB-AB7A-FE45-9633-57B512346802}"/>
                    </a:ext>
                  </a:extLst>
                </p:cNvPr>
                <p:cNvGrpSpPr/>
                <p:nvPr/>
              </p:nvGrpSpPr>
              <p:grpSpPr>
                <a:xfrm>
                  <a:off x="7903873" y="1169065"/>
                  <a:ext cx="357399" cy="346269"/>
                  <a:chOff x="5951054" y="1735934"/>
                  <a:chExt cx="397423" cy="398542"/>
                </a:xfrm>
              </p:grpSpPr>
              <p:grpSp>
                <p:nvGrpSpPr>
                  <p:cNvPr id="640" name="Group 639">
                    <a:extLst>
                      <a:ext uri="{FF2B5EF4-FFF2-40B4-BE49-F238E27FC236}">
                        <a16:creationId xmlns:a16="http://schemas.microsoft.com/office/drawing/2014/main" id="{47A03F9B-78E7-A148-979F-D44B0F8AE2B5}"/>
                      </a:ext>
                    </a:extLst>
                  </p:cNvPr>
                  <p:cNvGrpSpPr/>
                  <p:nvPr/>
                </p:nvGrpSpPr>
                <p:grpSpPr>
                  <a:xfrm>
                    <a:off x="5951054" y="1735934"/>
                    <a:ext cx="397423" cy="398542"/>
                    <a:chOff x="4825203" y="4636641"/>
                    <a:chExt cx="484632" cy="485997"/>
                  </a:xfrm>
                  <a:noFill/>
                </p:grpSpPr>
                <p:grpSp>
                  <p:nvGrpSpPr>
                    <p:cNvPr id="646" name="Group 645">
                      <a:extLst>
                        <a:ext uri="{FF2B5EF4-FFF2-40B4-BE49-F238E27FC236}">
                          <a16:creationId xmlns:a16="http://schemas.microsoft.com/office/drawing/2014/main" id="{4B9C330D-3451-9D45-9A81-671658BF2C3A}"/>
                        </a:ext>
                      </a:extLst>
                    </p:cNvPr>
                    <p:cNvGrpSpPr/>
                    <p:nvPr/>
                  </p:nvGrpSpPr>
                  <p:grpSpPr>
                    <a:xfrm>
                      <a:off x="4825203" y="4636641"/>
                      <a:ext cx="484632" cy="485997"/>
                      <a:chOff x="2107244" y="1575258"/>
                      <a:chExt cx="310993" cy="264555"/>
                    </a:xfrm>
                    <a:grpFill/>
                  </p:grpSpPr>
                  <p:sp>
                    <p:nvSpPr>
                      <p:cNvPr id="648" name="Rectangle 9">
                        <a:extLst>
                          <a:ext uri="{FF2B5EF4-FFF2-40B4-BE49-F238E27FC236}">
                            <a16:creationId xmlns:a16="http://schemas.microsoft.com/office/drawing/2014/main" id="{F3D396DD-FA25-2949-8F71-B8D0370C53AC}"/>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49" name="Line 10">
                        <a:extLst>
                          <a:ext uri="{FF2B5EF4-FFF2-40B4-BE49-F238E27FC236}">
                            <a16:creationId xmlns:a16="http://schemas.microsoft.com/office/drawing/2014/main" id="{6F9D313B-5BA5-0D44-BBE3-79FA9F158C83}"/>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47" name="Oval 646">
                      <a:extLst>
                        <a:ext uri="{FF2B5EF4-FFF2-40B4-BE49-F238E27FC236}">
                          <a16:creationId xmlns:a16="http://schemas.microsoft.com/office/drawing/2014/main" id="{4E2BC696-15FF-FD46-9FED-D1F60D7C74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sp>
                <p:nvSpPr>
                  <p:cNvPr id="641" name="Freeform 5">
                    <a:extLst>
                      <a:ext uri="{FF2B5EF4-FFF2-40B4-BE49-F238E27FC236}">
                        <a16:creationId xmlns:a16="http://schemas.microsoft.com/office/drawing/2014/main" id="{C9BCC8C0-0679-E645-A794-7EB1B1E80402}"/>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2" name="Rectangle 6">
                    <a:extLst>
                      <a:ext uri="{FF2B5EF4-FFF2-40B4-BE49-F238E27FC236}">
                        <a16:creationId xmlns:a16="http://schemas.microsoft.com/office/drawing/2014/main" id="{14B8BDE6-396E-AA48-8D99-AE6D5E8E8D03}"/>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3" name="Rectangle 7">
                    <a:extLst>
                      <a:ext uri="{FF2B5EF4-FFF2-40B4-BE49-F238E27FC236}">
                        <a16:creationId xmlns:a16="http://schemas.microsoft.com/office/drawing/2014/main" id="{78900DEC-5012-6E4D-8B09-0825ABF6DB6C}"/>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4" name="Rectangle 8">
                    <a:extLst>
                      <a:ext uri="{FF2B5EF4-FFF2-40B4-BE49-F238E27FC236}">
                        <a16:creationId xmlns:a16="http://schemas.microsoft.com/office/drawing/2014/main" id="{AB3639DF-6617-CC45-9835-ADA7BEF99CC0}"/>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5" name="Rectangle 8">
                    <a:extLst>
                      <a:ext uri="{FF2B5EF4-FFF2-40B4-BE49-F238E27FC236}">
                        <a16:creationId xmlns:a16="http://schemas.microsoft.com/office/drawing/2014/main" id="{EE0EFA85-971F-1941-ABA7-ABED9B93EC85}"/>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221E08B2-1A02-FB40-A599-E6593053F219}"/>
                    </a:ext>
                  </a:extLst>
                </p:cNvPr>
                <p:cNvGrpSpPr/>
                <p:nvPr/>
              </p:nvGrpSpPr>
              <p:grpSpPr>
                <a:xfrm>
                  <a:off x="7918710" y="1988750"/>
                  <a:ext cx="348172" cy="322453"/>
                  <a:chOff x="5786695" y="1006762"/>
                  <a:chExt cx="473472" cy="438498"/>
                </a:xfrm>
              </p:grpSpPr>
              <p:sp>
                <p:nvSpPr>
                  <p:cNvPr id="249" name="Freeform: Shape 829">
                    <a:extLst>
                      <a:ext uri="{FF2B5EF4-FFF2-40B4-BE49-F238E27FC236}">
                        <a16:creationId xmlns:a16="http://schemas.microsoft.com/office/drawing/2014/main" id="{A343F2C7-3AD9-544F-8961-04D62D9F24B0}"/>
                      </a:ext>
                    </a:extLst>
                  </p:cNvPr>
                  <p:cNvSpPr/>
                  <p:nvPr/>
                </p:nvSpPr>
                <p:spPr bwMode="auto">
                  <a:xfrm>
                    <a:off x="5838584" y="1006762"/>
                    <a:ext cx="340129" cy="4384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37BB11C-7638-8844-AD98-33EC5E011908}"/>
                      </a:ext>
                    </a:extLst>
                  </p:cNvPr>
                  <p:cNvSpPr txBox="1"/>
                  <p:nvPr/>
                </p:nvSpPr>
                <p:spPr>
                  <a:xfrm>
                    <a:off x="5786695" y="1128563"/>
                    <a:ext cx="473472" cy="257403"/>
                  </a:xfrm>
                  <a:prstGeom prst="rect">
                    <a:avLst/>
                  </a:prstGeom>
                  <a:noFill/>
                </p:spPr>
                <p:txBody>
                  <a:bodyPr wrap="none" lIns="91440" tIns="45720" rIns="91440" bIns="45720" rtlCol="0">
                    <a:spAutoFit/>
                  </a:bodyPr>
                  <a:lstStyle/>
                  <a:p>
                    <a:pPr algn="l">
                      <a:lnSpc>
                        <a:spcPct val="90000"/>
                      </a:lnSpc>
                      <a:spcAft>
                        <a:spcPts val="600"/>
                      </a:spcAft>
                    </a:pPr>
                    <a:r>
                      <a:rPr lang="en-US" sz="700" b="1" dirty="0">
                        <a:solidFill>
                          <a:srgbClr val="50E6FF"/>
                        </a:solidFill>
                        <a:latin typeface="Segoe UI" panose="020B0502040204020203" pitchFamily="34" charset="0"/>
                        <a:cs typeface="Segoe UI" panose="020B0502040204020203" pitchFamily="34" charset="0"/>
                      </a:rPr>
                      <a:t>SQL</a:t>
                    </a:r>
                    <a:endParaRPr lang="en-US" sz="1200" b="1" dirty="0">
                      <a:solidFill>
                        <a:srgbClr val="50E6FF"/>
                      </a:solidFill>
                      <a:latin typeface="Segoe UI" panose="020B0502040204020203" pitchFamily="34" charset="0"/>
                      <a:cs typeface="Segoe UI" panose="020B0502040204020203" pitchFamily="34" charset="0"/>
                    </a:endParaRPr>
                  </a:p>
                </p:txBody>
              </p:sp>
            </p:grpSp>
          </p:grpSp>
        </p:grpSp>
      </p:grpSp>
      <p:grpSp>
        <p:nvGrpSpPr>
          <p:cNvPr id="28" name="Group 27">
            <a:extLst>
              <a:ext uri="{FF2B5EF4-FFF2-40B4-BE49-F238E27FC236}">
                <a16:creationId xmlns:a16="http://schemas.microsoft.com/office/drawing/2014/main" id="{CE13E8DA-EAA1-3740-8FD1-6F362F81F8BE}"/>
              </a:ext>
            </a:extLst>
          </p:cNvPr>
          <p:cNvGrpSpPr/>
          <p:nvPr/>
        </p:nvGrpSpPr>
        <p:grpSpPr>
          <a:xfrm>
            <a:off x="3721556" y="2599980"/>
            <a:ext cx="2070668" cy="2819720"/>
            <a:chOff x="3807284" y="2373557"/>
            <a:chExt cx="2070668" cy="2819720"/>
          </a:xfrm>
        </p:grpSpPr>
        <p:cxnSp>
          <p:nvCxnSpPr>
            <p:cNvPr id="290" name="Straight Connector 289">
              <a:extLst>
                <a:ext uri="{FF2B5EF4-FFF2-40B4-BE49-F238E27FC236}">
                  <a16:creationId xmlns:a16="http://schemas.microsoft.com/office/drawing/2014/main" id="{D879A722-77DE-4044-BD54-C66394106851}"/>
                </a:ext>
              </a:extLst>
            </p:cNvPr>
            <p:cNvCxnSpPr>
              <a:cxnSpLocks/>
            </p:cNvCxnSpPr>
            <p:nvPr/>
          </p:nvCxnSpPr>
          <p:spPr>
            <a:xfrm>
              <a:off x="4430539" y="2373557"/>
              <a:ext cx="0" cy="129069"/>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F1A80E5-9C7A-FB49-9AAF-F68055D5176E}"/>
                </a:ext>
              </a:extLst>
            </p:cNvPr>
            <p:cNvGrpSpPr/>
            <p:nvPr/>
          </p:nvGrpSpPr>
          <p:grpSpPr>
            <a:xfrm>
              <a:off x="3807284" y="2547683"/>
              <a:ext cx="2070668" cy="2645594"/>
              <a:chOff x="3807284" y="2547683"/>
              <a:chExt cx="2070668" cy="2645594"/>
            </a:xfrm>
          </p:grpSpPr>
          <p:grpSp>
            <p:nvGrpSpPr>
              <p:cNvPr id="45" name="Group 44">
                <a:extLst>
                  <a:ext uri="{FF2B5EF4-FFF2-40B4-BE49-F238E27FC236}">
                    <a16:creationId xmlns:a16="http://schemas.microsoft.com/office/drawing/2014/main" id="{40B09AE3-96A1-43B1-BD85-7C3103F0A8C7}"/>
                  </a:ext>
                </a:extLst>
              </p:cNvPr>
              <p:cNvGrpSpPr/>
              <p:nvPr/>
            </p:nvGrpSpPr>
            <p:grpSpPr>
              <a:xfrm>
                <a:off x="3809535" y="3541495"/>
                <a:ext cx="2068417" cy="1651782"/>
                <a:chOff x="8707830" y="3825718"/>
                <a:chExt cx="2068417" cy="1651782"/>
              </a:xfrm>
            </p:grpSpPr>
            <p:sp>
              <p:nvSpPr>
                <p:cNvPr id="398" name="Rectangle 397">
                  <a:extLst>
                    <a:ext uri="{FF2B5EF4-FFF2-40B4-BE49-F238E27FC236}">
                      <a16:creationId xmlns:a16="http://schemas.microsoft.com/office/drawing/2014/main" id="{0F4E4795-4AD3-A94C-A85E-4D89F8EC95AC}"/>
                    </a:ext>
                  </a:extLst>
                </p:cNvPr>
                <p:cNvSpPr/>
                <p:nvPr/>
              </p:nvSpPr>
              <p:spPr>
                <a:xfrm>
                  <a:off x="8707830" y="3825718"/>
                  <a:ext cx="2068417" cy="165178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Data mart</a:t>
                  </a:r>
                </a:p>
              </p:txBody>
            </p:sp>
            <p:sp>
              <p:nvSpPr>
                <p:cNvPr id="401" name="Rectangle 400">
                  <a:extLst>
                    <a:ext uri="{FF2B5EF4-FFF2-40B4-BE49-F238E27FC236}">
                      <a16:creationId xmlns:a16="http://schemas.microsoft.com/office/drawing/2014/main" id="{919E8DFF-5E0A-EA44-8311-F0CF6204481A}"/>
                    </a:ext>
                  </a:extLst>
                </p:cNvPr>
                <p:cNvSpPr/>
                <p:nvPr/>
              </p:nvSpPr>
              <p:spPr>
                <a:xfrm>
                  <a:off x="8832007" y="4252580"/>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sp>
              <p:nvSpPr>
                <p:cNvPr id="403" name="Rectangle 402">
                  <a:extLst>
                    <a:ext uri="{FF2B5EF4-FFF2-40B4-BE49-F238E27FC236}">
                      <a16:creationId xmlns:a16="http://schemas.microsoft.com/office/drawing/2014/main" id="{99E65971-2466-7F46-804E-B95089E42B3D}"/>
                    </a:ext>
                  </a:extLst>
                </p:cNvPr>
                <p:cNvSpPr/>
                <p:nvPr/>
              </p:nvSpPr>
              <p:spPr>
                <a:xfrm>
                  <a:off x="9790674" y="4252578"/>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grpSp>
          <p:grpSp>
            <p:nvGrpSpPr>
              <p:cNvPr id="39" name="Group 38">
                <a:extLst>
                  <a:ext uri="{FF2B5EF4-FFF2-40B4-BE49-F238E27FC236}">
                    <a16:creationId xmlns:a16="http://schemas.microsoft.com/office/drawing/2014/main" id="{99667A08-7D30-4DFB-B61F-834C3443760D}"/>
                  </a:ext>
                </a:extLst>
              </p:cNvPr>
              <p:cNvGrpSpPr/>
              <p:nvPr/>
            </p:nvGrpSpPr>
            <p:grpSpPr>
              <a:xfrm>
                <a:off x="3807284" y="2547683"/>
                <a:ext cx="1216089" cy="804424"/>
                <a:chOff x="9380696" y="2831906"/>
                <a:chExt cx="1216089" cy="804424"/>
              </a:xfrm>
            </p:grpSpPr>
            <p:sp>
              <p:nvSpPr>
                <p:cNvPr id="115" name="Rectangle 114">
                  <a:extLst>
                    <a:ext uri="{FF2B5EF4-FFF2-40B4-BE49-F238E27FC236}">
                      <a16:creationId xmlns:a16="http://schemas.microsoft.com/office/drawing/2014/main" id="{2E019E4F-ED7A-48BA-8466-34A7FCDAADEF}"/>
                    </a:ext>
                  </a:extLst>
                </p:cNvPr>
                <p:cNvSpPr/>
                <p:nvPr/>
              </p:nvSpPr>
              <p:spPr>
                <a:xfrm>
                  <a:off x="9380696" y="2831906"/>
                  <a:ext cx="1216089" cy="804424"/>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Compute pool</a:t>
                  </a:r>
                </a:p>
              </p:txBody>
            </p:sp>
            <p:sp>
              <p:nvSpPr>
                <p:cNvPr id="174" name="Rectangle 173">
                  <a:extLst>
                    <a:ext uri="{FF2B5EF4-FFF2-40B4-BE49-F238E27FC236}">
                      <a16:creationId xmlns:a16="http://schemas.microsoft.com/office/drawing/2014/main" id="{A22D4463-06BB-4A37-ABA0-B61F52F151BC}"/>
                    </a:ext>
                  </a:extLst>
                </p:cNvPr>
                <p:cNvSpPr/>
                <p:nvPr/>
              </p:nvSpPr>
              <p:spPr>
                <a:xfrm>
                  <a:off x="9504446"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cxnSp>
            <p:nvCxnSpPr>
              <p:cNvPr id="23" name="Straight Arrow Connector 22">
                <a:extLst>
                  <a:ext uri="{FF2B5EF4-FFF2-40B4-BE49-F238E27FC236}">
                    <a16:creationId xmlns:a16="http://schemas.microsoft.com/office/drawing/2014/main" id="{BBF568FF-8EAD-4A97-91F5-539EACC578A7}"/>
                  </a:ext>
                </a:extLst>
              </p:cNvPr>
              <p:cNvCxnSpPr>
                <a:cxnSpLocks/>
              </p:cNvCxnSpPr>
              <p:nvPr/>
            </p:nvCxnSpPr>
            <p:spPr>
              <a:xfrm>
                <a:off x="4441717" y="3236540"/>
                <a:ext cx="0" cy="304955"/>
              </a:xfrm>
              <a:prstGeom prst="straightConnector1">
                <a:avLst/>
              </a:prstGeom>
              <a:ln w="12700">
                <a:solidFill>
                  <a:srgbClr val="0078D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6C9E83-C099-0B48-AD07-964E937C89E3}"/>
                  </a:ext>
                </a:extLst>
              </p:cNvPr>
              <p:cNvSpPr/>
              <p:nvPr/>
            </p:nvSpPr>
            <p:spPr>
              <a:xfrm>
                <a:off x="4052317" y="4780566"/>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620" name="Rectangle 619">
                <a:extLst>
                  <a:ext uri="{FF2B5EF4-FFF2-40B4-BE49-F238E27FC236}">
                    <a16:creationId xmlns:a16="http://schemas.microsoft.com/office/drawing/2014/main" id="{B8FC2FF8-1E0C-8343-BED8-5F3246D79320}"/>
                  </a:ext>
                </a:extLst>
              </p:cNvPr>
              <p:cNvSpPr/>
              <p:nvPr/>
            </p:nvSpPr>
            <p:spPr>
              <a:xfrm>
                <a:off x="4996832" y="4782887"/>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252" name="Freeform: Shape 829">
                <a:extLst>
                  <a:ext uri="{FF2B5EF4-FFF2-40B4-BE49-F238E27FC236}">
                    <a16:creationId xmlns:a16="http://schemas.microsoft.com/office/drawing/2014/main" id="{F741376A-00B2-A248-AFD2-CB46EA36E761}"/>
                  </a:ext>
                </a:extLst>
              </p:cNvPr>
              <p:cNvSpPr/>
              <p:nvPr/>
            </p:nvSpPr>
            <p:spPr bwMode="auto">
              <a:xfrm>
                <a:off x="5182318" y="444242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Shape 829">
                <a:extLst>
                  <a:ext uri="{FF2B5EF4-FFF2-40B4-BE49-F238E27FC236}">
                    <a16:creationId xmlns:a16="http://schemas.microsoft.com/office/drawing/2014/main" id="{D26E7CCD-0E1B-7642-8184-19599B4EA57C}"/>
                  </a:ext>
                </a:extLst>
              </p:cNvPr>
              <p:cNvSpPr/>
              <p:nvPr/>
            </p:nvSpPr>
            <p:spPr bwMode="auto">
              <a:xfrm>
                <a:off x="4254218" y="4436785"/>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256" name="Rectangle 255">
            <a:extLst>
              <a:ext uri="{FF2B5EF4-FFF2-40B4-BE49-F238E27FC236}">
                <a16:creationId xmlns:a16="http://schemas.microsoft.com/office/drawing/2014/main" id="{6DC4CD9D-FDCA-4A72-8177-9D51EAE54F16}"/>
              </a:ext>
            </a:extLst>
          </p:cNvPr>
          <p:cNvSpPr/>
          <p:nvPr/>
        </p:nvSpPr>
        <p:spPr>
          <a:xfrm>
            <a:off x="583872" y="1000748"/>
            <a:ext cx="4314237" cy="8372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Segoe UI Semibold" panose="020B0502040204020203" pitchFamily="34" charset="0"/>
                <a:cs typeface="Segoe UI Semibold" panose="020B0502040204020203" pitchFamily="34" charset="0"/>
              </a:rPr>
              <a:t>Control Plane</a:t>
            </a:r>
          </a:p>
        </p:txBody>
      </p:sp>
      <p:sp>
        <p:nvSpPr>
          <p:cNvPr id="257" name="Rectangle 256">
            <a:extLst>
              <a:ext uri="{FF2B5EF4-FFF2-40B4-BE49-F238E27FC236}">
                <a16:creationId xmlns:a16="http://schemas.microsoft.com/office/drawing/2014/main" id="{769A9B31-230A-4EB7-A745-7B094F90F1E5}"/>
              </a:ext>
            </a:extLst>
          </p:cNvPr>
          <p:cNvSpPr/>
          <p:nvPr/>
        </p:nvSpPr>
        <p:spPr>
          <a:xfrm>
            <a:off x="688701" y="1226087"/>
            <a:ext cx="990116"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troller Svc</a:t>
            </a:r>
          </a:p>
        </p:txBody>
      </p:sp>
      <p:sp>
        <p:nvSpPr>
          <p:cNvPr id="258" name="Rectangle 257">
            <a:extLst>
              <a:ext uri="{FF2B5EF4-FFF2-40B4-BE49-F238E27FC236}">
                <a16:creationId xmlns:a16="http://schemas.microsoft.com/office/drawing/2014/main" id="{BEB76F30-D372-4BAF-96C0-4D46724F7117}"/>
              </a:ext>
            </a:extLst>
          </p:cNvPr>
          <p:cNvSpPr/>
          <p:nvPr/>
        </p:nvSpPr>
        <p:spPr>
          <a:xfrm>
            <a:off x="692586" y="1506211"/>
            <a:ext cx="231062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figuration Store (SQL Server)</a:t>
            </a:r>
          </a:p>
        </p:txBody>
      </p:sp>
      <p:sp>
        <p:nvSpPr>
          <p:cNvPr id="259" name="Rectangle 258">
            <a:extLst>
              <a:ext uri="{FF2B5EF4-FFF2-40B4-BE49-F238E27FC236}">
                <a16:creationId xmlns:a16="http://schemas.microsoft.com/office/drawing/2014/main" id="{FF495303-F272-4F09-9C82-D348B60B43DB}"/>
              </a:ext>
            </a:extLst>
          </p:cNvPr>
          <p:cNvSpPr/>
          <p:nvPr/>
        </p:nvSpPr>
        <p:spPr>
          <a:xfrm>
            <a:off x="4102581" y="1226087"/>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Grafana</a:t>
            </a:r>
          </a:p>
        </p:txBody>
      </p:sp>
      <p:sp>
        <p:nvSpPr>
          <p:cNvPr id="260" name="Rectangle 259">
            <a:extLst>
              <a:ext uri="{FF2B5EF4-FFF2-40B4-BE49-F238E27FC236}">
                <a16:creationId xmlns:a16="http://schemas.microsoft.com/office/drawing/2014/main" id="{B4990FD4-54A7-4EC5-A829-6E1F8CC9DDD0}"/>
              </a:ext>
            </a:extLst>
          </p:cNvPr>
          <p:cNvSpPr/>
          <p:nvPr/>
        </p:nvSpPr>
        <p:spPr>
          <a:xfrm>
            <a:off x="3071629" y="1498853"/>
            <a:ext cx="971543"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Elastic Search</a:t>
            </a:r>
          </a:p>
        </p:txBody>
      </p:sp>
      <p:sp>
        <p:nvSpPr>
          <p:cNvPr id="261" name="Rectangle 260">
            <a:extLst>
              <a:ext uri="{FF2B5EF4-FFF2-40B4-BE49-F238E27FC236}">
                <a16:creationId xmlns:a16="http://schemas.microsoft.com/office/drawing/2014/main" id="{1339496D-F1CE-403A-9438-B54166DFE5D4}"/>
              </a:ext>
            </a:extLst>
          </p:cNvPr>
          <p:cNvSpPr/>
          <p:nvPr/>
        </p:nvSpPr>
        <p:spPr>
          <a:xfrm>
            <a:off x="1738226" y="1226087"/>
            <a:ext cx="126498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Azure FSM Engine</a:t>
            </a:r>
          </a:p>
        </p:txBody>
      </p:sp>
      <p:sp>
        <p:nvSpPr>
          <p:cNvPr id="271" name="Rectangle 270">
            <a:extLst>
              <a:ext uri="{FF2B5EF4-FFF2-40B4-BE49-F238E27FC236}">
                <a16:creationId xmlns:a16="http://schemas.microsoft.com/office/drawing/2014/main" id="{1D7B3563-6641-4526-A40A-703732844C44}"/>
              </a:ext>
            </a:extLst>
          </p:cNvPr>
          <p:cNvSpPr/>
          <p:nvPr/>
        </p:nvSpPr>
        <p:spPr>
          <a:xfrm>
            <a:off x="4102581" y="1505639"/>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InfluxDB</a:t>
            </a:r>
          </a:p>
        </p:txBody>
      </p:sp>
      <p:sp>
        <p:nvSpPr>
          <p:cNvPr id="272" name="Rectangle 271">
            <a:extLst>
              <a:ext uri="{FF2B5EF4-FFF2-40B4-BE49-F238E27FC236}">
                <a16:creationId xmlns:a16="http://schemas.microsoft.com/office/drawing/2014/main" id="{68C79262-9969-4088-8120-673CC1E8C07E}"/>
              </a:ext>
            </a:extLst>
          </p:cNvPr>
          <p:cNvSpPr/>
          <p:nvPr/>
        </p:nvSpPr>
        <p:spPr>
          <a:xfrm>
            <a:off x="3062622" y="1226087"/>
            <a:ext cx="980550"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Kibana</a:t>
            </a:r>
          </a:p>
        </p:txBody>
      </p:sp>
      <p:cxnSp>
        <p:nvCxnSpPr>
          <p:cNvPr id="32" name="Straight Connector 31">
            <a:extLst>
              <a:ext uri="{FF2B5EF4-FFF2-40B4-BE49-F238E27FC236}">
                <a16:creationId xmlns:a16="http://schemas.microsoft.com/office/drawing/2014/main" id="{D44B922D-A7C1-463B-8C78-B57B87D716DD}"/>
              </a:ext>
            </a:extLst>
          </p:cNvPr>
          <p:cNvCxnSpPr>
            <a:cxnSpLocks/>
          </p:cNvCxnSpPr>
          <p:nvPr/>
        </p:nvCxnSpPr>
        <p:spPr>
          <a:xfrm>
            <a:off x="583872" y="1827558"/>
            <a:ext cx="1546441" cy="31147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1F5AB1D-DC7A-414C-9347-A4A7509FD5E9}"/>
              </a:ext>
            </a:extLst>
          </p:cNvPr>
          <p:cNvCxnSpPr>
            <a:cxnSpLocks/>
            <a:endCxn id="358" idx="0"/>
          </p:cNvCxnSpPr>
          <p:nvPr/>
        </p:nvCxnSpPr>
        <p:spPr>
          <a:xfrm>
            <a:off x="4911104" y="1851592"/>
            <a:ext cx="2069520" cy="2850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17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animBg="1"/>
      <p:bldP spid="257" grpId="0" animBg="1"/>
      <p:bldP spid="258" grpId="0" animBg="1"/>
      <p:bldP spid="259" grpId="0" animBg="1"/>
      <p:bldP spid="260" grpId="0" animBg="1"/>
      <p:bldP spid="261" grpId="0" animBg="1"/>
      <p:bldP spid="271" grpId="0" animBg="1"/>
      <p:bldP spid="27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737A-B9CD-4619-BC49-75DE312320A9}"/>
              </a:ext>
            </a:extLst>
          </p:cNvPr>
          <p:cNvSpPr>
            <a:spLocks noGrp="1"/>
          </p:cNvSpPr>
          <p:nvPr>
            <p:ph type="title"/>
          </p:nvPr>
        </p:nvSpPr>
        <p:spPr>
          <a:xfrm>
            <a:off x="359663" y="257532"/>
            <a:ext cx="11018520" cy="553998"/>
          </a:xfrm>
        </p:spPr>
        <p:txBody>
          <a:bodyPr/>
          <a:lstStyle/>
          <a:p>
            <a:r>
              <a:rPr lang="en-US" dirty="0"/>
              <a:t>Azure Data Studio and Data Virtualization</a:t>
            </a:r>
          </a:p>
        </p:txBody>
      </p:sp>
      <p:sp>
        <p:nvSpPr>
          <p:cNvPr id="5" name="Rectangle 4">
            <a:extLst>
              <a:ext uri="{FF2B5EF4-FFF2-40B4-BE49-F238E27FC236}">
                <a16:creationId xmlns:a16="http://schemas.microsoft.com/office/drawing/2014/main" id="{90AD6BFD-A8EE-4AB8-90DC-0262FBD3613A}"/>
              </a:ext>
            </a:extLst>
          </p:cNvPr>
          <p:cNvSpPr/>
          <p:nvPr/>
        </p:nvSpPr>
        <p:spPr bwMode="auto">
          <a:xfrm>
            <a:off x="7515497" y="1222452"/>
            <a:ext cx="4396740" cy="9832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ing </a:t>
            </a:r>
            <a:r>
              <a:rPr lang="en-US" sz="2000" dirty="0">
                <a:gradFill>
                  <a:gsLst>
                    <a:gs pos="0">
                      <a:srgbClr val="FFFFFF"/>
                    </a:gs>
                    <a:gs pos="100000">
                      <a:srgbClr val="FFFFFF"/>
                    </a:gs>
                  </a:gsLst>
                  <a:lin ang="5400000" scaled="0"/>
                </a:gradFill>
                <a:ea typeface="Segoe UI" pitchFamily="34" charset="0"/>
                <a:cs typeface="Segoe UI" pitchFamily="34" charset="0"/>
                <a:hlinkClick r:id="rId2"/>
              </a:rPr>
              <a:t>PROSE</a:t>
            </a:r>
            <a:r>
              <a:rPr lang="en-US" sz="2000" dirty="0">
                <a:gradFill>
                  <a:gsLst>
                    <a:gs pos="0">
                      <a:srgbClr val="FFFFFF"/>
                    </a:gs>
                    <a:gs pos="100000">
                      <a:srgbClr val="FFFFFF"/>
                    </a:gs>
                  </a:gsLst>
                  <a:lin ang="5400000" scaled="0"/>
                </a:gradFill>
                <a:ea typeface="Segoe UI" pitchFamily="34" charset="0"/>
                <a:cs typeface="Segoe UI" pitchFamily="34" charset="0"/>
              </a:rPr>
              <a:t> for intelligent import and schema detection</a:t>
            </a:r>
          </a:p>
        </p:txBody>
      </p:sp>
      <p:pic>
        <p:nvPicPr>
          <p:cNvPr id="3" name="Picture 2">
            <a:extLst>
              <a:ext uri="{FF2B5EF4-FFF2-40B4-BE49-F238E27FC236}">
                <a16:creationId xmlns:a16="http://schemas.microsoft.com/office/drawing/2014/main" id="{E6B96FCA-8430-4CD4-92B8-595B9610CC71}"/>
              </a:ext>
            </a:extLst>
          </p:cNvPr>
          <p:cNvPicPr>
            <a:picLocks noChangeAspect="1"/>
          </p:cNvPicPr>
          <p:nvPr/>
        </p:nvPicPr>
        <p:blipFill>
          <a:blip r:embed="rId3"/>
          <a:stretch>
            <a:fillRect/>
          </a:stretch>
        </p:blipFill>
        <p:spPr>
          <a:xfrm>
            <a:off x="192023" y="1011198"/>
            <a:ext cx="3684969" cy="5323420"/>
          </a:xfrm>
          <a:prstGeom prst="rect">
            <a:avLst/>
          </a:prstGeom>
        </p:spPr>
      </p:pic>
      <p:pic>
        <p:nvPicPr>
          <p:cNvPr id="4" name="Picture 3">
            <a:extLst>
              <a:ext uri="{FF2B5EF4-FFF2-40B4-BE49-F238E27FC236}">
                <a16:creationId xmlns:a16="http://schemas.microsoft.com/office/drawing/2014/main" id="{527B7C1F-F023-4E80-A791-CA4E9F905174}"/>
              </a:ext>
            </a:extLst>
          </p:cNvPr>
          <p:cNvPicPr>
            <a:picLocks noChangeAspect="1"/>
          </p:cNvPicPr>
          <p:nvPr/>
        </p:nvPicPr>
        <p:blipFill>
          <a:blip r:embed="rId4"/>
          <a:stretch>
            <a:fillRect/>
          </a:stretch>
        </p:blipFill>
        <p:spPr>
          <a:xfrm>
            <a:off x="388620" y="1222452"/>
            <a:ext cx="6376749" cy="4824018"/>
          </a:xfrm>
          <a:prstGeom prst="rect">
            <a:avLst/>
          </a:prstGeom>
        </p:spPr>
      </p:pic>
      <p:graphicFrame>
        <p:nvGraphicFramePr>
          <p:cNvPr id="6" name="Diagram 5">
            <a:extLst>
              <a:ext uri="{FF2B5EF4-FFF2-40B4-BE49-F238E27FC236}">
                <a16:creationId xmlns:a16="http://schemas.microsoft.com/office/drawing/2014/main" id="{9FB552FA-8C76-42B2-90E1-03F53F8E1CC0}"/>
              </a:ext>
            </a:extLst>
          </p:cNvPr>
          <p:cNvGraphicFramePr/>
          <p:nvPr/>
        </p:nvGraphicFramePr>
        <p:xfrm>
          <a:off x="7961774" y="2053312"/>
          <a:ext cx="3504185" cy="37223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a:extLst>
              <a:ext uri="{FF2B5EF4-FFF2-40B4-BE49-F238E27FC236}">
                <a16:creationId xmlns:a16="http://schemas.microsoft.com/office/drawing/2014/main" id="{E10C59BF-2057-41B8-8B90-A2DA31CABA4D}"/>
              </a:ext>
            </a:extLst>
          </p:cNvPr>
          <p:cNvPicPr>
            <a:picLocks noChangeAspect="1"/>
          </p:cNvPicPr>
          <p:nvPr/>
        </p:nvPicPr>
        <p:blipFill>
          <a:blip r:embed="rId10"/>
          <a:stretch>
            <a:fillRect/>
          </a:stretch>
        </p:blipFill>
        <p:spPr>
          <a:xfrm>
            <a:off x="2135078" y="1313565"/>
            <a:ext cx="3811466" cy="4718686"/>
          </a:xfrm>
          <a:prstGeom prst="rect">
            <a:avLst/>
          </a:prstGeom>
        </p:spPr>
      </p:pic>
    </p:spTree>
    <p:extLst>
      <p:ext uri="{BB962C8B-B14F-4D97-AF65-F5344CB8AC3E}">
        <p14:creationId xmlns:p14="http://schemas.microsoft.com/office/powerpoint/2010/main" val="55749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SQL Server Big Data Clusters</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A peek at SQL Server Big Data Clusters</a:t>
            </a:r>
          </a:p>
        </p:txBody>
      </p:sp>
    </p:spTree>
    <p:extLst>
      <p:ext uri="{BB962C8B-B14F-4D97-AF65-F5344CB8AC3E}">
        <p14:creationId xmlns:p14="http://schemas.microsoft.com/office/powerpoint/2010/main" val="44560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9: What is else is new in SQL Server 2019</a:t>
            </a:r>
          </a:p>
        </p:txBody>
      </p:sp>
    </p:spTree>
    <p:extLst>
      <p:ext uri="{BB962C8B-B14F-4D97-AF65-F5344CB8AC3E}">
        <p14:creationId xmlns:p14="http://schemas.microsoft.com/office/powerpoint/2010/main" val="347218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16C553-EA3D-0B4D-A558-04C3F1C6FD93}"/>
              </a:ext>
            </a:extLst>
          </p:cNvPr>
          <p:cNvSpPr/>
          <p:nvPr/>
        </p:nvSpPr>
        <p:spPr>
          <a:xfrm>
            <a:off x="5067395" y="31845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17" name="Title 16"/>
          <p:cNvSpPr>
            <a:spLocks noGrp="1"/>
          </p:cNvSpPr>
          <p:nvPr>
            <p:ph type="title"/>
          </p:nvPr>
        </p:nvSpPr>
        <p:spPr>
          <a:xfrm>
            <a:off x="588263" y="457200"/>
            <a:ext cx="4364737" cy="553998"/>
          </a:xfrm>
        </p:spPr>
        <p:txBody>
          <a:bodyPr/>
          <a:lstStyle/>
          <a:p>
            <a:r>
              <a:rPr lang="en-US" dirty="0"/>
              <a:t>The Customer Voice</a:t>
            </a:r>
          </a:p>
        </p:txBody>
      </p:sp>
      <p:sp>
        <p:nvSpPr>
          <p:cNvPr id="6" name="Text Placeholder 5"/>
          <p:cNvSpPr>
            <a:spLocks noGrp="1"/>
          </p:cNvSpPr>
          <p:nvPr>
            <p:ph type="body" sz="quarter" idx="10"/>
          </p:nvPr>
        </p:nvSpPr>
        <p:spPr>
          <a:xfrm>
            <a:off x="588263" y="1247346"/>
            <a:ext cx="3759200" cy="4770537"/>
          </a:xfrm>
        </p:spPr>
        <p:txBody>
          <a:bodyPr/>
          <a:lstStyle/>
          <a:p>
            <a:r>
              <a:rPr lang="en-US" dirty="0"/>
              <a:t>New </a:t>
            </a:r>
            <a:r>
              <a:rPr lang="en-US" dirty="0" err="1"/>
              <a:t>tlog</a:t>
            </a:r>
            <a:r>
              <a:rPr lang="en-US" dirty="0"/>
              <a:t> DMVs</a:t>
            </a:r>
          </a:p>
          <a:p>
            <a:r>
              <a:rPr lang="en-US" dirty="0"/>
              <a:t>New T-SQL string functions</a:t>
            </a:r>
          </a:p>
          <a:p>
            <a:pPr>
              <a:spcBef>
                <a:spcPts val="1000"/>
              </a:spcBef>
            </a:pPr>
            <a:r>
              <a:rPr lang="en-US" sz="2000" dirty="0" err="1"/>
              <a:t>Columnstore</a:t>
            </a:r>
            <a:r>
              <a:rPr lang="en-US" sz="2000" dirty="0"/>
              <a:t> stats in DBCC CLONEDATABASE</a:t>
            </a:r>
          </a:p>
          <a:p>
            <a:pPr>
              <a:spcBef>
                <a:spcPts val="1000"/>
              </a:spcBef>
            </a:pPr>
            <a:r>
              <a:rPr lang="en-US" sz="2000" dirty="0"/>
              <a:t>Estimate compression for Columnstore indexes</a:t>
            </a:r>
          </a:p>
          <a:p>
            <a:r>
              <a:rPr lang="en-US" dirty="0"/>
              <a:t>Diagnostics for auto stats blocking</a:t>
            </a:r>
          </a:p>
          <a:p>
            <a:pPr>
              <a:spcBef>
                <a:spcPts val="1000"/>
              </a:spcBef>
            </a:pPr>
            <a:r>
              <a:rPr lang="en-US" dirty="0"/>
              <a:t>The #1 voted customer feedback item of all time: String Truncation (1000+ votes)</a:t>
            </a:r>
          </a:p>
          <a:p>
            <a:pPr>
              <a:spcBef>
                <a:spcPts val="1000"/>
              </a:spcBef>
            </a:pPr>
            <a:r>
              <a:rPr lang="en-US" sz="2000" dirty="0"/>
              <a:t>Troubleshoot page resource waits with new built-in T-SQL</a:t>
            </a:r>
          </a:p>
        </p:txBody>
      </p:sp>
      <p:sp>
        <p:nvSpPr>
          <p:cNvPr id="2" name="Rectangle 1">
            <a:extLst>
              <a:ext uri="{FF2B5EF4-FFF2-40B4-BE49-F238E27FC236}">
                <a16:creationId xmlns:a16="http://schemas.microsoft.com/office/drawing/2014/main" id="{52961319-B32B-41FE-8BBF-24202B001C20}"/>
              </a:ext>
            </a:extLst>
          </p:cNvPr>
          <p:cNvSpPr/>
          <p:nvPr/>
        </p:nvSpPr>
        <p:spPr>
          <a:xfrm>
            <a:off x="5877152" y="897374"/>
            <a:ext cx="5250155" cy="369332"/>
          </a:xfrm>
          <a:prstGeom prst="rect">
            <a:avLst/>
          </a:prstGeom>
        </p:spPr>
        <p:txBody>
          <a:bodyPr wrap="none">
            <a:spAutoFit/>
          </a:bodyPr>
          <a:lstStyle/>
          <a:p>
            <a:r>
              <a:rPr lang="en-US" sz="1800" dirty="0">
                <a:latin typeface="Consolas" panose="020B0609020204030204" pitchFamily="49" charset="0"/>
              </a:rPr>
              <a:t>String or binary data would be truncated</a:t>
            </a:r>
          </a:p>
        </p:txBody>
      </p:sp>
      <p:sp>
        <p:nvSpPr>
          <p:cNvPr id="3" name="TextBox 2">
            <a:extLst>
              <a:ext uri="{FF2B5EF4-FFF2-40B4-BE49-F238E27FC236}">
                <a16:creationId xmlns:a16="http://schemas.microsoft.com/office/drawing/2014/main" id="{60F0B44C-6BD4-4732-8D2A-E39307AF79EF}"/>
              </a:ext>
            </a:extLst>
          </p:cNvPr>
          <p:cNvSpPr txBox="1"/>
          <p:nvPr/>
        </p:nvSpPr>
        <p:spPr>
          <a:xfrm>
            <a:off x="5935180" y="1650414"/>
            <a:ext cx="5192127" cy="830997"/>
          </a:xfrm>
          <a:prstGeom prst="rect">
            <a:avLst/>
          </a:prstGeom>
          <a:noFill/>
        </p:spPr>
        <p:txBody>
          <a:bodyPr wrap="none" lIns="0" tIns="0" rIns="0" bIns="0" rtlCol="0">
            <a:spAutoFit/>
          </a:bodyPr>
          <a:lstStyle/>
          <a:p>
            <a:r>
              <a:rPr lang="en-US" sz="1800" dirty="0">
                <a:latin typeface="Consolas" panose="020B0609020204030204" pitchFamily="49" charset="0"/>
              </a:rPr>
              <a:t>String or binary data would be truncated </a:t>
            </a:r>
          </a:p>
          <a:p>
            <a:r>
              <a:rPr lang="en-US" sz="1800" dirty="0">
                <a:latin typeface="Consolas" panose="020B0609020204030204" pitchFamily="49" charset="0"/>
              </a:rPr>
              <a:t>in table '%.*ls', column '%.*ls’. </a:t>
            </a:r>
          </a:p>
          <a:p>
            <a:r>
              <a:rPr lang="en-US" sz="1800" dirty="0">
                <a:latin typeface="Consolas" panose="020B0609020204030204" pitchFamily="49" charset="0"/>
              </a:rPr>
              <a:t>Truncated value: '%.*ls'</a:t>
            </a:r>
          </a:p>
        </p:txBody>
      </p:sp>
      <p:sp>
        <p:nvSpPr>
          <p:cNvPr id="8" name="Rectangle 7">
            <a:extLst>
              <a:ext uri="{FF2B5EF4-FFF2-40B4-BE49-F238E27FC236}">
                <a16:creationId xmlns:a16="http://schemas.microsoft.com/office/drawing/2014/main" id="{E2DE072B-B9D7-4ABD-9B91-929BECC63230}"/>
              </a:ext>
            </a:extLst>
          </p:cNvPr>
          <p:cNvSpPr/>
          <p:nvPr/>
        </p:nvSpPr>
        <p:spPr>
          <a:xfrm>
            <a:off x="5822491" y="4071601"/>
            <a:ext cx="6096000" cy="2031325"/>
          </a:xfrm>
          <a:prstGeom prst="rect">
            <a:avLst/>
          </a:prstGeom>
        </p:spPr>
        <p:txBody>
          <a:bodyPr>
            <a:spAutoFit/>
          </a:bodyPr>
          <a:lstStyle/>
          <a:p>
            <a:r>
              <a:rPr lang="en-US" sz="1800" dirty="0">
                <a:latin typeface="Consolas" panose="020B0609020204030204" pitchFamily="49" charset="0"/>
              </a:rPr>
              <a:t>SELECT page_info.* </a:t>
            </a:r>
          </a:p>
          <a:p>
            <a:r>
              <a:rPr lang="en-US" sz="1800" dirty="0">
                <a:latin typeface="Consolas" panose="020B0609020204030204" pitchFamily="49" charset="0"/>
              </a:rPr>
              <a:t>FROM sys.dm_exec_requests AS d </a:t>
            </a:r>
          </a:p>
          <a:p>
            <a:r>
              <a:rPr lang="en-US" sz="1800" dirty="0">
                <a:latin typeface="Consolas" panose="020B0609020204030204" pitchFamily="49" charset="0"/>
              </a:rPr>
              <a:t>  CROSS APPLY sys.</a:t>
            </a:r>
            <a:r>
              <a:rPr lang="en-US" sz="1800" b="1" dirty="0">
                <a:latin typeface="Consolas" panose="020B0609020204030204" pitchFamily="49" charset="0"/>
              </a:rPr>
              <a:t>fn_PageResCracker</a:t>
            </a:r>
            <a:r>
              <a:rPr lang="en-US" sz="1800" dirty="0">
                <a:latin typeface="Consolas" panose="020B0609020204030204" pitchFamily="49" charset="0"/>
              </a:rPr>
              <a:t>(d.page_resource) AS r</a:t>
            </a:r>
          </a:p>
          <a:p>
            <a:r>
              <a:rPr lang="en-US" sz="1800" dirty="0">
                <a:latin typeface="Consolas" panose="020B0609020204030204" pitchFamily="49" charset="0"/>
              </a:rPr>
              <a:t>  CROSS APPLY sys.</a:t>
            </a:r>
            <a:r>
              <a:rPr lang="en-US" sz="1800" b="1" dirty="0">
                <a:latin typeface="Consolas" panose="020B0609020204030204" pitchFamily="49" charset="0"/>
              </a:rPr>
              <a:t>dm_db_page_info</a:t>
            </a:r>
            <a:r>
              <a:rPr lang="en-US" sz="1800" dirty="0">
                <a:latin typeface="Consolas" panose="020B0609020204030204" pitchFamily="49" charset="0"/>
              </a:rPr>
              <a:t>(r.db_id, r.file_id, r.page_id,'DETAILED')</a:t>
            </a:r>
          </a:p>
          <a:p>
            <a:r>
              <a:rPr lang="en-US" sz="1800" dirty="0">
                <a:latin typeface="Consolas" panose="020B0609020204030204" pitchFamily="49" charset="0"/>
              </a:rPr>
              <a:t>    AS page_info;</a:t>
            </a:r>
          </a:p>
        </p:txBody>
      </p:sp>
      <p:sp>
        <p:nvSpPr>
          <p:cNvPr id="9" name="TextBox 8">
            <a:extLst>
              <a:ext uri="{FF2B5EF4-FFF2-40B4-BE49-F238E27FC236}">
                <a16:creationId xmlns:a16="http://schemas.microsoft.com/office/drawing/2014/main" id="{22157F74-64FB-4585-861A-56A0B6C60163}"/>
              </a:ext>
            </a:extLst>
          </p:cNvPr>
          <p:cNvSpPr txBox="1"/>
          <p:nvPr/>
        </p:nvSpPr>
        <p:spPr>
          <a:xfrm>
            <a:off x="2632135" y="1266706"/>
            <a:ext cx="436017" cy="184666"/>
          </a:xfrm>
          <a:prstGeom prst="rect">
            <a:avLst/>
          </a:prstGeom>
          <a:noFill/>
        </p:spPr>
        <p:txBody>
          <a:bodyPr wrap="none" lIns="0" tIns="0" rIns="0" bIns="0" rtlCol="0">
            <a:spAutoFit/>
          </a:bodyPr>
          <a:lstStyle/>
          <a:p>
            <a:pPr algn="l"/>
            <a:r>
              <a:rPr lang="en-US" sz="1200" dirty="0">
                <a:solidFill>
                  <a:schemeClr val="accent1"/>
                </a:solidFill>
              </a:rPr>
              <a:t>SQL17</a:t>
            </a:r>
          </a:p>
        </p:txBody>
      </p:sp>
      <p:sp>
        <p:nvSpPr>
          <p:cNvPr id="10" name="TextBox 9">
            <a:extLst>
              <a:ext uri="{FF2B5EF4-FFF2-40B4-BE49-F238E27FC236}">
                <a16:creationId xmlns:a16="http://schemas.microsoft.com/office/drawing/2014/main" id="{3A575A60-EAD8-4FD7-B2EC-487F6A119A13}"/>
              </a:ext>
            </a:extLst>
          </p:cNvPr>
          <p:cNvSpPr txBox="1"/>
          <p:nvPr/>
        </p:nvSpPr>
        <p:spPr>
          <a:xfrm>
            <a:off x="3911446" y="1670811"/>
            <a:ext cx="436017" cy="184666"/>
          </a:xfrm>
          <a:prstGeom prst="rect">
            <a:avLst/>
          </a:prstGeom>
          <a:noFill/>
        </p:spPr>
        <p:txBody>
          <a:bodyPr wrap="none" lIns="0" tIns="0" rIns="0" bIns="0" rtlCol="0">
            <a:spAutoFit/>
          </a:bodyPr>
          <a:lstStyle/>
          <a:p>
            <a:pPr algn="l"/>
            <a:r>
              <a:rPr lang="en-US" sz="1200" dirty="0">
                <a:solidFill>
                  <a:schemeClr val="accent1"/>
                </a:solidFill>
              </a:rPr>
              <a:t>SQL17</a:t>
            </a:r>
          </a:p>
        </p:txBody>
      </p:sp>
    </p:spTree>
    <p:extLst>
      <p:ext uri="{BB962C8B-B14F-4D97-AF65-F5344CB8AC3E}">
        <p14:creationId xmlns:p14="http://schemas.microsoft.com/office/powerpoint/2010/main" val="102170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0: Migrating and Next Steps</a:t>
            </a:r>
          </a:p>
        </p:txBody>
      </p:sp>
    </p:spTree>
    <p:extLst>
      <p:ext uri="{BB962C8B-B14F-4D97-AF65-F5344CB8AC3E}">
        <p14:creationId xmlns:p14="http://schemas.microsoft.com/office/powerpoint/2010/main" val="103940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1C1A5-6D29-474F-9E9C-F8A34E6D6B10}"/>
              </a:ext>
            </a:extLst>
          </p:cNvPr>
          <p:cNvSpPr>
            <a:spLocks noGrp="1"/>
          </p:cNvSpPr>
          <p:nvPr>
            <p:ph type="title"/>
          </p:nvPr>
        </p:nvSpPr>
        <p:spPr>
          <a:xfrm>
            <a:off x="588263" y="457200"/>
            <a:ext cx="11018520" cy="553998"/>
          </a:xfrm>
        </p:spPr>
        <p:txBody>
          <a:bodyPr/>
          <a:lstStyle/>
          <a:p>
            <a:r>
              <a:rPr lang="en-US" dirty="0"/>
              <a:t>Migration to the Modern SQL Server</a:t>
            </a:r>
          </a:p>
        </p:txBody>
      </p:sp>
      <p:sp>
        <p:nvSpPr>
          <p:cNvPr id="4" name="Rectangle 3">
            <a:extLst>
              <a:ext uri="{FF2B5EF4-FFF2-40B4-BE49-F238E27FC236}">
                <a16:creationId xmlns:a16="http://schemas.microsoft.com/office/drawing/2014/main" id="{1AECACE9-0776-44A2-86FC-C797B5FF49D8}"/>
              </a:ext>
            </a:extLst>
          </p:cNvPr>
          <p:cNvSpPr/>
          <p:nvPr/>
        </p:nvSpPr>
        <p:spPr bwMode="auto">
          <a:xfrm flipH="1">
            <a:off x="0" y="1339702"/>
            <a:ext cx="12192000" cy="55182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70C2DC38-F32E-495E-AC42-360DC25AED55}"/>
              </a:ext>
            </a:extLst>
          </p:cNvPr>
          <p:cNvSpPr txBox="1"/>
          <p:nvPr/>
        </p:nvSpPr>
        <p:spPr>
          <a:xfrm>
            <a:off x="269240" y="1906098"/>
            <a:ext cx="4222931"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legacy SQL Server </a:t>
            </a:r>
          </a:p>
        </p:txBody>
      </p:sp>
      <p:sp>
        <p:nvSpPr>
          <p:cNvPr id="6" name="TextBox 5">
            <a:extLst>
              <a:ext uri="{FF2B5EF4-FFF2-40B4-BE49-F238E27FC236}">
                <a16:creationId xmlns:a16="http://schemas.microsoft.com/office/drawing/2014/main" id="{9EE8E107-6366-4FD5-A80E-6B9370F26FC4}"/>
              </a:ext>
            </a:extLst>
          </p:cNvPr>
          <p:cNvSpPr txBox="1"/>
          <p:nvPr/>
        </p:nvSpPr>
        <p:spPr>
          <a:xfrm>
            <a:off x="6380186" y="1936237"/>
            <a:ext cx="3680446"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external databases </a:t>
            </a:r>
          </a:p>
        </p:txBody>
      </p:sp>
      <p:cxnSp>
        <p:nvCxnSpPr>
          <p:cNvPr id="7" name="Straight Connector 6">
            <a:extLst>
              <a:ext uri="{FF2B5EF4-FFF2-40B4-BE49-F238E27FC236}">
                <a16:creationId xmlns:a16="http://schemas.microsoft.com/office/drawing/2014/main" id="{EDA94D23-E56E-42C7-A16E-39F47D0264DC}"/>
              </a:ext>
            </a:extLst>
          </p:cNvPr>
          <p:cNvCxnSpPr/>
          <p:nvPr/>
        </p:nvCxnSpPr>
        <p:spPr>
          <a:xfrm>
            <a:off x="359768"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BFFBE3-BB4B-4024-88ED-078BCE0A76FF}"/>
              </a:ext>
            </a:extLst>
          </p:cNvPr>
          <p:cNvCxnSpPr/>
          <p:nvPr/>
        </p:nvCxnSpPr>
        <p:spPr>
          <a:xfrm>
            <a:off x="6479449"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F5DB7C-C9EC-4D20-9FFB-5FBDB102AC50}"/>
              </a:ext>
            </a:extLst>
          </p:cNvPr>
          <p:cNvSpPr txBox="1"/>
          <p:nvPr/>
        </p:nvSpPr>
        <p:spPr>
          <a:xfrm>
            <a:off x="7264027" y="5960010"/>
            <a:ext cx="3695568" cy="307777"/>
          </a:xfrm>
          <a:prstGeom prst="rect">
            <a:avLst/>
          </a:prstGeom>
          <a:noFill/>
        </p:spPr>
        <p:txBody>
          <a:bodyPr wrap="square" rtlCol="0">
            <a:spAutoFit/>
          </a:bodyPr>
          <a:lstStyle/>
          <a:p>
            <a:pPr algn="ct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SQL Server Migration Assistant (SSMA) </a:t>
            </a:r>
          </a:p>
        </p:txBody>
      </p:sp>
      <p:sp>
        <p:nvSpPr>
          <p:cNvPr id="10" name="TextBox 9">
            <a:extLst>
              <a:ext uri="{FF2B5EF4-FFF2-40B4-BE49-F238E27FC236}">
                <a16:creationId xmlns:a16="http://schemas.microsoft.com/office/drawing/2014/main" id="{D5CEF99A-E5DE-45B3-963B-E5FA223D3174}"/>
              </a:ext>
            </a:extLst>
          </p:cNvPr>
          <p:cNvSpPr txBox="1"/>
          <p:nvPr/>
        </p:nvSpPr>
        <p:spPr>
          <a:xfrm>
            <a:off x="203214" y="4444479"/>
            <a:ext cx="1311814"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Legacy SQL Server</a:t>
            </a:r>
          </a:p>
        </p:txBody>
      </p:sp>
      <p:cxnSp>
        <p:nvCxnSpPr>
          <p:cNvPr id="11" name="Straight Arrow Connector 10">
            <a:extLst>
              <a:ext uri="{FF2B5EF4-FFF2-40B4-BE49-F238E27FC236}">
                <a16:creationId xmlns:a16="http://schemas.microsoft.com/office/drawing/2014/main" id="{C4FF6645-D1F0-40B2-A81A-D95066B4D193}"/>
              </a:ext>
            </a:extLst>
          </p:cNvPr>
          <p:cNvCxnSpPr>
            <a:cxnSpLocks/>
          </p:cNvCxnSpPr>
          <p:nvPr/>
        </p:nvCxnSpPr>
        <p:spPr>
          <a:xfrm>
            <a:off x="1549199" y="4236613"/>
            <a:ext cx="265869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4406C-83CD-4BB9-AE11-707D9FF38438}"/>
              </a:ext>
            </a:extLst>
          </p:cNvPr>
          <p:cNvSpPr txBox="1"/>
          <p:nvPr/>
        </p:nvSpPr>
        <p:spPr>
          <a:xfrm>
            <a:off x="-132565" y="5845540"/>
            <a:ext cx="1951445" cy="707886"/>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 Migration </a:t>
            </a:r>
          </a:p>
          <a:p>
            <a:pPr>
              <a:lnSpc>
                <a:spcPct val="100000"/>
              </a:lnSpc>
              <a:spcAft>
                <a:spcPts val="0"/>
              </a:spcAft>
            </a:pPr>
            <a:r>
              <a:rPr lang="en-US" dirty="0"/>
              <a:t>Assistant</a:t>
            </a:r>
          </a:p>
          <a:p>
            <a:pPr>
              <a:lnSpc>
                <a:spcPct val="100000"/>
              </a:lnSpc>
              <a:spcAft>
                <a:spcPts val="0"/>
              </a:spcAft>
            </a:pPr>
            <a:r>
              <a:rPr lang="en-US" dirty="0"/>
              <a:t>Azure Database Migration Service</a:t>
            </a:r>
          </a:p>
        </p:txBody>
      </p:sp>
      <p:sp>
        <p:nvSpPr>
          <p:cNvPr id="13" name="Rectangle 12">
            <a:extLst>
              <a:ext uri="{FF2B5EF4-FFF2-40B4-BE49-F238E27FC236}">
                <a16:creationId xmlns:a16="http://schemas.microsoft.com/office/drawing/2014/main" id="{9A1CB678-F533-4ED5-A812-3D70C7DAB3B5}"/>
              </a:ext>
            </a:extLst>
          </p:cNvPr>
          <p:cNvSpPr/>
          <p:nvPr/>
        </p:nvSpPr>
        <p:spPr>
          <a:xfrm>
            <a:off x="2151254" y="5548328"/>
            <a:ext cx="1314784" cy="861774"/>
          </a:xfrm>
          <a:prstGeom prst="rect">
            <a:avLst/>
          </a:prstGeom>
          <a:noFill/>
        </p:spPr>
        <p:txBody>
          <a:bodyPr wrap="square" lIns="91440" tIns="45720" rIns="91440" bIns="45720" rtlCol="0">
            <a:spAutoFit/>
          </a:bodyPr>
          <a:lstStyle/>
          <a:p>
            <a:pPr algn="ctr" defTabSz="931482"/>
            <a:r>
              <a:rPr lang="en-US" sz="1000" b="1" kern="0" dirty="0">
                <a:ln>
                  <a:solidFill>
                    <a:srgbClr val="FFFFFF">
                      <a:alpha val="0"/>
                    </a:srgbClr>
                  </a:solidFill>
                </a:ln>
                <a:solidFill>
                  <a:srgbClr val="000000"/>
                </a:solidFill>
                <a:latin typeface="Segoe UI Semibold" charset="0"/>
                <a:cs typeface="Segoe UI Semibold" charset="0"/>
              </a:rPr>
              <a:t>In-Place (Windows)</a:t>
            </a:r>
          </a:p>
          <a:p>
            <a:pPr algn="ctr" defTabSz="931482"/>
            <a:r>
              <a:rPr lang="en-US" sz="1000" b="1" kern="0" dirty="0">
                <a:ln>
                  <a:solidFill>
                    <a:srgbClr val="FFFFFF">
                      <a:alpha val="0"/>
                    </a:srgbClr>
                  </a:solidFill>
                </a:ln>
                <a:solidFill>
                  <a:srgbClr val="000000"/>
                </a:solidFill>
                <a:latin typeface="Segoe UI Semibold" charset="0"/>
                <a:cs typeface="Segoe UI Semibold" charset="0"/>
              </a:rPr>
              <a:t>Database Backup</a:t>
            </a:r>
          </a:p>
          <a:p>
            <a:pPr algn="ctr" defTabSz="931482"/>
            <a:r>
              <a:rPr lang="en-US" sz="1000" b="1" kern="0" dirty="0">
                <a:ln>
                  <a:solidFill>
                    <a:srgbClr val="FFFFFF">
                      <a:alpha val="0"/>
                    </a:srgbClr>
                  </a:solidFill>
                </a:ln>
                <a:solidFill>
                  <a:srgbClr val="000000"/>
                </a:solidFill>
                <a:latin typeface="Segoe UI Semibold" charset="0"/>
                <a:cs typeface="Segoe UI Semibold" charset="0"/>
              </a:rPr>
              <a:t>Log Shipping</a:t>
            </a:r>
          </a:p>
          <a:p>
            <a:pPr algn="ctr" defTabSz="931482"/>
            <a:r>
              <a:rPr lang="en-US" sz="1000" b="1" kern="0" dirty="0">
                <a:ln>
                  <a:solidFill>
                    <a:srgbClr val="FFFFFF">
                      <a:alpha val="0"/>
                    </a:srgbClr>
                  </a:solidFill>
                </a:ln>
                <a:solidFill>
                  <a:srgbClr val="000000"/>
                </a:solidFill>
                <a:latin typeface="Segoe UI Semibold" charset="0"/>
                <a:cs typeface="Segoe UI Semibold" charset="0"/>
              </a:rPr>
              <a:t>Bulk Import</a:t>
            </a:r>
          </a:p>
          <a:p>
            <a:pPr algn="ctr" defTabSz="931482"/>
            <a:r>
              <a:rPr lang="en-US" sz="1000" b="1" kern="0" dirty="0">
                <a:ln>
                  <a:solidFill>
                    <a:srgbClr val="FFFFFF">
                      <a:alpha val="0"/>
                    </a:srgbClr>
                  </a:solidFill>
                </a:ln>
                <a:solidFill>
                  <a:srgbClr val="000000"/>
                </a:solidFill>
                <a:latin typeface="Segoe UI Semibold" charset="0"/>
                <a:cs typeface="Segoe UI Semibold" charset="0"/>
              </a:rPr>
              <a:t>SSIS</a:t>
            </a:r>
          </a:p>
        </p:txBody>
      </p:sp>
      <p:sp>
        <p:nvSpPr>
          <p:cNvPr id="14" name="TextBox 13">
            <a:extLst>
              <a:ext uri="{FF2B5EF4-FFF2-40B4-BE49-F238E27FC236}">
                <a16:creationId xmlns:a16="http://schemas.microsoft.com/office/drawing/2014/main" id="{5A717E8C-8AEE-4F85-9E44-042FAB97B967}"/>
              </a:ext>
            </a:extLst>
          </p:cNvPr>
          <p:cNvSpPr txBox="1"/>
          <p:nvPr/>
        </p:nvSpPr>
        <p:spPr>
          <a:xfrm>
            <a:off x="1922811" y="3398380"/>
            <a:ext cx="1890818" cy="400110"/>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base Experimentation </a:t>
            </a:r>
          </a:p>
          <a:p>
            <a:pPr>
              <a:lnSpc>
                <a:spcPct val="100000"/>
              </a:lnSpc>
              <a:spcAft>
                <a:spcPts val="0"/>
              </a:spcAft>
            </a:pPr>
            <a:r>
              <a:rPr lang="en-US" dirty="0"/>
              <a:t>Assistant</a:t>
            </a:r>
          </a:p>
        </p:txBody>
      </p:sp>
      <p:cxnSp>
        <p:nvCxnSpPr>
          <p:cNvPr id="15" name="Straight Arrow Connector 14">
            <a:extLst>
              <a:ext uri="{FF2B5EF4-FFF2-40B4-BE49-F238E27FC236}">
                <a16:creationId xmlns:a16="http://schemas.microsoft.com/office/drawing/2014/main" id="{E866CFCD-891A-4948-842E-006AA8FA3C1B}"/>
              </a:ext>
            </a:extLst>
          </p:cNvPr>
          <p:cNvCxnSpPr>
            <a:cxnSpLocks/>
          </p:cNvCxnSpPr>
          <p:nvPr/>
        </p:nvCxnSpPr>
        <p:spPr>
          <a:xfrm flipH="1">
            <a:off x="859121" y="4748958"/>
            <a:ext cx="1" cy="322241"/>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0EAB999-03AB-42F4-A9F5-038E208183F5}"/>
              </a:ext>
            </a:extLst>
          </p:cNvPr>
          <p:cNvSpPr txBox="1"/>
          <p:nvPr/>
        </p:nvSpPr>
        <p:spPr>
          <a:xfrm>
            <a:off x="4243633" y="4444479"/>
            <a:ext cx="1311813" cy="861774"/>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SQL Server 2017</a:t>
            </a:r>
          </a:p>
          <a:p>
            <a:pPr>
              <a:lnSpc>
                <a:spcPct val="100000"/>
              </a:lnSpc>
              <a:spcAft>
                <a:spcPts val="0"/>
              </a:spcAft>
            </a:pPr>
            <a:r>
              <a:rPr lang="en-US" dirty="0"/>
              <a:t>SQL Server 2019*</a:t>
            </a:r>
          </a:p>
          <a:p>
            <a:pPr>
              <a:lnSpc>
                <a:spcPct val="100000"/>
              </a:lnSpc>
              <a:spcAft>
                <a:spcPts val="0"/>
              </a:spcAft>
            </a:pPr>
            <a:r>
              <a:rPr lang="en-US" dirty="0"/>
              <a:t>SQL Server in Azure Virtual Machine</a:t>
            </a:r>
          </a:p>
        </p:txBody>
      </p:sp>
      <p:grpSp>
        <p:nvGrpSpPr>
          <p:cNvPr id="17" name="Group 16">
            <a:extLst>
              <a:ext uri="{FF2B5EF4-FFF2-40B4-BE49-F238E27FC236}">
                <a16:creationId xmlns:a16="http://schemas.microsoft.com/office/drawing/2014/main" id="{144B8D75-E80E-4219-B2CD-A4F0429270D4}"/>
              </a:ext>
            </a:extLst>
          </p:cNvPr>
          <p:cNvGrpSpPr/>
          <p:nvPr/>
        </p:nvGrpSpPr>
        <p:grpSpPr>
          <a:xfrm>
            <a:off x="6985408" y="2897230"/>
            <a:ext cx="4252806" cy="2734575"/>
            <a:chOff x="7023803" y="3514085"/>
            <a:chExt cx="4252806" cy="2734575"/>
          </a:xfrm>
        </p:grpSpPr>
        <p:grpSp>
          <p:nvGrpSpPr>
            <p:cNvPr id="18" name="Group 17">
              <a:extLst>
                <a:ext uri="{FF2B5EF4-FFF2-40B4-BE49-F238E27FC236}">
                  <a16:creationId xmlns:a16="http://schemas.microsoft.com/office/drawing/2014/main" id="{2928CBEC-56C6-4787-8962-87D162C6045A}"/>
                </a:ext>
              </a:extLst>
            </p:cNvPr>
            <p:cNvGrpSpPr/>
            <p:nvPr/>
          </p:nvGrpSpPr>
          <p:grpSpPr>
            <a:xfrm>
              <a:off x="10087461" y="4539081"/>
              <a:ext cx="1189148" cy="857464"/>
              <a:chOff x="12911365" y="8266796"/>
              <a:chExt cx="1189148" cy="857464"/>
            </a:xfrm>
          </p:grpSpPr>
          <p:sp>
            <p:nvSpPr>
              <p:cNvPr id="94" name="TextBox 93">
                <a:extLst>
                  <a:ext uri="{FF2B5EF4-FFF2-40B4-BE49-F238E27FC236}">
                    <a16:creationId xmlns:a16="http://schemas.microsoft.com/office/drawing/2014/main" id="{41A23962-8F3A-442C-B090-90F6AFE07C18}"/>
                  </a:ext>
                </a:extLst>
              </p:cNvPr>
              <p:cNvSpPr txBox="1"/>
              <p:nvPr/>
            </p:nvSpPr>
            <p:spPr>
              <a:xfrm>
                <a:off x="12911365" y="8870344"/>
                <a:ext cx="1189148" cy="253916"/>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SQL Server</a:t>
                </a:r>
              </a:p>
            </p:txBody>
          </p:sp>
          <p:sp>
            <p:nvSpPr>
              <p:cNvPr id="95" name="Cylinder 513">
                <a:extLst>
                  <a:ext uri="{FF2B5EF4-FFF2-40B4-BE49-F238E27FC236}">
                    <a16:creationId xmlns:a16="http://schemas.microsoft.com/office/drawing/2014/main" id="{BED6D504-0291-40FE-8B6D-801F4AB28CDE}"/>
                  </a:ext>
                </a:extLst>
              </p:cNvPr>
              <p:cNvSpPr/>
              <p:nvPr/>
            </p:nvSpPr>
            <p:spPr bwMode="auto">
              <a:xfrm>
                <a:off x="13303050" y="8266796"/>
                <a:ext cx="405778" cy="53309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4"/>
                  </a:solidFill>
                  <a:effectLst/>
                  <a:uLnTx/>
                  <a:uFillTx/>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8841CBB-496D-4E56-9166-596BB13D2AD8}"/>
                </a:ext>
              </a:extLst>
            </p:cNvPr>
            <p:cNvGrpSpPr/>
            <p:nvPr/>
          </p:nvGrpSpPr>
          <p:grpSpPr>
            <a:xfrm>
              <a:off x="9154540" y="3541748"/>
              <a:ext cx="588378" cy="2626318"/>
              <a:chOff x="6832052" y="1648686"/>
              <a:chExt cx="900844" cy="4021049"/>
            </a:xfrm>
          </p:grpSpPr>
          <p:grpSp>
            <p:nvGrpSpPr>
              <p:cNvPr id="34" name="Group 33">
                <a:extLst>
                  <a:ext uri="{FF2B5EF4-FFF2-40B4-BE49-F238E27FC236}">
                    <a16:creationId xmlns:a16="http://schemas.microsoft.com/office/drawing/2014/main" id="{B7F51F03-CA31-4514-9666-C5D138406E3B}"/>
                  </a:ext>
                </a:extLst>
              </p:cNvPr>
              <p:cNvGrpSpPr/>
              <p:nvPr/>
            </p:nvGrpSpPr>
            <p:grpSpPr>
              <a:xfrm>
                <a:off x="6832052" y="1916737"/>
                <a:ext cx="900844" cy="268336"/>
                <a:chOff x="551886" y="4945335"/>
                <a:chExt cx="508602" cy="151498"/>
              </a:xfrm>
            </p:grpSpPr>
            <p:sp>
              <p:nvSpPr>
                <p:cNvPr id="91" name="Rectangle 90">
                  <a:extLst>
                    <a:ext uri="{FF2B5EF4-FFF2-40B4-BE49-F238E27FC236}">
                      <a16:creationId xmlns:a16="http://schemas.microsoft.com/office/drawing/2014/main" id="{7E03D692-4618-4651-B575-C4FE8C6467A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490A278-0D0A-4F8A-BDFB-DE9389EA7C1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408BF174-C899-49F7-ABA3-ACC45DC0E1D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6913E090-D1F5-4B18-9274-3E3DAD008135}"/>
                  </a:ext>
                </a:extLst>
              </p:cNvPr>
              <p:cNvGrpSpPr/>
              <p:nvPr/>
            </p:nvGrpSpPr>
            <p:grpSpPr>
              <a:xfrm>
                <a:off x="6832052" y="2184788"/>
                <a:ext cx="900844" cy="268336"/>
                <a:chOff x="551886" y="4945335"/>
                <a:chExt cx="508602" cy="151498"/>
              </a:xfrm>
            </p:grpSpPr>
            <p:sp>
              <p:nvSpPr>
                <p:cNvPr id="88" name="Rectangle 87">
                  <a:extLst>
                    <a:ext uri="{FF2B5EF4-FFF2-40B4-BE49-F238E27FC236}">
                      <a16:creationId xmlns:a16="http://schemas.microsoft.com/office/drawing/2014/main" id="{A4CC7237-1BEB-402C-8F1D-178F43F02CC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830A023A-3A94-4930-A45B-3E0F0DA93BB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E8DF39A0-4295-4E41-BBDB-082799E43F6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E2E03A0-88FB-4096-811D-FC5835DCC9A0}"/>
                  </a:ext>
                </a:extLst>
              </p:cNvPr>
              <p:cNvGrpSpPr/>
              <p:nvPr/>
            </p:nvGrpSpPr>
            <p:grpSpPr>
              <a:xfrm>
                <a:off x="6832052" y="1648686"/>
                <a:ext cx="900844" cy="268336"/>
                <a:chOff x="551886" y="4945335"/>
                <a:chExt cx="508602" cy="151498"/>
              </a:xfrm>
            </p:grpSpPr>
            <p:sp>
              <p:nvSpPr>
                <p:cNvPr id="85" name="Rectangle 84">
                  <a:extLst>
                    <a:ext uri="{FF2B5EF4-FFF2-40B4-BE49-F238E27FC236}">
                      <a16:creationId xmlns:a16="http://schemas.microsoft.com/office/drawing/2014/main" id="{0C98B09C-DADB-4171-9BAA-AC4B91DF8C5B}"/>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FC1E7AC-B1EA-4499-8DC9-7EC203A0D90D}"/>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82216F6A-6258-421D-9346-CF4DF7E0467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8113E90F-5C0A-4EE0-9AFE-7CAD897C9FF3}"/>
                  </a:ext>
                </a:extLst>
              </p:cNvPr>
              <p:cNvGrpSpPr/>
              <p:nvPr/>
            </p:nvGrpSpPr>
            <p:grpSpPr>
              <a:xfrm>
                <a:off x="6832052" y="2720890"/>
                <a:ext cx="900844" cy="268336"/>
                <a:chOff x="551886" y="4945335"/>
                <a:chExt cx="508602" cy="151498"/>
              </a:xfrm>
            </p:grpSpPr>
            <p:sp>
              <p:nvSpPr>
                <p:cNvPr id="82" name="Rectangle 81">
                  <a:extLst>
                    <a:ext uri="{FF2B5EF4-FFF2-40B4-BE49-F238E27FC236}">
                      <a16:creationId xmlns:a16="http://schemas.microsoft.com/office/drawing/2014/main" id="{8E70EC86-DBC0-4E38-A02D-7C5AD185A0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465E951-E3EA-4979-B75E-A5155711289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4EF6354D-40A0-4BD7-82EB-8DEF2764E69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713A0AE-C190-4319-8FAF-3B01A3815B18}"/>
                  </a:ext>
                </a:extLst>
              </p:cNvPr>
              <p:cNvGrpSpPr/>
              <p:nvPr/>
            </p:nvGrpSpPr>
            <p:grpSpPr>
              <a:xfrm>
                <a:off x="6832052" y="2988941"/>
                <a:ext cx="900844" cy="268336"/>
                <a:chOff x="551886" y="4945335"/>
                <a:chExt cx="508602" cy="151498"/>
              </a:xfrm>
            </p:grpSpPr>
            <p:sp>
              <p:nvSpPr>
                <p:cNvPr id="79" name="Rectangle 78">
                  <a:extLst>
                    <a:ext uri="{FF2B5EF4-FFF2-40B4-BE49-F238E27FC236}">
                      <a16:creationId xmlns:a16="http://schemas.microsoft.com/office/drawing/2014/main" id="{7D6DC29E-0A10-42F4-B6B6-2F9F40D522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573D6FE3-7E8F-48D4-A70B-1B0480477C4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E5DB1A85-A721-4C7C-9742-CC36EDE80677}"/>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ABB22E80-F8E4-45E6-84F2-7941F67C34E4}"/>
                  </a:ext>
                </a:extLst>
              </p:cNvPr>
              <p:cNvGrpSpPr/>
              <p:nvPr/>
            </p:nvGrpSpPr>
            <p:grpSpPr>
              <a:xfrm>
                <a:off x="6832052" y="2452839"/>
                <a:ext cx="900844" cy="268336"/>
                <a:chOff x="551886" y="4945335"/>
                <a:chExt cx="508602" cy="151498"/>
              </a:xfrm>
            </p:grpSpPr>
            <p:sp>
              <p:nvSpPr>
                <p:cNvPr id="76" name="Rectangle 75">
                  <a:extLst>
                    <a:ext uri="{FF2B5EF4-FFF2-40B4-BE49-F238E27FC236}">
                      <a16:creationId xmlns:a16="http://schemas.microsoft.com/office/drawing/2014/main" id="{BBEF10E4-ED4D-403F-8053-0B782A808B4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34DE98F3-C201-4FFD-948F-52AF1A0AA08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2AE88A3-AF9D-47B8-84A8-E709A78DC6CF}"/>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4B7C1EC-9147-4F77-A2B1-46FECE52F5EA}"/>
                  </a:ext>
                </a:extLst>
              </p:cNvPr>
              <p:cNvGrpSpPr/>
              <p:nvPr/>
            </p:nvGrpSpPr>
            <p:grpSpPr>
              <a:xfrm>
                <a:off x="6832052" y="3525043"/>
                <a:ext cx="900844" cy="268336"/>
                <a:chOff x="551886" y="4945335"/>
                <a:chExt cx="508602" cy="151498"/>
              </a:xfrm>
            </p:grpSpPr>
            <p:sp>
              <p:nvSpPr>
                <p:cNvPr id="73" name="Rectangle 72">
                  <a:extLst>
                    <a:ext uri="{FF2B5EF4-FFF2-40B4-BE49-F238E27FC236}">
                      <a16:creationId xmlns:a16="http://schemas.microsoft.com/office/drawing/2014/main" id="{4CC38A70-9AC1-477C-AEB8-520EE1820C5E}"/>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F396736-D16C-496A-95BA-6DC3F2D71D7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B75B82A-9821-4662-AE6C-D598E09CA6C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76BEAD7-42AD-45BA-9942-5CF95DAD4291}"/>
                  </a:ext>
                </a:extLst>
              </p:cNvPr>
              <p:cNvGrpSpPr/>
              <p:nvPr/>
            </p:nvGrpSpPr>
            <p:grpSpPr>
              <a:xfrm>
                <a:off x="6832052" y="3793094"/>
                <a:ext cx="900844" cy="268336"/>
                <a:chOff x="551886" y="4945335"/>
                <a:chExt cx="508602" cy="151498"/>
              </a:xfrm>
            </p:grpSpPr>
            <p:sp>
              <p:nvSpPr>
                <p:cNvPr id="70" name="Rectangle 69">
                  <a:extLst>
                    <a:ext uri="{FF2B5EF4-FFF2-40B4-BE49-F238E27FC236}">
                      <a16:creationId xmlns:a16="http://schemas.microsoft.com/office/drawing/2014/main" id="{0A6BE5B0-F8C8-4A73-B71F-21D4E163F60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79B577BA-8230-4D61-BFFA-8E7577CC7BE3}"/>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019E238F-D548-44E6-B0A0-ACC912F3FFD8}"/>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8AD1B00-77FD-41A5-A1C1-1F3D3F96EDEF}"/>
                  </a:ext>
                </a:extLst>
              </p:cNvPr>
              <p:cNvGrpSpPr/>
              <p:nvPr/>
            </p:nvGrpSpPr>
            <p:grpSpPr>
              <a:xfrm>
                <a:off x="6832052" y="3256992"/>
                <a:ext cx="900844" cy="268336"/>
                <a:chOff x="551886" y="4945335"/>
                <a:chExt cx="508602" cy="151498"/>
              </a:xfrm>
            </p:grpSpPr>
            <p:sp>
              <p:nvSpPr>
                <p:cNvPr id="67" name="Rectangle 66">
                  <a:extLst>
                    <a:ext uri="{FF2B5EF4-FFF2-40B4-BE49-F238E27FC236}">
                      <a16:creationId xmlns:a16="http://schemas.microsoft.com/office/drawing/2014/main" id="{1433D3D4-DBF0-4A45-8B5D-1276A6EEE8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5F6C2CF9-DA33-4971-B539-01A4AC14F60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21E7AF37-0C5C-48BD-A1F2-25719C33CE6A}"/>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0457A77-F4E7-4AD6-81E6-32126BACCF00}"/>
                  </a:ext>
                </a:extLst>
              </p:cNvPr>
              <p:cNvGrpSpPr/>
              <p:nvPr/>
            </p:nvGrpSpPr>
            <p:grpSpPr>
              <a:xfrm>
                <a:off x="6832052" y="4329196"/>
                <a:ext cx="900844" cy="268336"/>
                <a:chOff x="551886" y="4945335"/>
                <a:chExt cx="508602" cy="151498"/>
              </a:xfrm>
            </p:grpSpPr>
            <p:sp>
              <p:nvSpPr>
                <p:cNvPr id="64" name="Rectangle 63">
                  <a:extLst>
                    <a:ext uri="{FF2B5EF4-FFF2-40B4-BE49-F238E27FC236}">
                      <a16:creationId xmlns:a16="http://schemas.microsoft.com/office/drawing/2014/main" id="{748A72E4-2DF3-4553-81FB-D0B6BC50362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4B4B610E-2E4C-43D2-9CD0-6E5BF4A8EC77}"/>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5E6176AC-255C-4222-B7DC-1E9B2E3EA32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5A9CDB3-E9F9-454F-830F-D3102AD986FB}"/>
                  </a:ext>
                </a:extLst>
              </p:cNvPr>
              <p:cNvGrpSpPr/>
              <p:nvPr/>
            </p:nvGrpSpPr>
            <p:grpSpPr>
              <a:xfrm>
                <a:off x="6832052" y="4597247"/>
                <a:ext cx="900844" cy="268336"/>
                <a:chOff x="551886" y="4945335"/>
                <a:chExt cx="508602" cy="151498"/>
              </a:xfrm>
            </p:grpSpPr>
            <p:sp>
              <p:nvSpPr>
                <p:cNvPr id="61" name="Rectangle 60">
                  <a:extLst>
                    <a:ext uri="{FF2B5EF4-FFF2-40B4-BE49-F238E27FC236}">
                      <a16:creationId xmlns:a16="http://schemas.microsoft.com/office/drawing/2014/main" id="{392EF9A4-DC32-4E2E-B758-54F6CE4778C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6641EA30-6728-42EB-9B44-29B65A3444E4}"/>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56E98024-D539-4539-9A19-4C5744AF6529}"/>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D342F2D2-2FDF-479C-9612-F1A678B35882}"/>
                  </a:ext>
                </a:extLst>
              </p:cNvPr>
              <p:cNvGrpSpPr/>
              <p:nvPr/>
            </p:nvGrpSpPr>
            <p:grpSpPr>
              <a:xfrm>
                <a:off x="6832052" y="4061145"/>
                <a:ext cx="900844" cy="268336"/>
                <a:chOff x="551886" y="4945335"/>
                <a:chExt cx="508602" cy="151498"/>
              </a:xfrm>
            </p:grpSpPr>
            <p:sp>
              <p:nvSpPr>
                <p:cNvPr id="58" name="Rectangle 57">
                  <a:extLst>
                    <a:ext uri="{FF2B5EF4-FFF2-40B4-BE49-F238E27FC236}">
                      <a16:creationId xmlns:a16="http://schemas.microsoft.com/office/drawing/2014/main" id="{9B57E0A3-4B4B-4990-B105-6116FC63DD9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CEB4F56-1976-4961-9B3D-FF60120C45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C7AC84DA-51B9-46D5-AC52-B53D8FA30724}"/>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14405365-A683-42AC-9193-961845733940}"/>
                  </a:ext>
                </a:extLst>
              </p:cNvPr>
              <p:cNvGrpSpPr/>
              <p:nvPr/>
            </p:nvGrpSpPr>
            <p:grpSpPr>
              <a:xfrm>
                <a:off x="6832052" y="5133349"/>
                <a:ext cx="900844" cy="268336"/>
                <a:chOff x="551886" y="4945335"/>
                <a:chExt cx="508602" cy="151498"/>
              </a:xfrm>
            </p:grpSpPr>
            <p:sp>
              <p:nvSpPr>
                <p:cNvPr id="55" name="Rectangle 54">
                  <a:extLst>
                    <a:ext uri="{FF2B5EF4-FFF2-40B4-BE49-F238E27FC236}">
                      <a16:creationId xmlns:a16="http://schemas.microsoft.com/office/drawing/2014/main" id="{60C39D4D-7826-4F13-91D2-90F164B6DCA6}"/>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A3EE07F-BEF6-4FC7-80BB-2A725AB7CD1A}"/>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9256AE65-DDFE-463F-9185-09FC901C54E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728FF1C-2149-4F31-AD2A-1794E6A17E74}"/>
                  </a:ext>
                </a:extLst>
              </p:cNvPr>
              <p:cNvGrpSpPr/>
              <p:nvPr/>
            </p:nvGrpSpPr>
            <p:grpSpPr>
              <a:xfrm>
                <a:off x="6832052" y="5401399"/>
                <a:ext cx="900844" cy="268336"/>
                <a:chOff x="551886" y="4945335"/>
                <a:chExt cx="508602" cy="151498"/>
              </a:xfrm>
            </p:grpSpPr>
            <p:sp>
              <p:nvSpPr>
                <p:cNvPr id="52" name="Rectangle 51">
                  <a:extLst>
                    <a:ext uri="{FF2B5EF4-FFF2-40B4-BE49-F238E27FC236}">
                      <a16:creationId xmlns:a16="http://schemas.microsoft.com/office/drawing/2014/main" id="{0C9ADD6F-53C7-475A-B107-F71EF9F47B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4A5A2C95-B4F4-492E-A6B1-2F1B88BBF216}"/>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24F3A22E-8D8F-40E3-B5A6-427823EA2E3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816F09E7-4BCF-4D5A-B843-ECB7BD77C782}"/>
                  </a:ext>
                </a:extLst>
              </p:cNvPr>
              <p:cNvGrpSpPr/>
              <p:nvPr/>
            </p:nvGrpSpPr>
            <p:grpSpPr>
              <a:xfrm>
                <a:off x="6832052" y="4865298"/>
                <a:ext cx="900844" cy="268336"/>
                <a:chOff x="551886" y="4945335"/>
                <a:chExt cx="508602" cy="151498"/>
              </a:xfrm>
            </p:grpSpPr>
            <p:sp>
              <p:nvSpPr>
                <p:cNvPr id="49" name="Rectangle 48">
                  <a:extLst>
                    <a:ext uri="{FF2B5EF4-FFF2-40B4-BE49-F238E27FC236}">
                      <a16:creationId xmlns:a16="http://schemas.microsoft.com/office/drawing/2014/main" id="{D96F334C-A37A-476F-93B2-F0B9343F03A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2457FFC-C7ED-48FC-9118-578A76D0984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9F109918-9256-4743-BD7B-FBF73D1A0570}"/>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20" name="Straight Connector 19">
              <a:extLst>
                <a:ext uri="{FF2B5EF4-FFF2-40B4-BE49-F238E27FC236}">
                  <a16:creationId xmlns:a16="http://schemas.microsoft.com/office/drawing/2014/main" id="{8DA1D417-6347-40D6-8E6B-2BB92FAB33BA}"/>
                </a:ext>
              </a:extLst>
            </p:cNvPr>
            <p:cNvCxnSpPr>
              <a:cxnSpLocks/>
            </p:cNvCxnSpPr>
            <p:nvPr/>
          </p:nvCxnSpPr>
          <p:spPr>
            <a:xfrm>
              <a:off x="9844089" y="4849858"/>
              <a:ext cx="457200" cy="0"/>
            </a:xfrm>
            <a:prstGeom prst="line">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3D574E9-B04C-465D-9354-383DE7E4A1DF}"/>
                </a:ext>
              </a:extLst>
            </p:cNvPr>
            <p:cNvGrpSpPr/>
            <p:nvPr/>
          </p:nvGrpSpPr>
          <p:grpSpPr>
            <a:xfrm>
              <a:off x="7023803" y="3514085"/>
              <a:ext cx="1302280" cy="2734575"/>
              <a:chOff x="5352889" y="6558080"/>
              <a:chExt cx="2044956" cy="4294077"/>
            </a:xfrm>
          </p:grpSpPr>
          <p:pic>
            <p:nvPicPr>
              <p:cNvPr id="23" name="Picture 2" descr="https://upload.wikimedia.org/wikipedia/commons/thumb/5/50/Oracle_logo.svg/640px-Oracle_logo.svg.png">
                <a:extLst>
                  <a:ext uri="{FF2B5EF4-FFF2-40B4-BE49-F238E27FC236}">
                    <a16:creationId xmlns:a16="http://schemas.microsoft.com/office/drawing/2014/main" id="{0C543B33-911A-4B73-AC6F-431C0D873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920" y="6558080"/>
                <a:ext cx="1304164" cy="1854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upload.wikimedia.org/wikipedia/en/thumb/6/62/MySQL.svg/320px-MySQL.svg.png">
                <a:extLst>
                  <a:ext uri="{FF2B5EF4-FFF2-40B4-BE49-F238E27FC236}">
                    <a16:creationId xmlns:a16="http://schemas.microsoft.com/office/drawing/2014/main" id="{1C888672-31F2-4EEE-AC7C-D1CA0F432E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5015" y="9407522"/>
                <a:ext cx="984440" cy="50760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http://matillion.review.propervillains.agency/wp-content/uploads/2017/02/IBM-DB2-logo.png">
                <a:extLst>
                  <a:ext uri="{FF2B5EF4-FFF2-40B4-BE49-F238E27FC236}">
                    <a16:creationId xmlns:a16="http://schemas.microsoft.com/office/drawing/2014/main" id="{151B261C-B869-46D8-88B2-90FF08E68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3620" y="8254497"/>
                <a:ext cx="578464" cy="57846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232ED763-13C1-45D8-A976-2E54A43E570F}"/>
                  </a:ext>
                </a:extLst>
              </p:cNvPr>
              <p:cNvGrpSpPr/>
              <p:nvPr/>
            </p:nvGrpSpPr>
            <p:grpSpPr>
              <a:xfrm>
                <a:off x="5730110" y="7364241"/>
                <a:ext cx="1165810" cy="286708"/>
                <a:chOff x="5143500" y="2943225"/>
                <a:chExt cx="3950517" cy="971550"/>
              </a:xfrm>
            </p:grpSpPr>
            <p:pic>
              <p:nvPicPr>
                <p:cNvPr id="32" name="Picture 8" descr="https://upload.wikimedia.org/wikipedia/commons/thumb/5/59/SAP_2011_logo.svg/200px-SAP_2011_logo.svg.png">
                  <a:extLst>
                    <a:ext uri="{FF2B5EF4-FFF2-40B4-BE49-F238E27FC236}">
                      <a16:creationId xmlns:a16="http://schemas.microsoft.com/office/drawing/2014/main" id="{FCFDBDC8-7070-4F49-9C8B-C940969698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3500" y="2943225"/>
                  <a:ext cx="19050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https://saphack.files.wordpress.com/2012/06/sybasesap_final_logo_blk.png">
                  <a:extLst>
                    <a:ext uri="{FF2B5EF4-FFF2-40B4-BE49-F238E27FC236}">
                      <a16:creationId xmlns:a16="http://schemas.microsoft.com/office/drawing/2014/main" id="{38F07277-6FE5-420A-822D-B59632E2666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0459"/>
                <a:stretch/>
              </p:blipFill>
              <p:spPr bwMode="auto">
                <a:xfrm>
                  <a:off x="6958634" y="3136937"/>
                  <a:ext cx="2135383" cy="612794"/>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DB212E11-BB88-44E2-9DAD-FD63CF1F084E}"/>
                  </a:ext>
                </a:extLst>
              </p:cNvPr>
              <p:cNvSpPr txBox="1"/>
              <p:nvPr/>
            </p:nvSpPr>
            <p:spPr>
              <a:xfrm>
                <a:off x="5352889" y="10489684"/>
                <a:ext cx="1543030" cy="362473"/>
              </a:xfrm>
              <a:prstGeom prst="rect">
                <a:avLst/>
              </a:prstGeom>
              <a:noFill/>
            </p:spPr>
            <p:txBody>
              <a:bodyPr wrap="none" lIns="0" tIns="45720" rIns="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A33539"/>
                    </a:solidFill>
                    <a:effectLst/>
                    <a:uLnTx/>
                    <a:uFillTx/>
                    <a:latin typeface="Segoe UI Semibold" panose="020B0702040204020203" pitchFamily="34" charset="0"/>
                    <a:ea typeface="+mn-ea"/>
                    <a:cs typeface="Segoe UI Semibold" panose="020B0702040204020203" pitchFamily="34" charset="0"/>
                  </a:rPr>
                  <a:t>Microsoft Access</a:t>
                </a:r>
              </a:p>
            </p:txBody>
          </p:sp>
          <p:cxnSp>
            <p:nvCxnSpPr>
              <p:cNvPr id="28" name="Connector: Elbow 188">
                <a:extLst>
                  <a:ext uri="{FF2B5EF4-FFF2-40B4-BE49-F238E27FC236}">
                    <a16:creationId xmlns:a16="http://schemas.microsoft.com/office/drawing/2014/main" id="{1F40AB45-86D9-475E-9B82-43DFA36CB9B3}"/>
                  </a:ext>
                </a:extLst>
              </p:cNvPr>
              <p:cNvCxnSpPr>
                <a:cxnSpLocks/>
              </p:cNvCxnSpPr>
              <p:nvPr/>
            </p:nvCxnSpPr>
            <p:spPr>
              <a:xfrm rot="10800000" flipH="1" flipV="1">
                <a:off x="7157922" y="9661323"/>
                <a:ext cx="12700" cy="999176"/>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Connector: Elbow 191">
                <a:extLst>
                  <a:ext uri="{FF2B5EF4-FFF2-40B4-BE49-F238E27FC236}">
                    <a16:creationId xmlns:a16="http://schemas.microsoft.com/office/drawing/2014/main" id="{7DEEA9B7-362F-46CE-BEE8-1560D54EEB73}"/>
                  </a:ext>
                </a:extLst>
              </p:cNvPr>
              <p:cNvCxnSpPr>
                <a:cxnSpLocks/>
              </p:cNvCxnSpPr>
              <p:nvPr/>
            </p:nvCxnSpPr>
            <p:spPr>
              <a:xfrm rot="10800000" flipH="1" flipV="1">
                <a:off x="7157922" y="6650797"/>
                <a:ext cx="12700" cy="1892931"/>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C4A06D9-DF8B-47D8-9938-3CEBA66645A0}"/>
                  </a:ext>
                </a:extLst>
              </p:cNvPr>
              <p:cNvCxnSpPr>
                <a:cxnSpLocks/>
              </p:cNvCxnSpPr>
              <p:nvPr/>
            </p:nvCxnSpPr>
            <p:spPr>
              <a:xfrm flipH="1" flipV="1">
                <a:off x="7170622" y="7507595"/>
                <a:ext cx="227223" cy="0"/>
              </a:xfrm>
              <a:prstGeom prst="straightConnector1">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1EB3A-2538-46E4-A73A-DB8BCD3CE2DB}"/>
                  </a:ext>
                </a:extLst>
              </p:cNvPr>
              <p:cNvCxnSpPr>
                <a:cxnSpLocks/>
              </p:cNvCxnSpPr>
              <p:nvPr/>
            </p:nvCxnSpPr>
            <p:spPr>
              <a:xfrm flipH="1">
                <a:off x="7386961" y="8564457"/>
                <a:ext cx="0" cy="1091400"/>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DD14A7FF-54B6-4027-8962-E07A2A7C065B}"/>
                </a:ext>
              </a:extLst>
            </p:cNvPr>
            <p:cNvCxnSpPr>
              <a:cxnSpLocks/>
            </p:cNvCxnSpPr>
            <p:nvPr/>
          </p:nvCxnSpPr>
          <p:spPr>
            <a:xfrm>
              <a:off x="8549413" y="4849858"/>
              <a:ext cx="457200" cy="0"/>
            </a:xfrm>
            <a:prstGeom prst="line">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52FBEC3F-6FAB-4323-8DF6-5990E408E4AB}"/>
              </a:ext>
            </a:extLst>
          </p:cNvPr>
          <p:cNvGrpSpPr/>
          <p:nvPr/>
        </p:nvGrpSpPr>
        <p:grpSpPr>
          <a:xfrm>
            <a:off x="4596045" y="3699280"/>
            <a:ext cx="687395" cy="706713"/>
            <a:chOff x="2776302" y="4657642"/>
            <a:chExt cx="1550488" cy="1594059"/>
          </a:xfrm>
        </p:grpSpPr>
        <p:sp>
          <p:nvSpPr>
            <p:cNvPr id="97" name="Cylinder 812">
              <a:extLst>
                <a:ext uri="{FF2B5EF4-FFF2-40B4-BE49-F238E27FC236}">
                  <a16:creationId xmlns:a16="http://schemas.microsoft.com/office/drawing/2014/main" id="{12EE1719-8B94-43FA-9B5D-831A7348FE06}"/>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98" name="Freeform 146">
              <a:extLst>
                <a:ext uri="{FF2B5EF4-FFF2-40B4-BE49-F238E27FC236}">
                  <a16:creationId xmlns:a16="http://schemas.microsoft.com/office/drawing/2014/main" id="{E9C4372A-55E4-4AE9-8A05-BF07371557B8}"/>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99" name="Group 98">
            <a:extLst>
              <a:ext uri="{FF2B5EF4-FFF2-40B4-BE49-F238E27FC236}">
                <a16:creationId xmlns:a16="http://schemas.microsoft.com/office/drawing/2014/main" id="{DF4510EC-45C5-4EAE-8640-50279B00325E}"/>
              </a:ext>
            </a:extLst>
          </p:cNvPr>
          <p:cNvGrpSpPr/>
          <p:nvPr/>
        </p:nvGrpSpPr>
        <p:grpSpPr>
          <a:xfrm>
            <a:off x="627734" y="3699280"/>
            <a:ext cx="687395" cy="706713"/>
            <a:chOff x="2776302" y="4657642"/>
            <a:chExt cx="1550488" cy="1594059"/>
          </a:xfrm>
        </p:grpSpPr>
        <p:sp>
          <p:nvSpPr>
            <p:cNvPr id="100" name="Cylinder 812">
              <a:extLst>
                <a:ext uri="{FF2B5EF4-FFF2-40B4-BE49-F238E27FC236}">
                  <a16:creationId xmlns:a16="http://schemas.microsoft.com/office/drawing/2014/main" id="{4171D115-1E6D-4F0D-B51C-A9FDF0A826AD}"/>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101" name="Freeform 146">
              <a:extLst>
                <a:ext uri="{FF2B5EF4-FFF2-40B4-BE49-F238E27FC236}">
                  <a16:creationId xmlns:a16="http://schemas.microsoft.com/office/drawing/2014/main" id="{7722D982-23C9-47F1-9985-DB1A28BFE09F}"/>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102" name="Group 101">
            <a:extLst>
              <a:ext uri="{FF2B5EF4-FFF2-40B4-BE49-F238E27FC236}">
                <a16:creationId xmlns:a16="http://schemas.microsoft.com/office/drawing/2014/main" id="{3546881B-A3F7-45BA-ABA8-31EC10C12F4D}"/>
              </a:ext>
            </a:extLst>
          </p:cNvPr>
          <p:cNvGrpSpPr/>
          <p:nvPr/>
        </p:nvGrpSpPr>
        <p:grpSpPr>
          <a:xfrm>
            <a:off x="616442" y="5177141"/>
            <a:ext cx="596443" cy="608872"/>
            <a:chOff x="3217439" y="2055979"/>
            <a:chExt cx="909013" cy="927955"/>
          </a:xfrm>
        </p:grpSpPr>
        <p:sp>
          <p:nvSpPr>
            <p:cNvPr id="103" name="Freeform: Shape 102">
              <a:extLst>
                <a:ext uri="{FF2B5EF4-FFF2-40B4-BE49-F238E27FC236}">
                  <a16:creationId xmlns:a16="http://schemas.microsoft.com/office/drawing/2014/main" id="{724E98B5-AAEC-491D-9AFD-06758346F995}"/>
                </a:ext>
              </a:extLst>
            </p:cNvPr>
            <p:cNvSpPr/>
            <p:nvPr/>
          </p:nvSpPr>
          <p:spPr bwMode="auto">
            <a:xfrm>
              <a:off x="3217439" y="2055979"/>
              <a:ext cx="718456" cy="927955"/>
            </a:xfrm>
            <a:custGeom>
              <a:avLst/>
              <a:gdLst>
                <a:gd name="connsiteX0" fmla="*/ 359228 w 718456"/>
                <a:gd name="connsiteY0" fmla="*/ 0 h 927955"/>
                <a:gd name="connsiteX1" fmla="*/ 718456 w 718456"/>
                <a:gd name="connsiteY1" fmla="*/ 129563 h 927955"/>
                <a:gd name="connsiteX2" fmla="*/ 718456 w 718456"/>
                <a:gd name="connsiteY2" fmla="*/ 424727 h 927955"/>
                <a:gd name="connsiteX3" fmla="*/ 557373 w 718456"/>
                <a:gd name="connsiteY3" fmla="*/ 598284 h 927955"/>
                <a:gd name="connsiteX4" fmla="*/ 718456 w 718456"/>
                <a:gd name="connsiteY4" fmla="*/ 771840 h 927955"/>
                <a:gd name="connsiteX5" fmla="*/ 718456 w 718456"/>
                <a:gd name="connsiteY5" fmla="*/ 798392 h 927955"/>
                <a:gd name="connsiteX6" fmla="*/ 359228 w 718456"/>
                <a:gd name="connsiteY6" fmla="*/ 927955 h 927955"/>
                <a:gd name="connsiteX7" fmla="*/ 0 w 718456"/>
                <a:gd name="connsiteY7" fmla="*/ 798392 h 927955"/>
                <a:gd name="connsiteX8" fmla="*/ 0 w 718456"/>
                <a:gd name="connsiteY8" fmla="*/ 129563 h 927955"/>
                <a:gd name="connsiteX9" fmla="*/ 359228 w 718456"/>
                <a:gd name="connsiteY9" fmla="*/ 0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9" fmla="*/ 648813 w 718456"/>
                <a:gd name="connsiteY9" fmla="*/ 689724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0" fmla="*/ 718456 w 718456"/>
                <a:gd name="connsiteY0" fmla="*/ 771840 h 927955"/>
                <a:gd name="connsiteX1" fmla="*/ 718456 w 718456"/>
                <a:gd name="connsiteY1" fmla="*/ 798392 h 927955"/>
                <a:gd name="connsiteX2" fmla="*/ 359228 w 718456"/>
                <a:gd name="connsiteY2" fmla="*/ 927955 h 927955"/>
                <a:gd name="connsiteX3" fmla="*/ 0 w 718456"/>
                <a:gd name="connsiteY3" fmla="*/ 798392 h 927955"/>
                <a:gd name="connsiteX4" fmla="*/ 0 w 718456"/>
                <a:gd name="connsiteY4" fmla="*/ 129563 h 927955"/>
                <a:gd name="connsiteX5" fmla="*/ 359228 w 718456"/>
                <a:gd name="connsiteY5" fmla="*/ 0 h 927955"/>
                <a:gd name="connsiteX6" fmla="*/ 718456 w 718456"/>
                <a:gd name="connsiteY6" fmla="*/ 129563 h 927955"/>
                <a:gd name="connsiteX7" fmla="*/ 718456 w 718456"/>
                <a:gd name="connsiteY7" fmla="*/ 424727 h 92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456" h="927955">
                  <a:moveTo>
                    <a:pt x="718456" y="771840"/>
                  </a:moveTo>
                  <a:lnTo>
                    <a:pt x="718456" y="798392"/>
                  </a:lnTo>
                  <a:cubicBezTo>
                    <a:pt x="718456" y="869948"/>
                    <a:pt x="557624" y="927955"/>
                    <a:pt x="359228" y="927955"/>
                  </a:cubicBezTo>
                  <a:cubicBezTo>
                    <a:pt x="160832" y="927955"/>
                    <a:pt x="0" y="869948"/>
                    <a:pt x="0" y="798392"/>
                  </a:cubicBezTo>
                  <a:lnTo>
                    <a:pt x="0" y="129563"/>
                  </a:lnTo>
                  <a:cubicBezTo>
                    <a:pt x="0" y="58007"/>
                    <a:pt x="160832" y="0"/>
                    <a:pt x="359228" y="0"/>
                  </a:cubicBezTo>
                  <a:cubicBezTo>
                    <a:pt x="557624" y="0"/>
                    <a:pt x="718456" y="58007"/>
                    <a:pt x="718456" y="129563"/>
                  </a:cubicBezTo>
                  <a:lnTo>
                    <a:pt x="718456" y="424727"/>
                  </a:lnTo>
                </a:path>
              </a:pathLst>
            </a:custGeom>
            <a:noFill/>
            <a:ln w="12700" cap="rnd">
              <a:solidFill>
                <a:schemeClr val="tx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4" name="Arrow: Right 18">
              <a:extLst>
                <a:ext uri="{FF2B5EF4-FFF2-40B4-BE49-F238E27FC236}">
                  <a16:creationId xmlns:a16="http://schemas.microsoft.com/office/drawing/2014/main" id="{C9FAE782-011D-4EBA-A51C-43B1F125CDD7}"/>
                </a:ext>
              </a:extLst>
            </p:cNvPr>
            <p:cNvSpPr/>
            <p:nvPr/>
          </p:nvSpPr>
          <p:spPr bwMode="auto">
            <a:xfrm>
              <a:off x="3492595" y="2318783"/>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5" name="Arrow: Right 18">
              <a:extLst>
                <a:ext uri="{FF2B5EF4-FFF2-40B4-BE49-F238E27FC236}">
                  <a16:creationId xmlns:a16="http://schemas.microsoft.com/office/drawing/2014/main" id="{1B0F446D-9072-4F21-9BF8-806D6F961B49}"/>
                </a:ext>
              </a:extLst>
            </p:cNvPr>
            <p:cNvSpPr/>
            <p:nvPr/>
          </p:nvSpPr>
          <p:spPr bwMode="auto">
            <a:xfrm flipH="1">
              <a:off x="3950778" y="2469810"/>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6" name="Cylinder 812">
            <a:extLst>
              <a:ext uri="{FF2B5EF4-FFF2-40B4-BE49-F238E27FC236}">
                <a16:creationId xmlns:a16="http://schemas.microsoft.com/office/drawing/2014/main" id="{1CA334C6-3E23-462E-A779-08186E7C12BB}"/>
              </a:ext>
            </a:extLst>
          </p:cNvPr>
          <p:cNvSpPr/>
          <p:nvPr/>
        </p:nvSpPr>
        <p:spPr bwMode="auto">
          <a:xfrm>
            <a:off x="2577259" y="4876747"/>
            <a:ext cx="462774" cy="607976"/>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dirty="0">
              <a:solidFill>
                <a:schemeClr val="tx2"/>
              </a:solidFill>
              <a:ea typeface="Segoe UI" pitchFamily="34" charset="0"/>
              <a:cs typeface="Segoe UI Semilight" panose="020B0402040204020203" pitchFamily="34" charset="0"/>
            </a:endParaRPr>
          </a:p>
        </p:txBody>
      </p:sp>
      <p:cxnSp>
        <p:nvCxnSpPr>
          <p:cNvPr id="107" name="Connector: Elbow 106">
            <a:extLst>
              <a:ext uri="{FF2B5EF4-FFF2-40B4-BE49-F238E27FC236}">
                <a16:creationId xmlns:a16="http://schemas.microsoft.com/office/drawing/2014/main" id="{3E102C3D-E098-483B-B094-B524CEC53E27}"/>
              </a:ext>
            </a:extLst>
          </p:cNvPr>
          <p:cNvCxnSpPr>
            <a:cxnSpLocks/>
          </p:cNvCxnSpPr>
          <p:nvPr/>
        </p:nvCxnSpPr>
        <p:spPr>
          <a:xfrm rot="5400000" flipH="1" flipV="1">
            <a:off x="1360731"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3DB0522-7B68-4C23-AEB7-89033FE25637}"/>
              </a:ext>
            </a:extLst>
          </p:cNvPr>
          <p:cNvCxnSpPr>
            <a:cxnSpLocks/>
          </p:cNvCxnSpPr>
          <p:nvPr/>
        </p:nvCxnSpPr>
        <p:spPr>
          <a:xfrm rot="16200000" flipV="1">
            <a:off x="3953977"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ECA32FC-75A7-497B-9B5D-91044F29C379}"/>
              </a:ext>
            </a:extLst>
          </p:cNvPr>
          <p:cNvGrpSpPr/>
          <p:nvPr/>
        </p:nvGrpSpPr>
        <p:grpSpPr>
          <a:xfrm>
            <a:off x="2612251" y="2698570"/>
            <a:ext cx="644491" cy="633500"/>
            <a:chOff x="2612251" y="2884928"/>
            <a:chExt cx="644491" cy="633500"/>
          </a:xfrm>
        </p:grpSpPr>
        <p:sp>
          <p:nvSpPr>
            <p:cNvPr id="110" name="Cylinder 513">
              <a:extLst>
                <a:ext uri="{FF2B5EF4-FFF2-40B4-BE49-F238E27FC236}">
                  <a16:creationId xmlns:a16="http://schemas.microsoft.com/office/drawing/2014/main" id="{C65636ED-1B7A-4970-BF64-10F62E7CFBC9}"/>
                </a:ext>
              </a:extLst>
            </p:cNvPr>
            <p:cNvSpPr/>
            <p:nvPr/>
          </p:nvSpPr>
          <p:spPr bwMode="auto">
            <a:xfrm>
              <a:off x="2612251" y="2907755"/>
              <a:ext cx="464829" cy="61067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tx2"/>
                </a:solidFill>
                <a:latin typeface="+mj-l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75A09D7E-A958-4BEA-8930-9877085D58E8}"/>
                </a:ext>
              </a:extLst>
            </p:cNvPr>
            <p:cNvGrpSpPr>
              <a:grpSpLocks noChangeAspect="1"/>
            </p:cNvGrpSpPr>
            <p:nvPr/>
          </p:nvGrpSpPr>
          <p:grpSpPr>
            <a:xfrm>
              <a:off x="2847932" y="2884928"/>
              <a:ext cx="408810" cy="454341"/>
              <a:chOff x="1976964" y="1368618"/>
              <a:chExt cx="467797" cy="725944"/>
            </a:xfrm>
            <a:solidFill>
              <a:schemeClr val="bg1"/>
            </a:solidFill>
          </p:grpSpPr>
          <p:sp>
            <p:nvSpPr>
              <p:cNvPr id="112" name="Freeform 413">
                <a:extLst>
                  <a:ext uri="{FF2B5EF4-FFF2-40B4-BE49-F238E27FC236}">
                    <a16:creationId xmlns:a16="http://schemas.microsoft.com/office/drawing/2014/main" id="{AEBD3BD0-C37C-4CB6-93E4-C348CBA452B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solidFill>
                <a:schemeClr val="bg1">
                  <a:lumMod val="95000"/>
                </a:schemeClr>
              </a:solidFill>
              <a:ln w="12700">
                <a:solidFill>
                  <a:schemeClr val="tx2"/>
                </a:solidFill>
                <a:round/>
                <a:headEnd/>
                <a:tailEnd/>
              </a:ln>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sp>
            <p:nvSpPr>
              <p:cNvPr id="113" name="Freeform 415">
                <a:extLst>
                  <a:ext uri="{FF2B5EF4-FFF2-40B4-BE49-F238E27FC236}">
                    <a16:creationId xmlns:a16="http://schemas.microsoft.com/office/drawing/2014/main" id="{BAAC2900-7B52-417D-A09E-21ABE56DBF4C}"/>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grpFill/>
              <a:ln w="12700">
                <a:solidFill>
                  <a:schemeClr val="tx2"/>
                </a:solidFill>
                <a:round/>
                <a:headEnd/>
                <a:tailEnd/>
              </a:ln>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grpSp>
      </p:grpSp>
      <p:sp>
        <p:nvSpPr>
          <p:cNvPr id="114" name="TextBox 113">
            <a:extLst>
              <a:ext uri="{FF2B5EF4-FFF2-40B4-BE49-F238E27FC236}">
                <a16:creationId xmlns:a16="http://schemas.microsoft.com/office/drawing/2014/main" id="{2ABDB015-C54B-4756-83C8-9AF6729C3C86}"/>
              </a:ext>
            </a:extLst>
          </p:cNvPr>
          <p:cNvSpPr txBox="1"/>
          <p:nvPr/>
        </p:nvSpPr>
        <p:spPr>
          <a:xfrm>
            <a:off x="0" y="6568972"/>
            <a:ext cx="1311813"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 Coming by GA</a:t>
            </a:r>
          </a:p>
        </p:txBody>
      </p:sp>
      <p:sp>
        <p:nvSpPr>
          <p:cNvPr id="115" name="TextBox 114">
            <a:extLst>
              <a:ext uri="{FF2B5EF4-FFF2-40B4-BE49-F238E27FC236}">
                <a16:creationId xmlns:a16="http://schemas.microsoft.com/office/drawing/2014/main" id="{E8800EF6-0633-4E0F-8BD8-7D07FA899474}"/>
              </a:ext>
            </a:extLst>
          </p:cNvPr>
          <p:cNvSpPr txBox="1"/>
          <p:nvPr/>
        </p:nvSpPr>
        <p:spPr>
          <a:xfrm>
            <a:off x="-178739" y="2456375"/>
            <a:ext cx="1951445"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Azure Site Recovery</a:t>
            </a:r>
          </a:p>
        </p:txBody>
      </p:sp>
      <p:cxnSp>
        <p:nvCxnSpPr>
          <p:cNvPr id="116" name="Straight Arrow Connector 115">
            <a:extLst>
              <a:ext uri="{FF2B5EF4-FFF2-40B4-BE49-F238E27FC236}">
                <a16:creationId xmlns:a16="http://schemas.microsoft.com/office/drawing/2014/main" id="{7C841528-753C-4121-ADFE-CA05D9E1F069}"/>
              </a:ext>
            </a:extLst>
          </p:cNvPr>
          <p:cNvCxnSpPr>
            <a:cxnSpLocks/>
          </p:cNvCxnSpPr>
          <p:nvPr/>
        </p:nvCxnSpPr>
        <p:spPr>
          <a:xfrm>
            <a:off x="616442" y="2750371"/>
            <a:ext cx="11292" cy="781527"/>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Image result for azure site recovery logo">
            <a:extLst>
              <a:ext uri="{FF2B5EF4-FFF2-40B4-BE49-F238E27FC236}">
                <a16:creationId xmlns:a16="http://schemas.microsoft.com/office/drawing/2014/main" id="{D95967CC-80E0-427A-8CAE-85FD16304F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9124" y="2414516"/>
            <a:ext cx="836858" cy="439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700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P spid="13" grpId="0"/>
      <p:bldP spid="14" grpId="0"/>
      <p:bldP spid="106" grpId="0" animBg="1"/>
      <p:bldP spid="115"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54100-363F-4F1C-9549-8F596C8CD245}"/>
              </a:ext>
            </a:extLst>
          </p:cNvPr>
          <p:cNvSpPr>
            <a:spLocks noGrp="1"/>
          </p:cNvSpPr>
          <p:nvPr>
            <p:ph type="title"/>
          </p:nvPr>
        </p:nvSpPr>
        <p:spPr>
          <a:xfrm>
            <a:off x="588263" y="457200"/>
            <a:ext cx="11018520" cy="553998"/>
          </a:xfrm>
        </p:spPr>
        <p:txBody>
          <a:bodyPr/>
          <a:lstStyle/>
          <a:p>
            <a:r>
              <a:rPr lang="en-US" dirty="0"/>
              <a:t>Database Compatibility Certification</a:t>
            </a:r>
          </a:p>
        </p:txBody>
      </p:sp>
      <p:sp>
        <p:nvSpPr>
          <p:cNvPr id="4" name="Text Placeholder 2">
            <a:extLst>
              <a:ext uri="{FF2B5EF4-FFF2-40B4-BE49-F238E27FC236}">
                <a16:creationId xmlns:a16="http://schemas.microsoft.com/office/drawing/2014/main" id="{50D2FFD7-06D7-4887-B1C0-598C08A59123}"/>
              </a:ext>
            </a:extLst>
          </p:cNvPr>
          <p:cNvSpPr>
            <a:spLocks noGrp="1"/>
          </p:cNvSpPr>
          <p:nvPr>
            <p:ph type="body" sz="quarter" idx="10"/>
          </p:nvPr>
        </p:nvSpPr>
        <p:spPr>
          <a:xfrm>
            <a:off x="586390" y="3668232"/>
            <a:ext cx="11018520" cy="2732567"/>
          </a:xfrm>
        </p:spPr>
        <p:txBody>
          <a:bodyPr/>
          <a:lstStyle/>
          <a:p>
            <a:endParaRPr lang="en-US" dirty="0"/>
          </a:p>
          <a:p>
            <a:r>
              <a:rPr lang="en-US" dirty="0"/>
              <a:t>Any certification process should be thought in terms of “</a:t>
            </a:r>
            <a:r>
              <a:rPr lang="en-US" i="1" dirty="0"/>
              <a:t>which target database compatibility level am I certifying to?”</a:t>
            </a:r>
          </a:p>
          <a:p>
            <a:endParaRPr lang="en-US" dirty="0"/>
          </a:p>
          <a:p>
            <a:r>
              <a:rPr lang="en-US" dirty="0"/>
              <a:t>Updated public documentation: </a:t>
            </a:r>
            <a:r>
              <a:rPr lang="en-US" dirty="0">
                <a:hlinkClick r:id="rId2"/>
              </a:rPr>
              <a:t>http://aka.ms/dbcompat</a:t>
            </a:r>
            <a:endParaRPr lang="en-US" dirty="0"/>
          </a:p>
        </p:txBody>
      </p:sp>
      <p:graphicFrame>
        <p:nvGraphicFramePr>
          <p:cNvPr id="5" name="Diagram 4">
            <a:extLst>
              <a:ext uri="{FF2B5EF4-FFF2-40B4-BE49-F238E27FC236}">
                <a16:creationId xmlns:a16="http://schemas.microsoft.com/office/drawing/2014/main" id="{9EAB7ECD-A361-4A48-A2D8-548A8FB4721E}"/>
              </a:ext>
            </a:extLst>
          </p:cNvPr>
          <p:cNvGraphicFramePr/>
          <p:nvPr>
            <p:extLst>
              <p:ext uri="{D42A27DB-BD31-4B8C-83A1-F6EECF244321}">
                <p14:modId xmlns:p14="http://schemas.microsoft.com/office/powerpoint/2010/main" val="3708757134"/>
              </p:ext>
            </p:extLst>
          </p:nvPr>
        </p:nvGraphicFramePr>
        <p:xfrm>
          <a:off x="585216" y="0"/>
          <a:ext cx="10929843" cy="5443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348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fade">
                                      <p:cBhvr>
                                        <p:cTn id="10"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stands by DB Compat based certification</a:t>
            </a:r>
          </a:p>
        </p:txBody>
      </p:sp>
      <p:graphicFrame>
        <p:nvGraphicFramePr>
          <p:cNvPr id="3" name="Diagram 2">
            <a:extLst>
              <a:ext uri="{FF2B5EF4-FFF2-40B4-BE49-F238E27FC236}">
                <a16:creationId xmlns:a16="http://schemas.microsoft.com/office/drawing/2014/main" id="{3DFF174B-DD6D-4062-9CB9-31F1ECBE0CCC}"/>
              </a:ext>
            </a:extLst>
          </p:cNvPr>
          <p:cNvGraphicFramePr/>
          <p:nvPr>
            <p:extLst>
              <p:ext uri="{D42A27DB-BD31-4B8C-83A1-F6EECF244321}">
                <p14:modId xmlns:p14="http://schemas.microsoft.com/office/powerpoint/2010/main" val="1852548709"/>
              </p:ext>
            </p:extLst>
          </p:nvPr>
        </p:nvGraphicFramePr>
        <p:xfrm>
          <a:off x="588262" y="1182245"/>
          <a:ext cx="11135652" cy="51532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3FD8733A-CF24-4DC1-A9B9-68FD2A58238D}"/>
              </a:ext>
            </a:extLst>
          </p:cNvPr>
          <p:cNvSpPr/>
          <p:nvPr/>
        </p:nvSpPr>
        <p:spPr>
          <a:xfrm>
            <a:off x="688521" y="6400801"/>
            <a:ext cx="9255578" cy="363946"/>
          </a:xfrm>
          <a:prstGeom prst="rect">
            <a:avLst/>
          </a:prstGeom>
        </p:spPr>
        <p:txBody>
          <a:bodyPr wrap="square">
            <a:spAutoFit/>
          </a:bodyPr>
          <a:lstStyle/>
          <a:p>
            <a:pPr fontAlgn="base"/>
            <a:r>
              <a:rPr lang="en-US" dirty="0">
                <a:solidFill>
                  <a:srgbClr val="1A1A1A"/>
                </a:solidFill>
                <a:latin typeface="Segoe UI" panose="020B0502040204020203" pitchFamily="34" charset="0"/>
              </a:rPr>
              <a:t>* More on this this Saturday @3pm in session “Modernizing your SQL Server the right way”</a:t>
            </a:r>
            <a:r>
              <a:rPr lang="en-US" dirty="0">
                <a:latin typeface="Segoe UI" panose="020B0502040204020203" pitchFamily="34" charset="0"/>
              </a:rPr>
              <a:t>​</a:t>
            </a:r>
            <a:endParaRPr lang="en-US" b="0" i="0" u="none" strike="noStrike" dirty="0">
              <a:effectLst/>
              <a:latin typeface="&amp;quot"/>
            </a:endParaRPr>
          </a:p>
        </p:txBody>
      </p:sp>
    </p:spTree>
    <p:extLst>
      <p:ext uri="{BB962C8B-B14F-4D97-AF65-F5344CB8AC3E}">
        <p14:creationId xmlns:p14="http://schemas.microsoft.com/office/powerpoint/2010/main" val="295670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graphicEl>
                                              <a:dgm id="{0F131562-68F0-4B19-9C9B-11EDABF5C6C2}"/>
                                            </p:graphicEl>
                                          </p:spTgt>
                                        </p:tgtEl>
                                        <p:attrNameLst>
                                          <p:attrName>style.visibility</p:attrName>
                                        </p:attrNameLst>
                                      </p:cBhvr>
                                      <p:to>
                                        <p:strVal val="visible"/>
                                      </p:to>
                                    </p:set>
                                    <p:animEffect transition="in" filter="fade">
                                      <p:cBhvr>
                                        <p:cTn id="7" dur="500"/>
                                        <p:tgtEl>
                                          <p:spTgt spid="3">
                                            <p:graphicEl>
                                              <a:dgm id="{0F131562-68F0-4B19-9C9B-11EDABF5C6C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BB60262A-7260-41EC-A300-83A70430AB88}"/>
                                            </p:graphicEl>
                                          </p:spTgt>
                                        </p:tgtEl>
                                        <p:attrNameLst>
                                          <p:attrName>style.visibility</p:attrName>
                                        </p:attrNameLst>
                                      </p:cBhvr>
                                      <p:to>
                                        <p:strVal val="visible"/>
                                      </p:to>
                                    </p:set>
                                    <p:animEffect transition="in" filter="fade">
                                      <p:cBhvr>
                                        <p:cTn id="12" dur="500"/>
                                        <p:tgtEl>
                                          <p:spTgt spid="3">
                                            <p:graphicEl>
                                              <a:dgm id="{BB60262A-7260-41EC-A300-83A70430AB8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graphicEl>
                                              <a:dgm id="{7818A2DF-6CC5-48A1-A1AD-474D3C9CEE83}"/>
                                            </p:graphicEl>
                                          </p:spTgt>
                                        </p:tgtEl>
                                        <p:attrNameLst>
                                          <p:attrName>style.visibility</p:attrName>
                                        </p:attrNameLst>
                                      </p:cBhvr>
                                      <p:to>
                                        <p:strVal val="visible"/>
                                      </p:to>
                                    </p:set>
                                    <p:animEffect transition="in" filter="fade">
                                      <p:cBhvr>
                                        <p:cTn id="17" dur="500"/>
                                        <p:tgtEl>
                                          <p:spTgt spid="3">
                                            <p:graphicEl>
                                              <a:dgm id="{7818A2DF-6CC5-48A1-A1AD-474D3C9CEE8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graphicEl>
                                              <a:dgm id="{3B92D154-099C-4BE2-9BB9-C48EC9DD153F}"/>
                                            </p:graphicEl>
                                          </p:spTgt>
                                        </p:tgtEl>
                                        <p:attrNameLst>
                                          <p:attrName>style.visibility</p:attrName>
                                        </p:attrNameLst>
                                      </p:cBhvr>
                                      <p:to>
                                        <p:strVal val="visible"/>
                                      </p:to>
                                    </p:set>
                                    <p:animEffect transition="in" filter="fade">
                                      <p:cBhvr>
                                        <p:cTn id="22" dur="500"/>
                                        <p:tgtEl>
                                          <p:spTgt spid="3">
                                            <p:graphicEl>
                                              <a:dgm id="{3B92D154-099C-4BE2-9BB9-C48EC9DD153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176"/>
          <p:cNvSpPr/>
          <p:nvPr/>
        </p:nvSpPr>
        <p:spPr bwMode="auto">
          <a:xfrm>
            <a:off x="982196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sights in minutes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rich reports</a:t>
            </a:r>
          </a:p>
        </p:txBody>
      </p:sp>
      <p:sp>
        <p:nvSpPr>
          <p:cNvPr id="179" name="Rectangle 178"/>
          <p:cNvSpPr/>
          <p:nvPr/>
        </p:nvSpPr>
        <p:spPr bwMode="auto">
          <a:xfrm>
            <a:off x="265742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oice of platform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language</a:t>
            </a:r>
          </a:p>
        </p:txBody>
      </p:sp>
      <p:sp>
        <p:nvSpPr>
          <p:cNvPr id="181" name="Rectangle 180"/>
          <p:cNvSpPr/>
          <p:nvPr/>
        </p:nvSpPr>
        <p:spPr bwMode="auto">
          <a:xfrm>
            <a:off x="743378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secure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over the last 8 years</a:t>
            </a:r>
            <a:r>
              <a:rPr kumimoji="0" lang="en-US" sz="1200" b="1" i="0" u="none" strike="noStrike" kern="0" cap="none" spc="0" normalizeH="0" baseline="30000" noProof="0" dirty="0">
                <a:ln>
                  <a:noFill/>
                </a:ln>
                <a:solidFill>
                  <a:srgbClr val="0078D7"/>
                </a:solidFill>
                <a:effectLst/>
                <a:uLnTx/>
                <a:uFillTx/>
                <a:latin typeface="Segoe UI Semibold" charset="0"/>
                <a:ea typeface="Segoe UI Semibold" charset="0"/>
                <a:cs typeface="Segoe UI Semibold" charset="0"/>
              </a:rPr>
              <a:t>5</a:t>
            </a:r>
          </a:p>
        </p:txBody>
      </p:sp>
      <p:graphicFrame>
        <p:nvGraphicFramePr>
          <p:cNvPr id="185" name="Chart 184">
            <a:extLst>
              <a:ext uri="{FF2B5EF4-FFF2-40B4-BE49-F238E27FC236}">
                <a16:creationId xmlns:a16="http://schemas.microsoft.com/office/drawing/2014/main" id="{70704024-56B2-4A33-A8E4-F0C2FF875539}"/>
              </a:ext>
            </a:extLst>
          </p:cNvPr>
          <p:cNvGraphicFramePr/>
          <p:nvPr/>
        </p:nvGraphicFramePr>
        <p:xfrm>
          <a:off x="7365287" y="2196545"/>
          <a:ext cx="2168521" cy="2157204"/>
        </p:xfrm>
        <a:graphic>
          <a:graphicData uri="http://schemas.openxmlformats.org/drawingml/2006/chart">
            <c:chart xmlns:c="http://schemas.openxmlformats.org/drawingml/2006/chart" xmlns:r="http://schemas.openxmlformats.org/officeDocument/2006/relationships" r:id="rId3"/>
          </a:graphicData>
        </a:graphic>
      </p:graphicFrame>
      <p:sp>
        <p:nvSpPr>
          <p:cNvPr id="187" name="AutoShape 14">
            <a:extLst>
              <a:ext uri="{FF2B5EF4-FFF2-40B4-BE49-F238E27FC236}">
                <a16:creationId xmlns:a16="http://schemas.microsoft.com/office/drawing/2014/main" id="{1E47D1B0-680A-4130-A603-76BF80068841}"/>
              </a:ext>
            </a:extLst>
          </p:cNvPr>
          <p:cNvSpPr>
            <a:spLocks noChangeAspect="1" noChangeArrowheads="1" noTextEdit="1"/>
          </p:cNvSpPr>
          <p:nvPr/>
        </p:nvSpPr>
        <p:spPr bwMode="auto">
          <a:xfrm>
            <a:off x="10452827" y="3009281"/>
            <a:ext cx="771864" cy="1055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TextBox 187">
            <a:extLst>
              <a:ext uri="{FF2B5EF4-FFF2-40B4-BE49-F238E27FC236}">
                <a16:creationId xmlns:a16="http://schemas.microsoft.com/office/drawing/2014/main" id="{A6797694-6A0A-41E4-B52E-074019ADDC8C}"/>
              </a:ext>
            </a:extLst>
          </p:cNvPr>
          <p:cNvSpPr txBox="1"/>
          <p:nvPr/>
        </p:nvSpPr>
        <p:spPr>
          <a:xfrm>
            <a:off x="9885969" y="3759349"/>
            <a:ext cx="1975102" cy="589392"/>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The best of Power BI and</a:t>
            </a:r>
            <a:b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b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SQL Server Reporting Services in Power BI Report Server</a:t>
            </a:r>
          </a:p>
        </p:txBody>
      </p:sp>
      <p:sp>
        <p:nvSpPr>
          <p:cNvPr id="189" name="AutoShape 14">
            <a:extLst>
              <a:ext uri="{FF2B5EF4-FFF2-40B4-BE49-F238E27FC236}">
                <a16:creationId xmlns:a16="http://schemas.microsoft.com/office/drawing/2014/main" id="{E298AFF3-F594-4DF7-A51B-2E4C7EBD79D3}"/>
              </a:ext>
            </a:extLst>
          </p:cNvPr>
          <p:cNvSpPr>
            <a:spLocks noChangeAspect="1" noChangeArrowheads="1" noTextEdit="1"/>
          </p:cNvSpPr>
          <p:nvPr/>
        </p:nvSpPr>
        <p:spPr bwMode="auto">
          <a:xfrm>
            <a:off x="10407459" y="3010609"/>
            <a:ext cx="771864" cy="105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002050"/>
              </a:solidFill>
              <a:effectLst/>
              <a:uLnTx/>
              <a:uFillTx/>
              <a:latin typeface="Segoe UI"/>
              <a:ea typeface="+mn-ea"/>
              <a:cs typeface="+mn-cs"/>
            </a:endParaRP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50456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dustry-leading performance </a:t>
            </a:r>
          </a:p>
        </p:txBody>
      </p:sp>
      <p:sp>
        <p:nvSpPr>
          <p:cNvPr id="84" name="Rectangle 83">
            <a:extLst>
              <a:ext uri="{FF2B5EF4-FFF2-40B4-BE49-F238E27FC236}">
                <a16:creationId xmlns:a16="http://schemas.microsoft.com/office/drawing/2014/main" id="{FBF5AC61-8053-4CF2-8322-5A5351032DA9}"/>
              </a:ext>
            </a:extLst>
          </p:cNvPr>
          <p:cNvSpPr/>
          <p:nvPr/>
        </p:nvSpPr>
        <p:spPr>
          <a:xfrm>
            <a:off x="5245709" y="3656757"/>
            <a:ext cx="1702902" cy="691984"/>
          </a:xfrm>
          <a:prstGeom prst="rect">
            <a:avLst/>
          </a:prstGeom>
        </p:spPr>
        <p:txBody>
          <a:bodyPr wrap="square" lIns="91440" tIns="45720" rIns="91440" bIns="4572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OLTP performance</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a:t>
            </a:r>
          </a:p>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DW performance on 1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2</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1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3</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and 3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4</a:t>
            </a:r>
          </a:p>
        </p:txBody>
      </p:sp>
      <p:cxnSp>
        <p:nvCxnSpPr>
          <p:cNvPr id="4" name="Straight Connector 3"/>
          <p:cNvCxnSpPr/>
          <p:nvPr/>
        </p:nvCxnSpPr>
        <p:spPr>
          <a:xfrm>
            <a:off x="490307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9125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67943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51489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524649" y="5588424"/>
            <a:ext cx="9142703" cy="0"/>
          </a:xfrm>
          <a:prstGeom prst="line">
            <a:avLst/>
          </a:prstGeom>
          <a:ln w="127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CB4FD4-97CF-47E7-A092-5454A7632C6F}"/>
              </a:ext>
            </a:extLst>
          </p:cNvPr>
          <p:cNvSpPr txBox="1"/>
          <p:nvPr/>
        </p:nvSpPr>
        <p:spPr>
          <a:xfrm>
            <a:off x="460844" y="5766082"/>
            <a:ext cx="1063806" cy="237757"/>
          </a:xfrm>
          <a:prstGeom prst="rect">
            <a:avLst/>
          </a:prstGeom>
          <a:noFill/>
        </p:spPr>
        <p:txBody>
          <a:bodyPr wrap="square" lIns="0" r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661992" y="5766082"/>
            <a:ext cx="1121055" cy="237757"/>
          </a:xfrm>
          <a:prstGeom prst="rect">
            <a:avLst/>
          </a:prstGeom>
          <a:noFill/>
        </p:spPr>
        <p:txBody>
          <a:bodyPr wrap="square" lIns="0" r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Segoe UI Semilight" charset="0"/>
                <a:cs typeface="Segoe UI" panose="020B0502040204020203" pitchFamily="34" charset="0"/>
              </a:rPr>
              <a:t>Public cloud</a:t>
            </a:r>
          </a:p>
        </p:txBody>
      </p:sp>
      <p:sp>
        <p:nvSpPr>
          <p:cNvPr id="94" name="TextBox 93">
            <a:extLst>
              <a:ext uri="{FF2B5EF4-FFF2-40B4-BE49-F238E27FC236}">
                <a16:creationId xmlns:a16="http://schemas.microsoft.com/office/drawing/2014/main" id="{CF798B69-B547-46E4-9422-C595E65FBEE8}"/>
              </a:ext>
            </a:extLst>
          </p:cNvPr>
          <p:cNvSpPr txBox="1"/>
          <p:nvPr/>
        </p:nvSpPr>
        <p:spPr>
          <a:xfrm>
            <a:off x="7650679" y="5117544"/>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consistent data platform</a:t>
            </a:r>
          </a:p>
        </p:txBody>
      </p:sp>
      <p:sp>
        <p:nvSpPr>
          <p:cNvPr id="71" name="TextBox 70">
            <a:extLst>
              <a:ext uri="{FF2B5EF4-FFF2-40B4-BE49-F238E27FC236}">
                <a16:creationId xmlns:a16="http://schemas.microsoft.com/office/drawing/2014/main" id="{9386994A-C608-4664-85BD-4CF8D5666690}"/>
              </a:ext>
            </a:extLst>
          </p:cNvPr>
          <p:cNvSpPr txBox="1"/>
          <p:nvPr/>
        </p:nvSpPr>
        <p:spPr>
          <a:xfrm>
            <a:off x="2122865" y="5117543"/>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memory across all workloads</a:t>
            </a:r>
          </a:p>
        </p:txBody>
      </p:sp>
      <p:sp>
        <p:nvSpPr>
          <p:cNvPr id="73" name="TextBox 72">
            <a:extLst>
              <a:ext uri="{FF2B5EF4-FFF2-40B4-BE49-F238E27FC236}">
                <a16:creationId xmlns:a16="http://schemas.microsoft.com/office/drawing/2014/main" id="{DFA27AFE-6D76-8942-85DB-68D5ADD1085E}"/>
              </a:ext>
            </a:extLst>
          </p:cNvPr>
          <p:cNvSpPr txBox="1"/>
          <p:nvPr/>
        </p:nvSpPr>
        <p:spPr>
          <a:xfrm>
            <a:off x="5134177" y="5722286"/>
            <a:ext cx="191828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1/10th the cost of Oracle </a:t>
            </a:r>
          </a:p>
        </p:txBody>
      </p:sp>
      <p:cxnSp>
        <p:nvCxnSpPr>
          <p:cNvPr id="14" name="Straight Connector 13">
            <a:extLst>
              <a:ext uri="{FF2B5EF4-FFF2-40B4-BE49-F238E27FC236}">
                <a16:creationId xmlns:a16="http://schemas.microsoft.com/office/drawing/2014/main" id="{DDF4C9EF-4D25-BB46-A996-4BE7C437FD40}"/>
              </a:ext>
            </a:extLst>
          </p:cNvPr>
          <p:cNvCxnSpPr/>
          <p:nvPr/>
        </p:nvCxnSpPr>
        <p:spPr>
          <a:xfrm>
            <a:off x="458000" y="4760947"/>
            <a:ext cx="11276001"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1E93E66-A25D-5246-A907-E68C67C2DB7C}"/>
              </a:ext>
            </a:extLst>
          </p:cNvPr>
          <p:cNvGrpSpPr/>
          <p:nvPr/>
        </p:nvGrpSpPr>
        <p:grpSpPr>
          <a:xfrm>
            <a:off x="2669398" y="3715665"/>
            <a:ext cx="2219096" cy="633082"/>
            <a:chOff x="426355" y="3363322"/>
            <a:chExt cx="2112468" cy="633171"/>
          </a:xfrm>
        </p:grpSpPr>
        <p:sp>
          <p:nvSpPr>
            <p:cNvPr id="120" name="Rectangle 119">
              <a:extLst>
                <a:ext uri="{FF2B5EF4-FFF2-40B4-BE49-F238E27FC236}">
                  <a16:creationId xmlns:a16="http://schemas.microsoft.com/office/drawing/2014/main" id="{B3AB2A48-C320-4C78-AFD0-49834DFB3951}"/>
                </a:ext>
              </a:extLst>
            </p:cNvPr>
            <p:cNvSpPr/>
            <p:nvPr/>
          </p:nvSpPr>
          <p:spPr>
            <a:xfrm>
              <a:off x="426355" y="3368028"/>
              <a:ext cx="558814"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T-SQL</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Jav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C++</a:t>
              </a:r>
            </a:p>
          </p:txBody>
        </p:sp>
        <p:sp>
          <p:nvSpPr>
            <p:cNvPr id="121" name="Rectangle 120">
              <a:extLst>
                <a:ext uri="{FF2B5EF4-FFF2-40B4-BE49-F238E27FC236}">
                  <a16:creationId xmlns:a16="http://schemas.microsoft.com/office/drawing/2014/main" id="{A3A2A1D3-E641-40CD-B46F-2D004DE06085}"/>
                </a:ext>
              </a:extLst>
            </p:cNvPr>
            <p:cNvSpPr/>
            <p:nvPr/>
          </p:nvSpPr>
          <p:spPr>
            <a:xfrm>
              <a:off x="1064828" y="3368027"/>
              <a:ext cx="797014" cy="628466"/>
            </a:xfrm>
            <a:prstGeom prst="rect">
              <a:avLst/>
            </a:prstGeom>
            <a:ln>
              <a:noFill/>
            </a:ln>
          </p:spPr>
          <p:txBody>
            <a:bodyPr wrap="squar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SCAL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ode.js</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VB.NET</a:t>
              </a:r>
            </a:p>
          </p:txBody>
        </p:sp>
        <p:sp>
          <p:nvSpPr>
            <p:cNvPr id="131" name="Rectangle 130">
              <a:extLst>
                <a:ext uri="{FF2B5EF4-FFF2-40B4-BE49-F238E27FC236}">
                  <a16:creationId xmlns:a16="http://schemas.microsoft.com/office/drawing/2014/main" id="{40CB3735-6ACF-A240-835F-7C0EE74CE7A9}"/>
                </a:ext>
              </a:extLst>
            </p:cNvPr>
            <p:cNvSpPr/>
            <p:nvPr/>
          </p:nvSpPr>
          <p:spPr>
            <a:xfrm>
              <a:off x="1827412" y="3363322"/>
              <a:ext cx="711411"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Python</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Ruby</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ET core</a:t>
              </a:r>
            </a:p>
          </p:txBody>
        </p:sp>
      </p:grpSp>
      <p:sp>
        <p:nvSpPr>
          <p:cNvPr id="78" name="TextBox 77">
            <a:extLst>
              <a:ext uri="{FF2B5EF4-FFF2-40B4-BE49-F238E27FC236}">
                <a16:creationId xmlns:a16="http://schemas.microsoft.com/office/drawing/2014/main" id="{0C6ED57D-B16F-654D-84A3-3A6EE518B6B7}"/>
              </a:ext>
            </a:extLst>
          </p:cNvPr>
          <p:cNvSpPr txBox="1"/>
          <p:nvPr/>
        </p:nvSpPr>
        <p:spPr>
          <a:xfrm>
            <a:off x="269240" y="6365795"/>
            <a:ext cx="9045303" cy="390862"/>
          </a:xfrm>
          <a:prstGeom prst="rect">
            <a:avLst/>
          </a:prstGeom>
          <a:noFill/>
        </p:spPr>
        <p:txBody>
          <a:bodyPr wrap="square" lIns="91427" tIns="45713" rIns="91427" bIns="45713"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757575"/>
                </a:solidFill>
                <a:effectLst/>
                <a:uLnTx/>
                <a:uFillTx/>
                <a:latin typeface="Segoe UI"/>
                <a:ea typeface="+mn-ea"/>
                <a:cs typeface="+mn-cs"/>
              </a:rPr>
              <a:t>All TPC Claims as of 1/19/2018.</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dirty="0">
                <a:ln>
                  <a:noFill/>
                </a:ln>
                <a:solidFill>
                  <a:srgbClr val="757575"/>
                </a:solidFill>
                <a:effectLst/>
                <a:uLnTx/>
                <a:uFillTx/>
                <a:latin typeface="Segoe UI"/>
                <a:ea typeface="+mn-ea"/>
                <a:cs typeface="+mn-cs"/>
              </a:rPr>
              <a:t>1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4"/>
              </a:rPr>
              <a:t>http://www.tpc.org/408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2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5"/>
              </a:rPr>
              <a:t>http://www.tpc.org/333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3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6"/>
              </a:rPr>
              <a:t>http://www.tpc.org/3326</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4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7"/>
              </a:rPr>
              <a:t>http://www.tpc.org/332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5 </a:t>
            </a:r>
            <a:r>
              <a:rPr kumimoji="0" lang="en-US" sz="800" b="0" i="0" u="none" strike="noStrike" kern="1200" cap="none" spc="0" normalizeH="0" baseline="0" noProof="0" dirty="0">
                <a:ln>
                  <a:noFill/>
                </a:ln>
                <a:solidFill>
                  <a:srgbClr val="757575"/>
                </a:solidFill>
                <a:effectLst/>
                <a:uLnTx/>
                <a:uFillTx/>
                <a:latin typeface="Segoe UI"/>
                <a:ea typeface="+mn-ea"/>
                <a:cs typeface="+mn-cs"/>
              </a:rPr>
              <a:t>National Institute of Standards and Technology Comprehensive Vulnerability Database</a:t>
            </a:r>
          </a:p>
        </p:txBody>
      </p:sp>
      <p:sp>
        <p:nvSpPr>
          <p:cNvPr id="79" name="Rectangle 78">
            <a:extLst>
              <a:ext uri="{FF2B5EF4-FFF2-40B4-BE49-F238E27FC236}">
                <a16:creationId xmlns:a16="http://schemas.microsoft.com/office/drawing/2014/main" id="{CB743499-36D6-4E44-8087-32FB8636F525}"/>
              </a:ext>
            </a:extLst>
          </p:cNvPr>
          <p:cNvSpPr/>
          <p:nvPr/>
        </p:nvSpPr>
        <p:spPr bwMode="auto">
          <a:xfrm>
            <a:off x="2921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telligence over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y data</a:t>
            </a:r>
          </a:p>
        </p:txBody>
      </p:sp>
      <p:sp>
        <p:nvSpPr>
          <p:cNvPr id="80" name="TextBox 79">
            <a:extLst>
              <a:ext uri="{FF2B5EF4-FFF2-40B4-BE49-F238E27FC236}">
                <a16:creationId xmlns:a16="http://schemas.microsoft.com/office/drawing/2014/main" id="{8901B3AF-5365-41DB-88FC-AFF41EFC63AF}"/>
              </a:ext>
            </a:extLst>
          </p:cNvPr>
          <p:cNvSpPr txBox="1"/>
          <p:nvPr/>
        </p:nvSpPr>
        <p:spPr>
          <a:xfrm>
            <a:off x="397137" y="3589687"/>
            <a:ext cx="1893046" cy="759054"/>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Analytics over structured and unstructured data with the power of SQL and Apache Spark</a:t>
            </a:r>
          </a:p>
        </p:txBody>
      </p:sp>
      <p:grpSp>
        <p:nvGrpSpPr>
          <p:cNvPr id="87" name="Group 86">
            <a:extLst>
              <a:ext uri="{FF2B5EF4-FFF2-40B4-BE49-F238E27FC236}">
                <a16:creationId xmlns:a16="http://schemas.microsoft.com/office/drawing/2014/main" id="{2210F0E3-F2E0-48B1-83DC-3D88C6093AC1}"/>
              </a:ext>
            </a:extLst>
          </p:cNvPr>
          <p:cNvGrpSpPr/>
          <p:nvPr/>
        </p:nvGrpSpPr>
        <p:grpSpPr>
          <a:xfrm>
            <a:off x="5848604" y="2419996"/>
            <a:ext cx="443532" cy="721412"/>
            <a:chOff x="3495760" y="2740747"/>
            <a:chExt cx="501706" cy="816037"/>
          </a:xfrm>
        </p:grpSpPr>
        <p:grpSp>
          <p:nvGrpSpPr>
            <p:cNvPr id="88" name="Group 87">
              <a:extLst>
                <a:ext uri="{FF2B5EF4-FFF2-40B4-BE49-F238E27FC236}">
                  <a16:creationId xmlns:a16="http://schemas.microsoft.com/office/drawing/2014/main" id="{163C1433-8829-427F-9AE5-622E16361347}"/>
                </a:ext>
              </a:extLst>
            </p:cNvPr>
            <p:cNvGrpSpPr/>
            <p:nvPr/>
          </p:nvGrpSpPr>
          <p:grpSpPr>
            <a:xfrm>
              <a:off x="3495760" y="2740747"/>
              <a:ext cx="501706" cy="816037"/>
              <a:chOff x="3511944" y="2617100"/>
              <a:chExt cx="425505" cy="692094"/>
            </a:xfrm>
          </p:grpSpPr>
          <p:sp>
            <p:nvSpPr>
              <p:cNvPr id="90" name="Freeform 100">
                <a:extLst>
                  <a:ext uri="{FF2B5EF4-FFF2-40B4-BE49-F238E27FC236}">
                    <a16:creationId xmlns:a16="http://schemas.microsoft.com/office/drawing/2014/main" id="{BFDC7C1B-EC06-492A-AB86-F64F507DF5AC}"/>
                  </a:ext>
                </a:extLst>
              </p:cNvPr>
              <p:cNvSpPr/>
              <p:nvPr/>
            </p:nvSpPr>
            <p:spPr bwMode="auto">
              <a:xfrm>
                <a:off x="3560496" y="2929318"/>
                <a:ext cx="331773"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BED146B2-B061-42DC-A88F-D941B7B0CA28}"/>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9" name="check">
              <a:extLst>
                <a:ext uri="{FF2B5EF4-FFF2-40B4-BE49-F238E27FC236}">
                  <a16:creationId xmlns:a16="http://schemas.microsoft.com/office/drawing/2014/main" id="{A6E9677E-0963-4F06-8AE6-AC546A6C3A44}"/>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97" name="Group 96">
            <a:extLst>
              <a:ext uri="{FF2B5EF4-FFF2-40B4-BE49-F238E27FC236}">
                <a16:creationId xmlns:a16="http://schemas.microsoft.com/office/drawing/2014/main" id="{3496FD69-5FB6-4E36-8C4C-E1435620D1D2}"/>
              </a:ext>
            </a:extLst>
          </p:cNvPr>
          <p:cNvGrpSpPr/>
          <p:nvPr/>
        </p:nvGrpSpPr>
        <p:grpSpPr>
          <a:xfrm>
            <a:off x="688345" y="5231389"/>
            <a:ext cx="616201" cy="474669"/>
            <a:chOff x="688345" y="5312797"/>
            <a:chExt cx="616201" cy="474669"/>
          </a:xfrm>
        </p:grpSpPr>
        <p:sp>
          <p:nvSpPr>
            <p:cNvPr id="98" name="Rectangle 97">
              <a:extLst>
                <a:ext uri="{FF2B5EF4-FFF2-40B4-BE49-F238E27FC236}">
                  <a16:creationId xmlns:a16="http://schemas.microsoft.com/office/drawing/2014/main" id="{C1BD928E-5327-4D3A-AC26-ADA1F8EC1DED}"/>
                </a:ext>
              </a:extLst>
            </p:cNvPr>
            <p:cNvSpPr/>
            <p:nvPr/>
          </p:nvSpPr>
          <p:spPr bwMode="auto">
            <a:xfrm>
              <a:off x="688345" y="5312797"/>
              <a:ext cx="227991" cy="4746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977BB6D-9BEE-4404-A764-B527F91F2858}"/>
                </a:ext>
              </a:extLst>
            </p:cNvPr>
            <p:cNvSpPr/>
            <p:nvPr/>
          </p:nvSpPr>
          <p:spPr bwMode="auto">
            <a:xfrm>
              <a:off x="942003" y="5432398"/>
              <a:ext cx="227991" cy="3550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5D44C461-3634-4C37-8DE5-A6E571903A1D}"/>
                </a:ext>
              </a:extLst>
            </p:cNvPr>
            <p:cNvSpPr/>
            <p:nvPr/>
          </p:nvSpPr>
          <p:spPr bwMode="auto">
            <a:xfrm>
              <a:off x="1194911" y="5552000"/>
              <a:ext cx="109635" cy="2354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2F2632D-4E3B-4135-A8DD-F2B1228D56AA}"/>
                </a:ext>
              </a:extLst>
            </p:cNvPr>
            <p:cNvSpPr/>
            <p:nvPr/>
          </p:nvSpPr>
          <p:spPr bwMode="auto">
            <a:xfrm>
              <a:off x="776177"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4723C80F-047D-4D79-96BD-1A2889AB9B51}"/>
                </a:ext>
              </a:extLst>
            </p:cNvPr>
            <p:cNvSpPr/>
            <p:nvPr/>
          </p:nvSpPr>
          <p:spPr bwMode="auto">
            <a:xfrm>
              <a:off x="1029835"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96E54AAE-59D3-40AB-9393-CF8012E09978}"/>
                </a:ext>
              </a:extLst>
            </p:cNvPr>
            <p:cNvSpPr/>
            <p:nvPr/>
          </p:nvSpPr>
          <p:spPr bwMode="auto">
            <a:xfrm>
              <a:off x="1223565" y="5736371"/>
              <a:ext cx="52326" cy="51095"/>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6869FA71-8DD5-444C-82DD-73C4457B900F}"/>
              </a:ext>
            </a:extLst>
          </p:cNvPr>
          <p:cNvGrpSpPr/>
          <p:nvPr/>
        </p:nvGrpSpPr>
        <p:grpSpPr>
          <a:xfrm>
            <a:off x="10855770" y="5335073"/>
            <a:ext cx="734317" cy="350864"/>
            <a:chOff x="10855770" y="5416481"/>
            <a:chExt cx="734317" cy="350864"/>
          </a:xfrm>
        </p:grpSpPr>
        <p:sp>
          <p:nvSpPr>
            <p:cNvPr id="109" name="Freeform: Shape 27">
              <a:extLst>
                <a:ext uri="{FF2B5EF4-FFF2-40B4-BE49-F238E27FC236}">
                  <a16:creationId xmlns:a16="http://schemas.microsoft.com/office/drawing/2014/main" id="{F86C73EC-668F-451D-B70F-B7CAC7270E61}"/>
                </a:ext>
              </a:extLst>
            </p:cNvPr>
            <p:cNvSpPr/>
            <p:nvPr/>
          </p:nvSpPr>
          <p:spPr bwMode="auto">
            <a:xfrm flipV="1">
              <a:off x="10855770" y="5485030"/>
              <a:ext cx="306865" cy="16916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Shape 27">
              <a:extLst>
                <a:ext uri="{FF2B5EF4-FFF2-40B4-BE49-F238E27FC236}">
                  <a16:creationId xmlns:a16="http://schemas.microsoft.com/office/drawing/2014/main" id="{A946B019-9393-4191-A5C7-215B1A71BA1A}"/>
                </a:ext>
              </a:extLst>
            </p:cNvPr>
            <p:cNvSpPr/>
            <p:nvPr/>
          </p:nvSpPr>
          <p:spPr bwMode="auto">
            <a:xfrm flipV="1">
              <a:off x="10953601" y="5416481"/>
              <a:ext cx="636486" cy="3508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7"/>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F9DEAAC-0EC6-4125-BE76-A3BE168342C5}"/>
              </a:ext>
            </a:extLst>
          </p:cNvPr>
          <p:cNvGrpSpPr/>
          <p:nvPr/>
        </p:nvGrpSpPr>
        <p:grpSpPr>
          <a:xfrm>
            <a:off x="10344000" y="2344753"/>
            <a:ext cx="1060593" cy="796655"/>
            <a:chOff x="10344000" y="2383698"/>
            <a:chExt cx="1060593" cy="796655"/>
          </a:xfrm>
        </p:grpSpPr>
        <p:grpSp>
          <p:nvGrpSpPr>
            <p:cNvPr id="10" name="Group 9">
              <a:extLst>
                <a:ext uri="{FF2B5EF4-FFF2-40B4-BE49-F238E27FC236}">
                  <a16:creationId xmlns:a16="http://schemas.microsoft.com/office/drawing/2014/main" id="{D1A9E7E2-01EB-4F92-A6D1-D23BED695501}"/>
                </a:ext>
              </a:extLst>
            </p:cNvPr>
            <p:cNvGrpSpPr/>
            <p:nvPr/>
          </p:nvGrpSpPr>
          <p:grpSpPr>
            <a:xfrm>
              <a:off x="10344000" y="2383698"/>
              <a:ext cx="1060593" cy="796655"/>
              <a:chOff x="10344000" y="2383698"/>
              <a:chExt cx="1060593" cy="796655"/>
            </a:xfrm>
          </p:grpSpPr>
          <p:grpSp>
            <p:nvGrpSpPr>
              <p:cNvPr id="100" name="Group 99">
                <a:extLst>
                  <a:ext uri="{FF2B5EF4-FFF2-40B4-BE49-F238E27FC236}">
                    <a16:creationId xmlns:a16="http://schemas.microsoft.com/office/drawing/2014/main" id="{C17D9E05-FDD8-43C3-B272-7B54EAE6EFDE}"/>
                  </a:ext>
                </a:extLst>
              </p:cNvPr>
              <p:cNvGrpSpPr/>
              <p:nvPr/>
            </p:nvGrpSpPr>
            <p:grpSpPr>
              <a:xfrm flipH="1">
                <a:off x="10344000" y="2383698"/>
                <a:ext cx="1060593" cy="796655"/>
                <a:chOff x="2107244" y="1575257"/>
                <a:chExt cx="310993" cy="528825"/>
              </a:xfrm>
              <a:noFill/>
            </p:grpSpPr>
            <p:sp>
              <p:nvSpPr>
                <p:cNvPr id="103" name="Rectangle 9">
                  <a:extLst>
                    <a:ext uri="{FF2B5EF4-FFF2-40B4-BE49-F238E27FC236}">
                      <a16:creationId xmlns:a16="http://schemas.microsoft.com/office/drawing/2014/main" id="{3DB95FB9-8DBB-40F3-A621-04ECAE0E45FF}"/>
                    </a:ext>
                  </a:extLst>
                </p:cNvPr>
                <p:cNvSpPr>
                  <a:spLocks noChangeArrowheads="1"/>
                </p:cNvSpPr>
                <p:nvPr/>
              </p:nvSpPr>
              <p:spPr bwMode="auto">
                <a:xfrm>
                  <a:off x="2107244" y="1575257"/>
                  <a:ext cx="310993" cy="52882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7" name="Line 10">
                  <a:extLst>
                    <a:ext uri="{FF2B5EF4-FFF2-40B4-BE49-F238E27FC236}">
                      <a16:creationId xmlns:a16="http://schemas.microsoft.com/office/drawing/2014/main" id="{F4B52871-FD44-4AAE-B460-ACEFDE109521}"/>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02" name="Oval 101">
                <a:extLst>
                  <a:ext uri="{FF2B5EF4-FFF2-40B4-BE49-F238E27FC236}">
                    <a16:creationId xmlns:a16="http://schemas.microsoft.com/office/drawing/2014/main" id="{9DEB608F-1FC9-4E11-BEBF-53D214FFDF32}"/>
                  </a:ext>
                </a:extLst>
              </p:cNvPr>
              <p:cNvSpPr/>
              <p:nvPr/>
            </p:nvSpPr>
            <p:spPr bwMode="auto">
              <a:xfrm flipH="1">
                <a:off x="11334873" y="2419087"/>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6" name="Freeform 271">
              <a:extLst>
                <a:ext uri="{FF2B5EF4-FFF2-40B4-BE49-F238E27FC236}">
                  <a16:creationId xmlns:a16="http://schemas.microsoft.com/office/drawing/2014/main" id="{A0BE0549-6929-4E08-BE8C-44AEF987F9AE}"/>
                </a:ext>
              </a:extLst>
            </p:cNvPr>
            <p:cNvSpPr/>
            <p:nvPr/>
          </p:nvSpPr>
          <p:spPr>
            <a:xfrm>
              <a:off x="11018423" y="2867972"/>
              <a:ext cx="307537" cy="2321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50E6FF"/>
            </a:solidFill>
            <a:ln w="342900" cap="sq" cmpd="sng" algn="ctr">
              <a:noFill/>
              <a:prstDash val="solid"/>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573165C-DA5C-43CE-9309-1F9382B79247}"/>
                </a:ext>
              </a:extLst>
            </p:cNvPr>
            <p:cNvGrpSpPr/>
            <p:nvPr/>
          </p:nvGrpSpPr>
          <p:grpSpPr>
            <a:xfrm>
              <a:off x="10422125" y="2604849"/>
              <a:ext cx="518882" cy="484094"/>
              <a:chOff x="10422125" y="2604849"/>
              <a:chExt cx="518882" cy="484094"/>
            </a:xfrm>
          </p:grpSpPr>
          <p:sp>
            <p:nvSpPr>
              <p:cNvPr id="118" name="Freeform 57">
                <a:extLst>
                  <a:ext uri="{FF2B5EF4-FFF2-40B4-BE49-F238E27FC236}">
                    <a16:creationId xmlns:a16="http://schemas.microsoft.com/office/drawing/2014/main" id="{77B1B72C-E657-4122-94FE-D6575F762329}"/>
                  </a:ext>
                </a:extLst>
              </p:cNvPr>
              <p:cNvSpPr>
                <a:spLocks noChangeArrowheads="1"/>
              </p:cNvSpPr>
              <p:nvPr/>
            </p:nvSpPr>
            <p:spPr bwMode="auto">
              <a:xfrm>
                <a:off x="10650863" y="2836586"/>
                <a:ext cx="61404" cy="60217"/>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6" name="Freeform 59">
                <a:extLst>
                  <a:ext uri="{FF2B5EF4-FFF2-40B4-BE49-F238E27FC236}">
                    <a16:creationId xmlns:a16="http://schemas.microsoft.com/office/drawing/2014/main" id="{6DB8A2E9-B99F-492F-8A0D-3204BF911211}"/>
                  </a:ext>
                </a:extLst>
              </p:cNvPr>
              <p:cNvSpPr>
                <a:spLocks noChangeArrowheads="1"/>
              </p:cNvSpPr>
              <p:nvPr/>
            </p:nvSpPr>
            <p:spPr bwMode="auto">
              <a:xfrm>
                <a:off x="10422125" y="302872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7" name="Freeform 60">
                <a:extLst>
                  <a:ext uri="{FF2B5EF4-FFF2-40B4-BE49-F238E27FC236}">
                    <a16:creationId xmlns:a16="http://schemas.microsoft.com/office/drawing/2014/main" id="{2135526B-2B56-413A-8844-102E6B462CAD}"/>
                  </a:ext>
                </a:extLst>
              </p:cNvPr>
              <p:cNvSpPr>
                <a:spLocks noChangeArrowheads="1"/>
              </p:cNvSpPr>
              <p:nvPr/>
            </p:nvSpPr>
            <p:spPr bwMode="auto">
              <a:xfrm>
                <a:off x="10536494" y="2732190"/>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8" name="Freeform 61">
                <a:extLst>
                  <a:ext uri="{FF2B5EF4-FFF2-40B4-BE49-F238E27FC236}">
                    <a16:creationId xmlns:a16="http://schemas.microsoft.com/office/drawing/2014/main" id="{87BE79D2-FE92-4AF4-83ED-16589E637F18}"/>
                  </a:ext>
                </a:extLst>
              </p:cNvPr>
              <p:cNvSpPr>
                <a:spLocks noChangeArrowheads="1"/>
              </p:cNvSpPr>
              <p:nvPr/>
            </p:nvSpPr>
            <p:spPr bwMode="auto">
              <a:xfrm>
                <a:off x="10765232" y="260484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FB726280-6726-4690-9EFA-8DD738982B2C}"/>
                  </a:ext>
                </a:extLst>
              </p:cNvPr>
              <p:cNvSpPr>
                <a:spLocks noChangeArrowheads="1"/>
              </p:cNvSpPr>
              <p:nvPr/>
            </p:nvSpPr>
            <p:spPr bwMode="auto">
              <a:xfrm>
                <a:off x="10879603" y="2736125"/>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5" name="Freeform: Shape 4">
                <a:extLst>
                  <a:ext uri="{FF2B5EF4-FFF2-40B4-BE49-F238E27FC236}">
                    <a16:creationId xmlns:a16="http://schemas.microsoft.com/office/drawing/2014/main" id="{3704FFD0-1AEB-4218-992E-2E252A47E125}"/>
                  </a:ext>
                </a:extLst>
              </p:cNvPr>
              <p:cNvSpPr/>
              <p:nvPr/>
            </p:nvSpPr>
            <p:spPr bwMode="auto">
              <a:xfrm>
                <a:off x="10451646" y="2629812"/>
                <a:ext cx="461283" cy="432707"/>
              </a:xfrm>
              <a:custGeom>
                <a:avLst/>
                <a:gdLst>
                  <a:gd name="connsiteX0" fmla="*/ 0 w 461283"/>
                  <a:gd name="connsiteY0" fmla="*/ 432707 h 432707"/>
                  <a:gd name="connsiteX1" fmla="*/ 112940 w 461283"/>
                  <a:gd name="connsiteY1" fmla="*/ 130629 h 432707"/>
                  <a:gd name="connsiteX2" fmla="*/ 229961 w 461283"/>
                  <a:gd name="connsiteY2" fmla="*/ 238125 h 432707"/>
                  <a:gd name="connsiteX3" fmla="*/ 345622 w 461283"/>
                  <a:gd name="connsiteY3" fmla="*/ 0 h 432707"/>
                  <a:gd name="connsiteX4" fmla="*/ 461283 w 461283"/>
                  <a:gd name="connsiteY4" fmla="*/ 140154 h 432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283" h="432707">
                    <a:moveTo>
                      <a:pt x="0" y="432707"/>
                    </a:moveTo>
                    <a:lnTo>
                      <a:pt x="112940" y="130629"/>
                    </a:lnTo>
                    <a:lnTo>
                      <a:pt x="229961" y="238125"/>
                    </a:lnTo>
                    <a:lnTo>
                      <a:pt x="345622" y="0"/>
                    </a:lnTo>
                    <a:lnTo>
                      <a:pt x="461283" y="140154"/>
                    </a:lnTo>
                  </a:path>
                </a:pathLst>
              </a:cu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mn-ea"/>
                  <a:cs typeface="Arial" charset="0"/>
                </a:endParaRPr>
              </a:p>
            </p:txBody>
          </p:sp>
        </p:grpSp>
        <p:grpSp>
          <p:nvGrpSpPr>
            <p:cNvPr id="15" name="Group 14">
              <a:extLst>
                <a:ext uri="{FF2B5EF4-FFF2-40B4-BE49-F238E27FC236}">
                  <a16:creationId xmlns:a16="http://schemas.microsoft.com/office/drawing/2014/main" id="{BB977719-F1B2-4A9D-8F17-7D106DE6D1F1}"/>
                </a:ext>
              </a:extLst>
            </p:cNvPr>
            <p:cNvGrpSpPr/>
            <p:nvPr/>
          </p:nvGrpSpPr>
          <p:grpSpPr>
            <a:xfrm>
              <a:off x="11047639" y="2626773"/>
              <a:ext cx="255815" cy="141476"/>
              <a:chOff x="11047639" y="2519725"/>
              <a:chExt cx="255815" cy="141476"/>
            </a:xfrm>
          </p:grpSpPr>
          <p:cxnSp>
            <p:nvCxnSpPr>
              <p:cNvPr id="7" name="Straight Connector 6">
                <a:extLst>
                  <a:ext uri="{FF2B5EF4-FFF2-40B4-BE49-F238E27FC236}">
                    <a16:creationId xmlns:a16="http://schemas.microsoft.com/office/drawing/2014/main" id="{E375684E-9667-4CC8-B757-EC726C2D5EAD}"/>
                  </a:ext>
                </a:extLst>
              </p:cNvPr>
              <p:cNvCxnSpPr/>
              <p:nvPr/>
            </p:nvCxnSpPr>
            <p:spPr>
              <a:xfrm>
                <a:off x="11047639" y="2519725"/>
                <a:ext cx="255815"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49" name="Straight Connector 148">
                <a:extLst>
                  <a:ext uri="{FF2B5EF4-FFF2-40B4-BE49-F238E27FC236}">
                    <a16:creationId xmlns:a16="http://schemas.microsoft.com/office/drawing/2014/main" id="{90B3C32E-F045-484D-8309-4FEBFFB75DBA}"/>
                  </a:ext>
                </a:extLst>
              </p:cNvPr>
              <p:cNvCxnSpPr>
                <a:cxnSpLocks/>
              </p:cNvCxnSpPr>
              <p:nvPr/>
            </p:nvCxnSpPr>
            <p:spPr>
              <a:xfrm>
                <a:off x="11047639" y="2590463"/>
                <a:ext cx="177052"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50" name="Straight Connector 149">
                <a:extLst>
                  <a:ext uri="{FF2B5EF4-FFF2-40B4-BE49-F238E27FC236}">
                    <a16:creationId xmlns:a16="http://schemas.microsoft.com/office/drawing/2014/main" id="{07068D9A-6DB5-4FFE-AA5D-834AE74A8E2E}"/>
                  </a:ext>
                </a:extLst>
              </p:cNvPr>
              <p:cNvCxnSpPr>
                <a:cxnSpLocks/>
              </p:cNvCxnSpPr>
              <p:nvPr/>
            </p:nvCxnSpPr>
            <p:spPr>
              <a:xfrm>
                <a:off x="11047639" y="2661201"/>
                <a:ext cx="227240"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grpSp>
      <p:sp>
        <p:nvSpPr>
          <p:cNvPr id="6" name="TextBox 5">
            <a:extLst>
              <a:ext uri="{FF2B5EF4-FFF2-40B4-BE49-F238E27FC236}">
                <a16:creationId xmlns:a16="http://schemas.microsoft.com/office/drawing/2014/main" id="{27D2C3AE-BA37-45FD-9310-2CE10D9CA79A}"/>
              </a:ext>
            </a:extLst>
          </p:cNvPr>
          <p:cNvSpPr txBox="1"/>
          <p:nvPr/>
        </p:nvSpPr>
        <p:spPr>
          <a:xfrm>
            <a:off x="7780882" y="2227990"/>
            <a:ext cx="245580" cy="189283"/>
          </a:xfrm>
          <a:prstGeom prst="rect">
            <a:avLst/>
          </a:prstGeom>
          <a:noFill/>
        </p:spPr>
        <p:txBody>
          <a:bodyPr wrap="none" lIns="91440" tIns="45720" rIns="9144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p:txBody>
      </p:sp>
      <p:grpSp>
        <p:nvGrpSpPr>
          <p:cNvPr id="12" name="Group 11">
            <a:extLst>
              <a:ext uri="{FF2B5EF4-FFF2-40B4-BE49-F238E27FC236}">
                <a16:creationId xmlns:a16="http://schemas.microsoft.com/office/drawing/2014/main" id="{C5AFFDEC-F0ED-354C-9DCB-B03697DFAE74}"/>
              </a:ext>
            </a:extLst>
          </p:cNvPr>
          <p:cNvGrpSpPr/>
          <p:nvPr/>
        </p:nvGrpSpPr>
        <p:grpSpPr>
          <a:xfrm>
            <a:off x="3017979" y="2306163"/>
            <a:ext cx="1394639" cy="1068220"/>
            <a:chOff x="2744830" y="2470775"/>
            <a:chExt cx="1394639" cy="106822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3680783" y="2481531"/>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3602992" y="3191175"/>
              <a:ext cx="536477" cy="34519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pic>
          <p:nvPicPr>
            <p:cNvPr id="125" name="Picture 124"/>
            <p:cNvPicPr>
              <a:picLocks noChangeAspect="1"/>
            </p:cNvPicPr>
            <p:nvPr/>
          </p:nvPicPr>
          <p:blipFill>
            <a:blip r:embed="rId8"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2859718" y="2470775"/>
              <a:ext cx="342098" cy="407260"/>
            </a:xfrm>
            <a:prstGeom prst="rect">
              <a:avLst/>
            </a:prstGeom>
          </p:spPr>
        </p:pic>
        <p:pic>
          <p:nvPicPr>
            <p:cNvPr id="91" name="Picture 90">
              <a:extLst>
                <a:ext uri="{FF2B5EF4-FFF2-40B4-BE49-F238E27FC236}">
                  <a16:creationId xmlns:a16="http://schemas.microsoft.com/office/drawing/2014/main" id="{B2F0E3C1-B2AF-D34F-B31B-4ADCFAACA9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830" y="3114460"/>
              <a:ext cx="571875" cy="424535"/>
            </a:xfrm>
            <a:prstGeom prst="rect">
              <a:avLst/>
            </a:prstGeom>
          </p:spPr>
        </p:pic>
      </p:grpSp>
      <p:grpSp>
        <p:nvGrpSpPr>
          <p:cNvPr id="23" name="Group 22">
            <a:extLst>
              <a:ext uri="{FF2B5EF4-FFF2-40B4-BE49-F238E27FC236}">
                <a16:creationId xmlns:a16="http://schemas.microsoft.com/office/drawing/2014/main" id="{C3DDBB9D-A850-B843-8406-55B9C3C5F4A8}"/>
              </a:ext>
            </a:extLst>
          </p:cNvPr>
          <p:cNvGrpSpPr/>
          <p:nvPr/>
        </p:nvGrpSpPr>
        <p:grpSpPr>
          <a:xfrm>
            <a:off x="864482" y="2442332"/>
            <a:ext cx="958356" cy="847805"/>
            <a:chOff x="828502" y="2442332"/>
            <a:chExt cx="958356" cy="847805"/>
          </a:xfrm>
        </p:grpSpPr>
        <p:sp>
          <p:nvSpPr>
            <p:cNvPr id="129" name="Rectangle 9">
              <a:extLst>
                <a:ext uri="{FF2B5EF4-FFF2-40B4-BE49-F238E27FC236}">
                  <a16:creationId xmlns:a16="http://schemas.microsoft.com/office/drawing/2014/main" id="{28B5FBD7-C487-E044-8E92-0169C0776E07}"/>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E1FC0475-ED95-3D40-BF7F-0A241F9DAFE0}"/>
                </a:ext>
              </a:extLst>
            </p:cNvPr>
            <p:cNvGrpSpPr/>
            <p:nvPr/>
          </p:nvGrpSpPr>
          <p:grpSpPr>
            <a:xfrm>
              <a:off x="987946" y="2622583"/>
              <a:ext cx="639468" cy="329711"/>
              <a:chOff x="945805" y="2588594"/>
              <a:chExt cx="721336" cy="371920"/>
            </a:xfrm>
          </p:grpSpPr>
          <p:sp>
            <p:nvSpPr>
              <p:cNvPr id="113" name="Freeform: Shape 175">
                <a:extLst>
                  <a:ext uri="{FF2B5EF4-FFF2-40B4-BE49-F238E27FC236}">
                    <a16:creationId xmlns:a16="http://schemas.microsoft.com/office/drawing/2014/main" id="{9787513D-1027-2144-959A-F95802C99D89}"/>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C18EE13A-5153-4548-BE6D-96616EEB3F12}"/>
                  </a:ext>
                </a:extLst>
              </p:cNvPr>
              <p:cNvGrpSpPr/>
              <p:nvPr/>
            </p:nvGrpSpPr>
            <p:grpSpPr>
              <a:xfrm>
                <a:off x="945805" y="2810039"/>
                <a:ext cx="721336" cy="150475"/>
                <a:chOff x="945805" y="2810039"/>
                <a:chExt cx="721336" cy="150475"/>
              </a:xfrm>
            </p:grpSpPr>
            <p:sp>
              <p:nvSpPr>
                <p:cNvPr id="142" name="Freeform: Shape 171">
                  <a:extLst>
                    <a:ext uri="{FF2B5EF4-FFF2-40B4-BE49-F238E27FC236}">
                      <a16:creationId xmlns:a16="http://schemas.microsoft.com/office/drawing/2014/main" id="{979AD3DF-28AE-624D-80B2-EAB2DF896F1C}"/>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3" name="Freeform: Shape 173">
                  <a:extLst>
                    <a:ext uri="{FF2B5EF4-FFF2-40B4-BE49-F238E27FC236}">
                      <a16:creationId xmlns:a16="http://schemas.microsoft.com/office/drawing/2014/main" id="{F1516E1A-3747-7045-BA79-9BD30B198710}"/>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Shape 173">
                  <a:extLst>
                    <a:ext uri="{FF2B5EF4-FFF2-40B4-BE49-F238E27FC236}">
                      <a16:creationId xmlns:a16="http://schemas.microsoft.com/office/drawing/2014/main" id="{5F02DADA-1CEF-A64D-9349-30D696D76001}"/>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34" name="Picture 133">
              <a:extLst>
                <a:ext uri="{FF2B5EF4-FFF2-40B4-BE49-F238E27FC236}">
                  <a16:creationId xmlns:a16="http://schemas.microsoft.com/office/drawing/2014/main" id="{4FD7AD01-B904-8943-8B3C-C41FC0F5A840}"/>
                </a:ext>
              </a:extLst>
            </p:cNvPr>
            <p:cNvPicPr>
              <a:picLocks noChangeAspect="1"/>
            </p:cNvPicPr>
            <p:nvPr/>
          </p:nvPicPr>
          <p:blipFill rotWithShape="1">
            <a:blip r:embed="rId10">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82" name="Title 2">
            <a:extLst>
              <a:ext uri="{FF2B5EF4-FFF2-40B4-BE49-F238E27FC236}">
                <a16:creationId xmlns:a16="http://schemas.microsoft.com/office/drawing/2014/main" id="{FD301F77-A080-6040-9B76-805F66A5541E}"/>
              </a:ext>
            </a:extLst>
          </p:cNvPr>
          <p:cNvSpPr txBox="1">
            <a:spLocks/>
          </p:cNvSpPr>
          <p:nvPr/>
        </p:nvSpPr>
        <p:spPr>
          <a:xfrm>
            <a:off x="588263" y="948434"/>
            <a:ext cx="11117508" cy="22159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rPr>
              <a:t>Now with big data clusters</a:t>
            </a:r>
            <a:endParaRPr kumimoji="0" lang="en-US" sz="18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endParaRPr>
          </a:p>
        </p:txBody>
      </p:sp>
      <p:sp>
        <p:nvSpPr>
          <p:cNvPr id="3" name="Title 2">
            <a:extLst>
              <a:ext uri="{FF2B5EF4-FFF2-40B4-BE49-F238E27FC236}">
                <a16:creationId xmlns:a16="http://schemas.microsoft.com/office/drawing/2014/main" id="{71E3AAFD-9E0F-416E-A918-A08D233B17E3}"/>
              </a:ext>
            </a:extLst>
          </p:cNvPr>
          <p:cNvSpPr>
            <a:spLocks noGrp="1"/>
          </p:cNvSpPr>
          <p:nvPr>
            <p:ph type="title"/>
          </p:nvPr>
        </p:nvSpPr>
        <p:spPr/>
        <p:txBody>
          <a:bodyPr/>
          <a:lstStyle/>
          <a:p>
            <a:r>
              <a:rPr lang="en-US" dirty="0">
                <a:solidFill>
                  <a:schemeClr val="accent1"/>
                </a:solidFill>
              </a:rPr>
              <a:t>Modernize on premises </a:t>
            </a:r>
            <a:r>
              <a:rPr lang="en-US" dirty="0"/>
              <a:t>with SQL Server 2019</a:t>
            </a:r>
          </a:p>
        </p:txBody>
      </p:sp>
      <p:sp>
        <p:nvSpPr>
          <p:cNvPr id="9" name="Rectangle 8">
            <a:extLst>
              <a:ext uri="{FF2B5EF4-FFF2-40B4-BE49-F238E27FC236}">
                <a16:creationId xmlns:a16="http://schemas.microsoft.com/office/drawing/2014/main" id="{9372815A-5740-8146-9FFF-04BD50F8CD8E}"/>
              </a:ext>
            </a:extLst>
          </p:cNvPr>
          <p:cNvSpPr/>
          <p:nvPr/>
        </p:nvSpPr>
        <p:spPr>
          <a:xfrm>
            <a:off x="1138572" y="2322756"/>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367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A1E4-3841-4AB3-8768-F519FE320F79}"/>
              </a:ext>
            </a:extLst>
          </p:cNvPr>
          <p:cNvSpPr>
            <a:spLocks noGrp="1"/>
          </p:cNvSpPr>
          <p:nvPr>
            <p:ph type="title"/>
          </p:nvPr>
        </p:nvSpPr>
        <p:spPr/>
        <p:txBody>
          <a:bodyPr/>
          <a:lstStyle/>
          <a:p>
            <a:r>
              <a:rPr lang="en-US" dirty="0"/>
              <a:t>Query Tuning Assistant (QTA)</a:t>
            </a:r>
          </a:p>
        </p:txBody>
      </p:sp>
      <p:sp>
        <p:nvSpPr>
          <p:cNvPr id="6" name="Text Placeholder 5">
            <a:extLst>
              <a:ext uri="{FF2B5EF4-FFF2-40B4-BE49-F238E27FC236}">
                <a16:creationId xmlns:a16="http://schemas.microsoft.com/office/drawing/2014/main" id="{158A742F-767B-45BB-B58B-B4BD1322EED1}"/>
              </a:ext>
            </a:extLst>
          </p:cNvPr>
          <p:cNvSpPr>
            <a:spLocks noGrp="1"/>
          </p:cNvSpPr>
          <p:nvPr>
            <p:ph type="body" sz="quarter" idx="10"/>
          </p:nvPr>
        </p:nvSpPr>
        <p:spPr/>
        <p:txBody>
          <a:bodyPr/>
          <a:lstStyle/>
          <a:p>
            <a:r>
              <a:rPr lang="en-US" dirty="0"/>
              <a:t>Crucial to uncover query performance issues with the workload, as it runs on the newer version of SQL Server Database Engine.</a:t>
            </a:r>
          </a:p>
          <a:p>
            <a:r>
              <a:rPr lang="en-US" dirty="0"/>
              <a:t>User needs to follow documented DB Compatibility upgrade procedure, QTA will guide through steps.</a:t>
            </a:r>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4" descr="https://docs.microsoft.com/en-us/sql/relational-databases/performance/query-store-usage-scenarios#CEUpgrade">
            <a:extLst>
              <a:ext uri="{FF2B5EF4-FFF2-40B4-BE49-F238E27FC236}">
                <a16:creationId xmlns:a16="http://schemas.microsoft.com/office/drawing/2014/main" id="{58C4AB96-8AB4-44D3-B064-B51DFEFBF408}"/>
              </a:ext>
            </a:extLst>
          </p:cNvPr>
          <p:cNvPicPr>
            <a:picLocks noChangeAspect="1"/>
          </p:cNvPicPr>
          <p:nvPr/>
        </p:nvPicPr>
        <p:blipFill>
          <a:blip r:embed="rId3"/>
          <a:stretch>
            <a:fillRect/>
          </a:stretch>
        </p:blipFill>
        <p:spPr>
          <a:xfrm>
            <a:off x="813066" y="3019608"/>
            <a:ext cx="9652195" cy="3198312"/>
          </a:xfrm>
          <a:prstGeom prst="rect">
            <a:avLst/>
          </a:prstGeom>
        </p:spPr>
      </p:pic>
      <p:sp>
        <p:nvSpPr>
          <p:cNvPr id="7" name="Multiplication Sign 6">
            <a:extLst>
              <a:ext uri="{FF2B5EF4-FFF2-40B4-BE49-F238E27FC236}">
                <a16:creationId xmlns:a16="http://schemas.microsoft.com/office/drawing/2014/main" id="{4A09B679-BAD0-43A1-9F9A-A8679960F657}"/>
              </a:ext>
            </a:extLst>
          </p:cNvPr>
          <p:cNvSpPr/>
          <p:nvPr/>
        </p:nvSpPr>
        <p:spPr>
          <a:xfrm>
            <a:off x="8679183" y="3278931"/>
            <a:ext cx="1901699" cy="2593226"/>
          </a:xfrm>
          <a:prstGeom prst="mathMultiply">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766" dirty="0"/>
          </a:p>
        </p:txBody>
      </p:sp>
    </p:spTree>
    <p:extLst>
      <p:ext uri="{BB962C8B-B14F-4D97-AF65-F5344CB8AC3E}">
        <p14:creationId xmlns:p14="http://schemas.microsoft.com/office/powerpoint/2010/main" val="4002908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10 Activity: Query Tuning Assistant (QTA)</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Using Query Tuning Assistant for Post Migration</a:t>
            </a:r>
          </a:p>
        </p:txBody>
      </p:sp>
    </p:spTree>
    <p:extLst>
      <p:ext uri="{BB962C8B-B14F-4D97-AF65-F5344CB8AC3E}">
        <p14:creationId xmlns:p14="http://schemas.microsoft.com/office/powerpoint/2010/main" val="376437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57D2-FC66-4021-9648-46041AF46482}"/>
              </a:ext>
            </a:extLst>
          </p:cNvPr>
          <p:cNvSpPr>
            <a:spLocks noGrp="1"/>
          </p:cNvSpPr>
          <p:nvPr>
            <p:ph type="title"/>
          </p:nvPr>
        </p:nvSpPr>
        <p:spPr/>
        <p:txBody>
          <a:bodyPr/>
          <a:lstStyle/>
          <a:p>
            <a:r>
              <a:rPr lang="en-US" dirty="0"/>
              <a:t>What are your next steps?</a:t>
            </a:r>
          </a:p>
        </p:txBody>
      </p:sp>
      <p:sp>
        <p:nvSpPr>
          <p:cNvPr id="3" name="Text Placeholder 2">
            <a:extLst>
              <a:ext uri="{FF2B5EF4-FFF2-40B4-BE49-F238E27FC236}">
                <a16:creationId xmlns:a16="http://schemas.microsoft.com/office/drawing/2014/main" id="{5229DD0A-AD1D-45C2-8341-C89FD6AC1770}"/>
              </a:ext>
            </a:extLst>
          </p:cNvPr>
          <p:cNvSpPr>
            <a:spLocks noGrp="1"/>
          </p:cNvSpPr>
          <p:nvPr>
            <p:ph type="body" sz="quarter" idx="10"/>
          </p:nvPr>
        </p:nvSpPr>
        <p:spPr>
          <a:xfrm>
            <a:off x="584200" y="1435497"/>
            <a:ext cx="11018520" cy="4847481"/>
          </a:xfrm>
        </p:spPr>
        <p:txBody>
          <a:bodyPr/>
          <a:lstStyle/>
          <a:p>
            <a:pPr marL="457200" indent="-457200">
              <a:buAutoNum type="arabicPeriod"/>
            </a:pPr>
            <a:r>
              <a:rPr lang="en-US" sz="2400" dirty="0"/>
              <a:t>Assess your SQL Server instances and databases</a:t>
            </a:r>
          </a:p>
          <a:p>
            <a:pPr marL="457200" indent="-457200">
              <a:buAutoNum type="arabicPeriod"/>
            </a:pPr>
            <a:r>
              <a:rPr lang="en-US" sz="2400" dirty="0"/>
              <a:t>Are you affected by EOS for SQL Server 2008 and/or SQL Server 2008 R2?</a:t>
            </a:r>
          </a:p>
          <a:p>
            <a:pPr marL="457200" indent="-457200">
              <a:buAutoNum type="arabicPeriod"/>
            </a:pPr>
            <a:r>
              <a:rPr lang="en-US" sz="2400" dirty="0"/>
              <a:t>Look at modernization choices</a:t>
            </a:r>
          </a:p>
          <a:p>
            <a:pPr marL="457200" indent="-457200">
              <a:buAutoNum type="arabicPeriod"/>
            </a:pPr>
            <a:r>
              <a:rPr lang="en-US" sz="2400" dirty="0"/>
              <a:t>Try out SQL Server 2017, SQL Server 2019, Linux, and Containers</a:t>
            </a:r>
          </a:p>
          <a:p>
            <a:pPr marL="457200" indent="-457200">
              <a:buAutoNum type="arabicPeriod"/>
            </a:pPr>
            <a:r>
              <a:rPr lang="en-US" sz="2400" dirty="0"/>
              <a:t>Do a Proof of Concept (POC)</a:t>
            </a:r>
          </a:p>
          <a:p>
            <a:pPr marL="457200" indent="-457200">
              <a:buAutoNum type="arabicPeriod"/>
            </a:pPr>
            <a:r>
              <a:rPr lang="en-US" sz="2400" dirty="0"/>
              <a:t>Build out a semester and year plan. Adjust each semester</a:t>
            </a:r>
          </a:p>
          <a:p>
            <a:pPr marL="457200" indent="-457200">
              <a:buAutoNum type="arabicPeriod"/>
            </a:pPr>
            <a:r>
              <a:rPr lang="en-US" sz="2400" dirty="0"/>
              <a:t>Discuss database compatibility certification with your developers or ISV</a:t>
            </a:r>
          </a:p>
          <a:p>
            <a:pPr marL="457200" indent="-457200">
              <a:buAutoNum type="arabicPeriod"/>
            </a:pPr>
            <a:r>
              <a:rPr lang="en-US" sz="2400" dirty="0"/>
              <a:t>What do you want to move to the cloud?</a:t>
            </a:r>
          </a:p>
          <a:p>
            <a:pPr marL="457200" indent="-457200">
              <a:buAutoNum type="arabicPeriod"/>
            </a:pPr>
            <a:r>
              <a:rPr lang="en-US" sz="2400" dirty="0"/>
              <a:t>Where are you biggest pain points?</a:t>
            </a:r>
          </a:p>
          <a:p>
            <a:pPr marL="457200" indent="-457200">
              <a:buAutoNum type="arabicPeriod"/>
            </a:pPr>
            <a:r>
              <a:rPr lang="en-US" sz="2400" dirty="0"/>
              <a:t>Modernize your skills</a:t>
            </a:r>
          </a:p>
        </p:txBody>
      </p:sp>
    </p:spTree>
    <p:extLst>
      <p:ext uri="{BB962C8B-B14F-4D97-AF65-F5344CB8AC3E}">
        <p14:creationId xmlns:p14="http://schemas.microsoft.com/office/powerpoint/2010/main" val="263403703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4" name="Group 343">
            <a:extLst>
              <a:ext uri="{FF2B5EF4-FFF2-40B4-BE49-F238E27FC236}">
                <a16:creationId xmlns:a16="http://schemas.microsoft.com/office/drawing/2014/main" id="{A9966F20-2A05-484E-87F2-C38CC452A1A2}"/>
              </a:ext>
            </a:extLst>
          </p:cNvPr>
          <p:cNvGrpSpPr/>
          <p:nvPr/>
        </p:nvGrpSpPr>
        <p:grpSpPr>
          <a:xfrm>
            <a:off x="8050423" y="3177956"/>
            <a:ext cx="2499878" cy="515447"/>
            <a:chOff x="3317221" y="8323753"/>
            <a:chExt cx="2499878" cy="515447"/>
          </a:xfrm>
        </p:grpSpPr>
        <p:sp>
          <p:nvSpPr>
            <p:cNvPr id="345" name="Freeform 344">
              <a:extLst>
                <a:ext uri="{FF2B5EF4-FFF2-40B4-BE49-F238E27FC236}">
                  <a16:creationId xmlns:a16="http://schemas.microsoft.com/office/drawing/2014/main" id="{FA1145D4-A9C2-7243-8601-36421F41B45A}"/>
                </a:ext>
              </a:extLst>
            </p:cNvPr>
            <p:cNvSpPr/>
            <p:nvPr/>
          </p:nvSpPr>
          <p:spPr bwMode="auto">
            <a:xfrm>
              <a:off x="3317221" y="8323753"/>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6" name="Freeform 345">
              <a:extLst>
                <a:ext uri="{FF2B5EF4-FFF2-40B4-BE49-F238E27FC236}">
                  <a16:creationId xmlns:a16="http://schemas.microsoft.com/office/drawing/2014/main" id="{95C49352-5B45-A04D-BED3-668C9FB630D7}"/>
                </a:ext>
              </a:extLst>
            </p:cNvPr>
            <p:cNvSpPr/>
            <p:nvPr/>
          </p:nvSpPr>
          <p:spPr bwMode="auto">
            <a:xfrm>
              <a:off x="3651203" y="8540432"/>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7976617" cy="555156"/>
          </a:xfrm>
        </p:spPr>
        <p:txBody>
          <a:bodyPr/>
          <a:lstStyle/>
          <a:p>
            <a:r>
              <a:rPr lang="en-US" dirty="0"/>
              <a:t>What’s Next for SQL Server?</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26236" y="1994877"/>
            <a:ext cx="7103601" cy="3098284"/>
          </a:xfrm>
        </p:spPr>
        <p:txBody>
          <a:bodyPr/>
          <a:lstStyle/>
          <a:p>
            <a:r>
              <a:rPr lang="en-US" sz="2800" dirty="0"/>
              <a:t>“Finish” SQL Server 2019</a:t>
            </a:r>
          </a:p>
          <a:p>
            <a:r>
              <a:rPr lang="en-US" sz="2800" dirty="0"/>
              <a:t>Continually integrate your feedback</a:t>
            </a:r>
          </a:p>
          <a:p>
            <a:pPr fontAlgn="base"/>
            <a:r>
              <a:rPr lang="en-US" sz="2800" dirty="0"/>
              <a:t>SQL Everywhere – Edge, OS, Containers, Clouds​, Blockchain</a:t>
            </a:r>
          </a:p>
          <a:p>
            <a:pPr fontAlgn="base"/>
            <a:r>
              <a:rPr lang="en-US" sz="2800" dirty="0"/>
              <a:t>Managed Data Platforms</a:t>
            </a:r>
          </a:p>
          <a:p>
            <a:pPr fontAlgn="base"/>
            <a:r>
              <a:rPr lang="en-US" sz="2800" dirty="0"/>
              <a:t>Something new and innovative</a:t>
            </a:r>
          </a:p>
        </p:txBody>
      </p:sp>
      <p:grpSp>
        <p:nvGrpSpPr>
          <p:cNvPr id="9" name="Group 8">
            <a:extLst>
              <a:ext uri="{FF2B5EF4-FFF2-40B4-BE49-F238E27FC236}">
                <a16:creationId xmlns:a16="http://schemas.microsoft.com/office/drawing/2014/main" id="{678EA0EB-4C97-3645-81A8-A777B85B0272}"/>
              </a:ext>
            </a:extLst>
          </p:cNvPr>
          <p:cNvGrpSpPr/>
          <p:nvPr/>
        </p:nvGrpSpPr>
        <p:grpSpPr>
          <a:xfrm>
            <a:off x="9034543" y="3238827"/>
            <a:ext cx="517414" cy="20409537"/>
            <a:chOff x="13693188" y="-6195484"/>
            <a:chExt cx="517414" cy="20409537"/>
          </a:xfrm>
        </p:grpSpPr>
        <p:grpSp>
          <p:nvGrpSpPr>
            <p:cNvPr id="7" name="Group 6">
              <a:extLst>
                <a:ext uri="{FF2B5EF4-FFF2-40B4-BE49-F238E27FC236}">
                  <a16:creationId xmlns:a16="http://schemas.microsoft.com/office/drawing/2014/main" id="{B54EEF12-2585-FD47-AFA8-C87771467793}"/>
                </a:ext>
              </a:extLst>
            </p:cNvPr>
            <p:cNvGrpSpPr/>
            <p:nvPr/>
          </p:nvGrpSpPr>
          <p:grpSpPr>
            <a:xfrm>
              <a:off x="13693188" y="4195426"/>
              <a:ext cx="517414" cy="10018627"/>
              <a:chOff x="9010351" y="7057068"/>
              <a:chExt cx="517414" cy="10018627"/>
            </a:xfrm>
          </p:grpSpPr>
          <p:sp>
            <p:nvSpPr>
              <p:cNvPr id="69" name="Freeform 292">
                <a:extLst>
                  <a:ext uri="{FF2B5EF4-FFF2-40B4-BE49-F238E27FC236}">
                    <a16:creationId xmlns:a16="http://schemas.microsoft.com/office/drawing/2014/main" id="{EF1F8D7E-6DD1-4566-9C74-0470CC161507}"/>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349">
                <a:extLst>
                  <a:ext uri="{FF2B5EF4-FFF2-40B4-BE49-F238E27FC236}">
                    <a16:creationId xmlns:a16="http://schemas.microsoft.com/office/drawing/2014/main" id="{75E47BC8-7D7E-45F2-86FD-B8E0C6007566}"/>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260">
                <a:extLst>
                  <a:ext uri="{FF2B5EF4-FFF2-40B4-BE49-F238E27FC236}">
                    <a16:creationId xmlns:a16="http://schemas.microsoft.com/office/drawing/2014/main" id="{32C8AC92-52CF-42DE-A036-F01C5DF57F92}"/>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43">
                <a:extLst>
                  <a:ext uri="{FF2B5EF4-FFF2-40B4-BE49-F238E27FC236}">
                    <a16:creationId xmlns:a16="http://schemas.microsoft.com/office/drawing/2014/main" id="{0E57FB76-2697-4C64-B7A6-0C5FE5FC6971}"/>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86">
                <a:extLst>
                  <a:ext uri="{FF2B5EF4-FFF2-40B4-BE49-F238E27FC236}">
                    <a16:creationId xmlns:a16="http://schemas.microsoft.com/office/drawing/2014/main" id="{09031849-E945-40FD-816C-43D3F2493A01}"/>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90">
                <a:extLst>
                  <a:ext uri="{FF2B5EF4-FFF2-40B4-BE49-F238E27FC236}">
                    <a16:creationId xmlns:a16="http://schemas.microsoft.com/office/drawing/2014/main" id="{988C6FF8-1ABB-492E-807A-6D270F0A2E8F}"/>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10">
                <a:extLst>
                  <a:ext uri="{FF2B5EF4-FFF2-40B4-BE49-F238E27FC236}">
                    <a16:creationId xmlns:a16="http://schemas.microsoft.com/office/drawing/2014/main" id="{2C354631-DA10-4302-9936-272F1FD0C1C7}"/>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38">
                <a:extLst>
                  <a:ext uri="{FF2B5EF4-FFF2-40B4-BE49-F238E27FC236}">
                    <a16:creationId xmlns:a16="http://schemas.microsoft.com/office/drawing/2014/main" id="{F1A00645-88F0-4230-9A5C-9563B0DB0891}"/>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143">
                <a:extLst>
                  <a:ext uri="{FF2B5EF4-FFF2-40B4-BE49-F238E27FC236}">
                    <a16:creationId xmlns:a16="http://schemas.microsoft.com/office/drawing/2014/main" id="{6B917B37-C2EB-4703-9E7C-961D89640662}"/>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64">
                <a:extLst>
                  <a:ext uri="{FF2B5EF4-FFF2-40B4-BE49-F238E27FC236}">
                    <a16:creationId xmlns:a16="http://schemas.microsoft.com/office/drawing/2014/main" id="{9556B4B3-1C70-45DB-81FF-7252A30CC3C4}"/>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67">
                <a:extLst>
                  <a:ext uri="{FF2B5EF4-FFF2-40B4-BE49-F238E27FC236}">
                    <a16:creationId xmlns:a16="http://schemas.microsoft.com/office/drawing/2014/main" id="{00EEC0C8-B5A5-453B-BD8F-3BC603310D0E}"/>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78">
                <a:extLst>
                  <a:ext uri="{FF2B5EF4-FFF2-40B4-BE49-F238E27FC236}">
                    <a16:creationId xmlns:a16="http://schemas.microsoft.com/office/drawing/2014/main" id="{D61DD9CE-9763-41D2-B58A-FB3DCA0B62BF}"/>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354">
                <a:extLst>
                  <a:ext uri="{FF2B5EF4-FFF2-40B4-BE49-F238E27FC236}">
                    <a16:creationId xmlns:a16="http://schemas.microsoft.com/office/drawing/2014/main" id="{53D2B437-BA2E-4384-AB81-CD8FE4AA790C}"/>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370">
                <a:extLst>
                  <a:ext uri="{FF2B5EF4-FFF2-40B4-BE49-F238E27FC236}">
                    <a16:creationId xmlns:a16="http://schemas.microsoft.com/office/drawing/2014/main" id="{A95AAAD0-9538-44D6-BBF0-AC5AED52A288}"/>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376">
                <a:extLst>
                  <a:ext uri="{FF2B5EF4-FFF2-40B4-BE49-F238E27FC236}">
                    <a16:creationId xmlns:a16="http://schemas.microsoft.com/office/drawing/2014/main" id="{080877BD-5084-49B8-8D9D-11C64C095CF7}"/>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6" name="Group 365">
              <a:extLst>
                <a:ext uri="{FF2B5EF4-FFF2-40B4-BE49-F238E27FC236}">
                  <a16:creationId xmlns:a16="http://schemas.microsoft.com/office/drawing/2014/main" id="{C3D8FCE7-BCF1-C842-8353-71A4D007A9AB}"/>
                </a:ext>
              </a:extLst>
            </p:cNvPr>
            <p:cNvGrpSpPr/>
            <p:nvPr/>
          </p:nvGrpSpPr>
          <p:grpSpPr>
            <a:xfrm>
              <a:off x="13693188" y="-6195484"/>
              <a:ext cx="517414" cy="10018627"/>
              <a:chOff x="9010351" y="7057068"/>
              <a:chExt cx="517414" cy="10018627"/>
            </a:xfrm>
          </p:grpSpPr>
          <p:sp>
            <p:nvSpPr>
              <p:cNvPr id="367" name="Freeform 292">
                <a:extLst>
                  <a:ext uri="{FF2B5EF4-FFF2-40B4-BE49-F238E27FC236}">
                    <a16:creationId xmlns:a16="http://schemas.microsoft.com/office/drawing/2014/main" id="{ADC11AEE-3CA8-EC43-B169-D8D8E107E0BC}"/>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9">
                <a:extLst>
                  <a:ext uri="{FF2B5EF4-FFF2-40B4-BE49-F238E27FC236}">
                    <a16:creationId xmlns:a16="http://schemas.microsoft.com/office/drawing/2014/main" id="{12AE987B-3361-C545-9DED-FCEF32BF8C4B}"/>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260">
                <a:extLst>
                  <a:ext uri="{FF2B5EF4-FFF2-40B4-BE49-F238E27FC236}">
                    <a16:creationId xmlns:a16="http://schemas.microsoft.com/office/drawing/2014/main" id="{CD096BFA-DDC1-134B-8282-3ABC76915A49}"/>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3">
                <a:extLst>
                  <a:ext uri="{FF2B5EF4-FFF2-40B4-BE49-F238E27FC236}">
                    <a16:creationId xmlns:a16="http://schemas.microsoft.com/office/drawing/2014/main" id="{56549E86-20C8-3D49-A72C-03AD15D3507F}"/>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86">
                <a:extLst>
                  <a:ext uri="{FF2B5EF4-FFF2-40B4-BE49-F238E27FC236}">
                    <a16:creationId xmlns:a16="http://schemas.microsoft.com/office/drawing/2014/main" id="{A97D6DB9-E6EB-D146-9D9F-430688070A23}"/>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90">
                <a:extLst>
                  <a:ext uri="{FF2B5EF4-FFF2-40B4-BE49-F238E27FC236}">
                    <a16:creationId xmlns:a16="http://schemas.microsoft.com/office/drawing/2014/main" id="{2B8E31AD-E832-3549-850F-473BFBCF0AEB}"/>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10">
                <a:extLst>
                  <a:ext uri="{FF2B5EF4-FFF2-40B4-BE49-F238E27FC236}">
                    <a16:creationId xmlns:a16="http://schemas.microsoft.com/office/drawing/2014/main" id="{B68227B9-4D22-5943-AE44-0A49938D8B71}"/>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38">
                <a:extLst>
                  <a:ext uri="{FF2B5EF4-FFF2-40B4-BE49-F238E27FC236}">
                    <a16:creationId xmlns:a16="http://schemas.microsoft.com/office/drawing/2014/main" id="{9EDC59DA-04E0-F74E-8078-4F12CB646BF0}"/>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43">
                <a:extLst>
                  <a:ext uri="{FF2B5EF4-FFF2-40B4-BE49-F238E27FC236}">
                    <a16:creationId xmlns:a16="http://schemas.microsoft.com/office/drawing/2014/main" id="{F23D2970-AD39-A340-80C9-38F4FE898FB7}"/>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264">
                <a:extLst>
                  <a:ext uri="{FF2B5EF4-FFF2-40B4-BE49-F238E27FC236}">
                    <a16:creationId xmlns:a16="http://schemas.microsoft.com/office/drawing/2014/main" id="{7CA5E058-8700-FE48-8A76-7333A69DCD72}"/>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267">
                <a:extLst>
                  <a:ext uri="{FF2B5EF4-FFF2-40B4-BE49-F238E27FC236}">
                    <a16:creationId xmlns:a16="http://schemas.microsoft.com/office/drawing/2014/main" id="{F698FE98-2223-1247-9166-3952BD0E37DD}"/>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278">
                <a:extLst>
                  <a:ext uri="{FF2B5EF4-FFF2-40B4-BE49-F238E27FC236}">
                    <a16:creationId xmlns:a16="http://schemas.microsoft.com/office/drawing/2014/main" id="{579B710C-D76E-9A4B-97A2-22F414852146}"/>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4">
                <a:extLst>
                  <a:ext uri="{FF2B5EF4-FFF2-40B4-BE49-F238E27FC236}">
                    <a16:creationId xmlns:a16="http://schemas.microsoft.com/office/drawing/2014/main" id="{58DA3A19-E1C8-9645-BA4F-959379D2C360}"/>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70">
                <a:extLst>
                  <a:ext uri="{FF2B5EF4-FFF2-40B4-BE49-F238E27FC236}">
                    <a16:creationId xmlns:a16="http://schemas.microsoft.com/office/drawing/2014/main" id="{A567A181-68EB-554B-8ABF-B94177419BFE}"/>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76">
                <a:extLst>
                  <a:ext uri="{FF2B5EF4-FFF2-40B4-BE49-F238E27FC236}">
                    <a16:creationId xmlns:a16="http://schemas.microsoft.com/office/drawing/2014/main" id="{4512AE65-C995-5A4E-80C6-A2B856E7EF39}"/>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 name="Rectangle 7">
            <a:extLst>
              <a:ext uri="{FF2B5EF4-FFF2-40B4-BE49-F238E27FC236}">
                <a16:creationId xmlns:a16="http://schemas.microsoft.com/office/drawing/2014/main" id="{548E81ED-063D-4F4E-8693-564E0F75AA42}"/>
              </a:ext>
            </a:extLst>
          </p:cNvPr>
          <p:cNvSpPr/>
          <p:nvPr/>
        </p:nvSpPr>
        <p:spPr bwMode="auto">
          <a:xfrm>
            <a:off x="7232073" y="5070764"/>
            <a:ext cx="3962400" cy="178723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5" name="Freeform: Shape 23">
            <a:extLst>
              <a:ext uri="{FF2B5EF4-FFF2-40B4-BE49-F238E27FC236}">
                <a16:creationId xmlns:a16="http://schemas.microsoft.com/office/drawing/2014/main" id="{CBEBA90E-6F13-2E46-BE73-E96B2F83EFBC}"/>
              </a:ext>
            </a:extLst>
          </p:cNvPr>
          <p:cNvSpPr/>
          <p:nvPr/>
        </p:nvSpPr>
        <p:spPr>
          <a:xfrm>
            <a:off x="8027602" y="3679221"/>
            <a:ext cx="2531297" cy="2909539"/>
          </a:xfrm>
          <a:custGeom>
            <a:avLst/>
            <a:gdLst>
              <a:gd name="connsiteX0" fmla="*/ 4007 w 464865"/>
              <a:gd name="connsiteY0" fmla="*/ 4007 h 534327"/>
              <a:gd name="connsiteX1" fmla="*/ 4007 w 464865"/>
              <a:gd name="connsiteY1" fmla="*/ 442156 h 534327"/>
              <a:gd name="connsiteX2" fmla="*/ 233768 w 464865"/>
              <a:gd name="connsiteY2" fmla="*/ 534809 h 534327"/>
              <a:gd name="connsiteX3" fmla="*/ 463529 w 464865"/>
              <a:gd name="connsiteY3" fmla="*/ 442156 h 534327"/>
              <a:gd name="connsiteX4" fmla="*/ 463529 w 464865"/>
              <a:gd name="connsiteY4" fmla="*/ 4007 h 5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65" h="534327">
                <a:moveTo>
                  <a:pt x="4007" y="4007"/>
                </a:moveTo>
                <a:lnTo>
                  <a:pt x="4007" y="442156"/>
                </a:lnTo>
                <a:cubicBezTo>
                  <a:pt x="4007" y="493345"/>
                  <a:pt x="106759" y="534809"/>
                  <a:pt x="233768" y="534809"/>
                </a:cubicBezTo>
                <a:cubicBezTo>
                  <a:pt x="360778" y="534809"/>
                  <a:pt x="463529" y="493345"/>
                  <a:pt x="463529" y="442156"/>
                </a:cubicBezTo>
                <a:lnTo>
                  <a:pt x="463529" y="4007"/>
                </a:lnTo>
                <a:close/>
              </a:path>
            </a:pathLst>
          </a:custGeom>
          <a:solidFill>
            <a:srgbClr val="0078D4"/>
          </a:solidFill>
          <a:ln w="9525" cap="flat">
            <a:noFill/>
            <a:prstDash val="solid"/>
            <a:miter/>
          </a:ln>
        </p:spPr>
        <p:txBody>
          <a:bodyPr rtlCol="0" anchor="ctr"/>
          <a:lstStyle/>
          <a:p>
            <a:endParaRPr lang="en-US" dirty="0"/>
          </a:p>
        </p:txBody>
      </p:sp>
      <p:grpSp>
        <p:nvGrpSpPr>
          <p:cNvPr id="347" name="Group 346">
            <a:extLst>
              <a:ext uri="{FF2B5EF4-FFF2-40B4-BE49-F238E27FC236}">
                <a16:creationId xmlns:a16="http://schemas.microsoft.com/office/drawing/2014/main" id="{1373998B-4B9A-D847-8CBB-CD746343DB88}"/>
              </a:ext>
            </a:extLst>
          </p:cNvPr>
          <p:cNvGrpSpPr/>
          <p:nvPr/>
        </p:nvGrpSpPr>
        <p:grpSpPr>
          <a:xfrm rot="10800000">
            <a:off x="8050423" y="3679979"/>
            <a:ext cx="2499878" cy="515447"/>
            <a:chOff x="3317221" y="9130576"/>
            <a:chExt cx="2499878" cy="515447"/>
          </a:xfrm>
        </p:grpSpPr>
        <p:sp>
          <p:nvSpPr>
            <p:cNvPr id="348" name="Freeform 347">
              <a:extLst>
                <a:ext uri="{FF2B5EF4-FFF2-40B4-BE49-F238E27FC236}">
                  <a16:creationId xmlns:a16="http://schemas.microsoft.com/office/drawing/2014/main" id="{A89CB2C8-C03D-5243-A886-903990A611C6}"/>
                </a:ext>
              </a:extLst>
            </p:cNvPr>
            <p:cNvSpPr/>
            <p:nvPr/>
          </p:nvSpPr>
          <p:spPr bwMode="auto">
            <a:xfrm>
              <a:off x="3317221" y="9130576"/>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9" name="Freeform 348">
              <a:extLst>
                <a:ext uri="{FF2B5EF4-FFF2-40B4-BE49-F238E27FC236}">
                  <a16:creationId xmlns:a16="http://schemas.microsoft.com/office/drawing/2014/main" id="{8AA52FFB-A7B6-0840-9945-1187295A810F}"/>
                </a:ext>
              </a:extLst>
            </p:cNvPr>
            <p:cNvSpPr/>
            <p:nvPr/>
          </p:nvSpPr>
          <p:spPr bwMode="auto">
            <a:xfrm>
              <a:off x="3651203" y="9347255"/>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Tree>
    <p:extLst>
      <p:ext uri="{BB962C8B-B14F-4D97-AF65-F5344CB8AC3E}">
        <p14:creationId xmlns:p14="http://schemas.microsoft.com/office/powerpoint/2010/main" val="345448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0" fill="hold"/>
                                        <p:tgtEl>
                                          <p:spTgt spid="9"/>
                                        </p:tgtEl>
                                        <p:attrNameLst>
                                          <p:attrName>ppt_x</p:attrName>
                                        </p:attrNameLst>
                                      </p:cBhvr>
                                      <p:tavLst>
                                        <p:tav tm="0">
                                          <p:val>
                                            <p:strVal val="#ppt_x"/>
                                          </p:val>
                                        </p:tav>
                                        <p:tav tm="100000">
                                          <p:val>
                                            <p:strVal val="#ppt_x"/>
                                          </p:val>
                                        </p:tav>
                                      </p:tavLst>
                                    </p:anim>
                                    <p:anim calcmode="lin" valueType="num">
                                      <p:cBhvr additive="base">
                                        <p:cTn id="8" dur="10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B1587-9469-4418-8271-9C10B5FA0FFB}"/>
              </a:ext>
            </a:extLst>
          </p:cNvPr>
          <p:cNvSpPr>
            <a:spLocks noGrp="1"/>
          </p:cNvSpPr>
          <p:nvPr>
            <p:ph type="title"/>
          </p:nvPr>
        </p:nvSpPr>
        <p:spPr>
          <a:xfrm>
            <a:off x="385010" y="386846"/>
            <a:ext cx="11018520" cy="553998"/>
          </a:xfrm>
        </p:spPr>
        <p:txBody>
          <a:bodyPr/>
          <a:lstStyle/>
          <a:p>
            <a:r>
              <a:rPr lang="en-US" dirty="0"/>
              <a:t>Learn more </a:t>
            </a:r>
          </a:p>
        </p:txBody>
      </p:sp>
      <p:pic>
        <p:nvPicPr>
          <p:cNvPr id="8" name="Picture 7" descr="A picture containing text&#10;&#10;Description automatically generated">
            <a:extLst>
              <a:ext uri="{FF2B5EF4-FFF2-40B4-BE49-F238E27FC236}">
                <a16:creationId xmlns:a16="http://schemas.microsoft.com/office/drawing/2014/main" id="{B882A5E8-58C3-46F4-ACAE-7A9B03E459B6}"/>
              </a:ext>
            </a:extLst>
          </p:cNvPr>
          <p:cNvPicPr>
            <a:picLocks noChangeAspect="1"/>
          </p:cNvPicPr>
          <p:nvPr/>
        </p:nvPicPr>
        <p:blipFill>
          <a:blip r:embed="rId3"/>
          <a:stretch>
            <a:fillRect/>
          </a:stretch>
        </p:blipFill>
        <p:spPr>
          <a:xfrm>
            <a:off x="9638851" y="3242742"/>
            <a:ext cx="2355635" cy="3361991"/>
          </a:xfrm>
          <a:prstGeom prst="rect">
            <a:avLst/>
          </a:prstGeom>
        </p:spPr>
      </p:pic>
      <p:sp>
        <p:nvSpPr>
          <p:cNvPr id="10" name="TextBox 9">
            <a:extLst>
              <a:ext uri="{FF2B5EF4-FFF2-40B4-BE49-F238E27FC236}">
                <a16:creationId xmlns:a16="http://schemas.microsoft.com/office/drawing/2014/main" id="{3F0FF318-DC7F-48E5-A671-424D48FC4818}"/>
              </a:ext>
            </a:extLst>
          </p:cNvPr>
          <p:cNvSpPr txBox="1"/>
          <p:nvPr/>
        </p:nvSpPr>
        <p:spPr>
          <a:xfrm>
            <a:off x="8608194" y="253267"/>
            <a:ext cx="3138680"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http://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aka.ms/bobsqldemo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6"/>
              </a:rPr>
              <a:t>http://aka.ms/sqllinuxbook</a:t>
            </a:r>
            <a:endParaRPr lang="en-US" sz="2000" dirty="0">
              <a:gradFill>
                <a:gsLst>
                  <a:gs pos="2917">
                    <a:schemeClr val="tx1"/>
                  </a:gs>
                  <a:gs pos="30000">
                    <a:schemeClr val="tx1"/>
                  </a:gs>
                </a:gsLst>
                <a:lin ang="5400000" scaled="0"/>
              </a:gradFill>
            </a:endParaRPr>
          </a:p>
        </p:txBody>
      </p:sp>
      <p:sp>
        <p:nvSpPr>
          <p:cNvPr id="11" name="Text Placeholder 2">
            <a:extLst>
              <a:ext uri="{FF2B5EF4-FFF2-40B4-BE49-F238E27FC236}">
                <a16:creationId xmlns:a16="http://schemas.microsoft.com/office/drawing/2014/main" id="{957A48FD-0AA2-4348-8B19-70D665187B38}"/>
              </a:ext>
            </a:extLst>
          </p:cNvPr>
          <p:cNvSpPr>
            <a:spLocks noGrp="1"/>
          </p:cNvSpPr>
          <p:nvPr>
            <p:ph type="body" sz="quarter" idx="10"/>
          </p:nvPr>
        </p:nvSpPr>
        <p:spPr>
          <a:xfrm>
            <a:off x="197514" y="1045454"/>
            <a:ext cx="9604891" cy="2051844"/>
          </a:xfrm>
        </p:spPr>
        <p:txBody>
          <a:bodyPr/>
          <a:lstStyle/>
          <a:p>
            <a:r>
              <a:rPr lang="en-US" dirty="0"/>
              <a:t>Get the workshop at </a:t>
            </a:r>
            <a:r>
              <a:rPr lang="en-US" dirty="0">
                <a:hlinkClick r:id="rId7"/>
              </a:rPr>
              <a:t>https://aka.ms/sqlworkshops</a:t>
            </a:r>
            <a:endParaRPr lang="en-US" dirty="0"/>
          </a:p>
          <a:p>
            <a:r>
              <a:rPr lang="en-US" dirty="0"/>
              <a:t>Free SQL Linux and Container training at </a:t>
            </a:r>
            <a:r>
              <a:rPr lang="en-US" dirty="0">
                <a:hlinkClick r:id="rId8"/>
              </a:rPr>
              <a:t>http://aka.ms/sqllinuxlabs</a:t>
            </a:r>
            <a:endParaRPr lang="en-US" dirty="0"/>
          </a:p>
          <a:p>
            <a:r>
              <a:rPr lang="en-US" dirty="0"/>
              <a:t>Download and try it at </a:t>
            </a:r>
            <a:r>
              <a:rPr lang="en-US" dirty="0">
                <a:hlinkClick r:id="rId9"/>
              </a:rPr>
              <a:t>http://aka.ms/ss19</a:t>
            </a:r>
            <a:endParaRPr lang="en-US" dirty="0"/>
          </a:p>
          <a:p>
            <a:r>
              <a:rPr lang="en-US" dirty="0"/>
              <a:t>What’s new for SQL 2019 </a:t>
            </a:r>
            <a:r>
              <a:rPr lang="en-US" dirty="0">
                <a:hlinkClick r:id="rId10"/>
              </a:rPr>
              <a:t>documentation</a:t>
            </a:r>
            <a:endParaRPr lang="en-US" dirty="0"/>
          </a:p>
          <a:p>
            <a:r>
              <a:rPr lang="en-US" dirty="0"/>
              <a:t>Sign-up for the EAP program at </a:t>
            </a:r>
            <a:r>
              <a:rPr lang="en-US" dirty="0">
                <a:hlinkClick r:id="rId11"/>
              </a:rPr>
              <a:t>https://aka.ms/eapsignup</a:t>
            </a:r>
            <a:endParaRPr lang="en-US" dirty="0"/>
          </a:p>
        </p:txBody>
      </p:sp>
      <p:sp>
        <p:nvSpPr>
          <p:cNvPr id="6" name="TextBox 5">
            <a:extLst>
              <a:ext uri="{FF2B5EF4-FFF2-40B4-BE49-F238E27FC236}">
                <a16:creationId xmlns:a16="http://schemas.microsoft.com/office/drawing/2014/main" id="{2C034511-7D8A-42B3-BD88-891A463E54EA}"/>
              </a:ext>
            </a:extLst>
          </p:cNvPr>
          <p:cNvSpPr txBox="1"/>
          <p:nvPr/>
        </p:nvSpPr>
        <p:spPr>
          <a:xfrm>
            <a:off x="385010" y="3437652"/>
            <a:ext cx="6342506" cy="492443"/>
          </a:xfrm>
          <a:prstGeom prst="rect">
            <a:avLst/>
          </a:prstGeom>
          <a:noFill/>
        </p:spPr>
        <p:txBody>
          <a:bodyPr wrap="none" lIns="0" tIns="0" rIns="0" bIns="0" rtlCol="0">
            <a:spAutoFit/>
          </a:bodyPr>
          <a:lstStyle/>
          <a:p>
            <a:pPr algn="l"/>
            <a:r>
              <a:rPr lang="en-US" sz="3200" dirty="0">
                <a:gradFill>
                  <a:gsLst>
                    <a:gs pos="2917">
                      <a:schemeClr val="tx1"/>
                    </a:gs>
                    <a:gs pos="30000">
                      <a:schemeClr val="tx1"/>
                    </a:gs>
                  </a:gsLst>
                  <a:lin ang="5400000" scaled="0"/>
                </a:gradFill>
              </a:rPr>
              <a:t>SQLBits Guide – Microsoft Sessions</a:t>
            </a:r>
          </a:p>
        </p:txBody>
      </p:sp>
      <p:sp>
        <p:nvSpPr>
          <p:cNvPr id="12" name="Text Placeholder 2">
            <a:extLst>
              <a:ext uri="{FF2B5EF4-FFF2-40B4-BE49-F238E27FC236}">
                <a16:creationId xmlns:a16="http://schemas.microsoft.com/office/drawing/2014/main" id="{9C415EE5-18A9-4C31-A1DB-D80DE0D4EEA7}"/>
              </a:ext>
            </a:extLst>
          </p:cNvPr>
          <p:cNvSpPr txBox="1">
            <a:spLocks/>
          </p:cNvSpPr>
          <p:nvPr/>
        </p:nvSpPr>
        <p:spPr>
          <a:xfrm>
            <a:off x="197513" y="4030546"/>
            <a:ext cx="9604891" cy="270843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Microsoft SQL Server Big Data Clusters Architecture – Buck Woody, Thursday</a:t>
            </a:r>
          </a:p>
          <a:p>
            <a:r>
              <a:rPr lang="en-US" sz="1800" dirty="0"/>
              <a:t>Inside SQL Server Containers – Bob Ward, Friday</a:t>
            </a:r>
          </a:p>
          <a:p>
            <a:r>
              <a:rPr lang="en-US" sz="1800" dirty="0"/>
              <a:t>SQL Server ML End-to-End – Anna Thomas, Friday</a:t>
            </a:r>
          </a:p>
          <a:p>
            <a:r>
              <a:rPr lang="en-US" sz="1800" dirty="0"/>
              <a:t>Introducing Azure Data Studio – Vicky Harp, Friday</a:t>
            </a:r>
          </a:p>
          <a:p>
            <a:r>
              <a:rPr lang="en-US" sz="1800" dirty="0"/>
              <a:t>What's New - Query Performance Insights – Pedro Lopes, Friday</a:t>
            </a:r>
          </a:p>
          <a:p>
            <a:r>
              <a:rPr lang="en-US" sz="1800" dirty="0"/>
              <a:t>SQL 2019 Big Data Architecture Overview – Buck Woody, Saturday</a:t>
            </a:r>
          </a:p>
          <a:p>
            <a:r>
              <a:rPr lang="en-US" sz="1800" dirty="0"/>
              <a:t>Modernizing your SQL Server the right way – Pedro Lopes, Saturday</a:t>
            </a:r>
          </a:p>
        </p:txBody>
      </p:sp>
    </p:spTree>
    <p:extLst>
      <p:ext uri="{BB962C8B-B14F-4D97-AF65-F5344CB8AC3E}">
        <p14:creationId xmlns:p14="http://schemas.microsoft.com/office/powerpoint/2010/main" val="276576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99920D4-FDDE-4FE8-B1A1-D4B45F73833C}"/>
              </a:ext>
            </a:extLst>
          </p:cNvPr>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9 </a:t>
            </a:r>
          </a:p>
        </p:txBody>
      </p:sp>
      <p:sp>
        <p:nvSpPr>
          <p:cNvPr id="5" name="Title 1">
            <a:extLst>
              <a:ext uri="{FF2B5EF4-FFF2-40B4-BE49-F238E27FC236}">
                <a16:creationId xmlns:a16="http://schemas.microsoft.com/office/drawing/2014/main" id="{7F7A579F-53DB-4CA3-901F-C804E969DFA2}"/>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6" name="Group 5">
            <a:extLst>
              <a:ext uri="{FF2B5EF4-FFF2-40B4-BE49-F238E27FC236}">
                <a16:creationId xmlns:a16="http://schemas.microsoft.com/office/drawing/2014/main" id="{811C47AC-9A86-406F-A892-A42778083AF3}"/>
              </a:ext>
            </a:extLst>
          </p:cNvPr>
          <p:cNvGrpSpPr/>
          <p:nvPr/>
        </p:nvGrpSpPr>
        <p:grpSpPr>
          <a:xfrm>
            <a:off x="4532988" y="855263"/>
            <a:ext cx="2588016" cy="2714265"/>
            <a:chOff x="7720721" y="2327445"/>
            <a:chExt cx="2639911" cy="2768692"/>
          </a:xfrm>
        </p:grpSpPr>
        <p:sp>
          <p:nvSpPr>
            <p:cNvPr id="7" name="TextBox 6">
              <a:extLst>
                <a:ext uri="{FF2B5EF4-FFF2-40B4-BE49-F238E27FC236}">
                  <a16:creationId xmlns:a16="http://schemas.microsoft.com/office/drawing/2014/main" id="{E7FCD763-7D8A-40BB-BC89-1BC5B95A7D0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8" name="TextBox 7">
              <a:extLst>
                <a:ext uri="{FF2B5EF4-FFF2-40B4-BE49-F238E27FC236}">
                  <a16:creationId xmlns:a16="http://schemas.microsoft.com/office/drawing/2014/main" id="{741867BF-DA7C-4FA2-A513-F13034EE5881}"/>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9" name="Arc 8">
              <a:extLst>
                <a:ext uri="{FF2B5EF4-FFF2-40B4-BE49-F238E27FC236}">
                  <a16:creationId xmlns:a16="http://schemas.microsoft.com/office/drawing/2014/main" id="{0A0C948A-4456-409F-8D26-1FA4D3FDE57B}"/>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0" name="Arc 9">
              <a:extLst>
                <a:ext uri="{FF2B5EF4-FFF2-40B4-BE49-F238E27FC236}">
                  <a16:creationId xmlns:a16="http://schemas.microsoft.com/office/drawing/2014/main" id="{41BCE125-765A-466E-9066-7ED9B0FAF60B}"/>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1" name="Arc 10">
              <a:extLst>
                <a:ext uri="{FF2B5EF4-FFF2-40B4-BE49-F238E27FC236}">
                  <a16:creationId xmlns:a16="http://schemas.microsoft.com/office/drawing/2014/main" id="{0CEDFB85-0060-4E03-B005-66EE4D0ECDD8}"/>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2" name="Arc 11">
              <a:extLst>
                <a:ext uri="{FF2B5EF4-FFF2-40B4-BE49-F238E27FC236}">
                  <a16:creationId xmlns:a16="http://schemas.microsoft.com/office/drawing/2014/main" id="{A127D4D7-A1AF-4C61-847E-FE2237501F30}"/>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3" name="TextBox 12">
              <a:extLst>
                <a:ext uri="{FF2B5EF4-FFF2-40B4-BE49-F238E27FC236}">
                  <a16:creationId xmlns:a16="http://schemas.microsoft.com/office/drawing/2014/main" id="{4B73885E-8575-4020-B21C-E3A0C1A6A97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14" name="TextBox 13">
              <a:extLst>
                <a:ext uri="{FF2B5EF4-FFF2-40B4-BE49-F238E27FC236}">
                  <a16:creationId xmlns:a16="http://schemas.microsoft.com/office/drawing/2014/main" id="{8057E7B0-729B-41F8-AD03-482852CA7BF9}"/>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15" name="Rectangle 14">
              <a:extLst>
                <a:ext uri="{FF2B5EF4-FFF2-40B4-BE49-F238E27FC236}">
                  <a16:creationId xmlns:a16="http://schemas.microsoft.com/office/drawing/2014/main" id="{3C1EA8A8-27FE-428A-A3A2-DA95E65B46A0}"/>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Intelligent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16" name="Rectangle: Rounded Corners 44">
              <a:extLst>
                <a:ext uri="{FF2B5EF4-FFF2-40B4-BE49-F238E27FC236}">
                  <a16:creationId xmlns:a16="http://schemas.microsoft.com/office/drawing/2014/main" id="{FC7E39CE-03FF-4FAE-B375-3B3BA67F9D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17" name="Group 11">
              <a:extLst>
                <a:ext uri="{FF2B5EF4-FFF2-40B4-BE49-F238E27FC236}">
                  <a16:creationId xmlns:a16="http://schemas.microsoft.com/office/drawing/2014/main" id="{0F276878-E0EA-45B8-ABD0-E1845BC614F4}"/>
                </a:ext>
              </a:extLst>
            </p:cNvPr>
            <p:cNvGrpSpPr>
              <a:grpSpLocks noChangeAspect="1"/>
            </p:cNvGrpSpPr>
            <p:nvPr/>
          </p:nvGrpSpPr>
          <p:grpSpPr bwMode="auto">
            <a:xfrm>
              <a:off x="7864779" y="3383528"/>
              <a:ext cx="251750" cy="274229"/>
              <a:chOff x="3861" y="4291602"/>
              <a:chExt cx="112" cy="244433"/>
            </a:xfrm>
          </p:grpSpPr>
          <p:sp>
            <p:nvSpPr>
              <p:cNvPr id="26" name="Freeform 12">
                <a:extLst>
                  <a:ext uri="{FF2B5EF4-FFF2-40B4-BE49-F238E27FC236}">
                    <a16:creationId xmlns:a16="http://schemas.microsoft.com/office/drawing/2014/main" id="{DFE9DA59-285D-4894-BD3B-C92DB6C3D4D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7" name="Line 13">
                <a:extLst>
                  <a:ext uri="{FF2B5EF4-FFF2-40B4-BE49-F238E27FC236}">
                    <a16:creationId xmlns:a16="http://schemas.microsoft.com/office/drawing/2014/main" id="{C3395109-9FB0-49A2-B290-830C5E55CC8C}"/>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4">
                <a:extLst>
                  <a:ext uri="{FF2B5EF4-FFF2-40B4-BE49-F238E27FC236}">
                    <a16:creationId xmlns:a16="http://schemas.microsoft.com/office/drawing/2014/main" id="{EDF21D95-5B8F-4BCB-B941-AC8C95EEDABD}"/>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5">
                <a:extLst>
                  <a:ext uri="{FF2B5EF4-FFF2-40B4-BE49-F238E27FC236}">
                    <a16:creationId xmlns:a16="http://schemas.microsoft.com/office/drawing/2014/main" id="{C6E3F5BE-8AF8-43D6-A112-CAACB1A21237}"/>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6">
                <a:extLst>
                  <a:ext uri="{FF2B5EF4-FFF2-40B4-BE49-F238E27FC236}">
                    <a16:creationId xmlns:a16="http://schemas.microsoft.com/office/drawing/2014/main" id="{5B8C0A2E-167F-4BA4-8A6E-2C0779E0CB93}"/>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7">
                <a:extLst>
                  <a:ext uri="{FF2B5EF4-FFF2-40B4-BE49-F238E27FC236}">
                    <a16:creationId xmlns:a16="http://schemas.microsoft.com/office/drawing/2014/main" id="{06B83A79-A91E-44A6-8E3C-5B8B9BE6E915}"/>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18" name="Group 4">
              <a:extLst>
                <a:ext uri="{FF2B5EF4-FFF2-40B4-BE49-F238E27FC236}">
                  <a16:creationId xmlns:a16="http://schemas.microsoft.com/office/drawing/2014/main" id="{29EFB3DF-D1DD-435C-90F1-20714C9673E0}"/>
                </a:ext>
              </a:extLst>
            </p:cNvPr>
            <p:cNvGrpSpPr>
              <a:grpSpLocks noChangeAspect="1"/>
            </p:cNvGrpSpPr>
            <p:nvPr/>
          </p:nvGrpSpPr>
          <p:grpSpPr bwMode="auto">
            <a:xfrm>
              <a:off x="8918138" y="2327445"/>
              <a:ext cx="210086" cy="368034"/>
              <a:chOff x="866" y="3346"/>
              <a:chExt cx="137" cy="240"/>
            </a:xfrm>
          </p:grpSpPr>
          <p:sp>
            <p:nvSpPr>
              <p:cNvPr id="22" name="Freeform 5">
                <a:extLst>
                  <a:ext uri="{FF2B5EF4-FFF2-40B4-BE49-F238E27FC236}">
                    <a16:creationId xmlns:a16="http://schemas.microsoft.com/office/drawing/2014/main" id="{67F8CCD3-257A-441B-9FB7-84880C6035FE}"/>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3" name="Freeform 6">
                <a:extLst>
                  <a:ext uri="{FF2B5EF4-FFF2-40B4-BE49-F238E27FC236}">
                    <a16:creationId xmlns:a16="http://schemas.microsoft.com/office/drawing/2014/main" id="{ACE6B3B2-267B-4DB4-AAEF-C57E10026746}"/>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4" name="Freeform 7">
                <a:extLst>
                  <a:ext uri="{FF2B5EF4-FFF2-40B4-BE49-F238E27FC236}">
                    <a16:creationId xmlns:a16="http://schemas.microsoft.com/office/drawing/2014/main" id="{A5BDAC64-CC54-45B9-8A5C-429570F70417}"/>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5" name="Freeform 8">
                <a:extLst>
                  <a:ext uri="{FF2B5EF4-FFF2-40B4-BE49-F238E27FC236}">
                    <a16:creationId xmlns:a16="http://schemas.microsoft.com/office/drawing/2014/main" id="{B607607F-8F40-438E-8CC8-B82B86AF4851}"/>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19" name="Group 18">
              <a:extLst>
                <a:ext uri="{FF2B5EF4-FFF2-40B4-BE49-F238E27FC236}">
                  <a16:creationId xmlns:a16="http://schemas.microsoft.com/office/drawing/2014/main" id="{EB282703-BD3B-4E0F-9019-F5E3EC352851}"/>
                </a:ext>
              </a:extLst>
            </p:cNvPr>
            <p:cNvGrpSpPr/>
            <p:nvPr/>
          </p:nvGrpSpPr>
          <p:grpSpPr>
            <a:xfrm>
              <a:off x="8816788" y="4469712"/>
              <a:ext cx="358220" cy="358220"/>
              <a:chOff x="8264695" y="4371468"/>
              <a:chExt cx="373230" cy="373230"/>
            </a:xfrm>
          </p:grpSpPr>
          <p:sp>
            <p:nvSpPr>
              <p:cNvPr id="20" name="Oval 19">
                <a:extLst>
                  <a:ext uri="{FF2B5EF4-FFF2-40B4-BE49-F238E27FC236}">
                    <a16:creationId xmlns:a16="http://schemas.microsoft.com/office/drawing/2014/main" id="{02B3D660-4AF8-484E-8920-8C49C354402C}"/>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21" name="Isosceles Triangle 20">
                <a:extLst>
                  <a:ext uri="{FF2B5EF4-FFF2-40B4-BE49-F238E27FC236}">
                    <a16:creationId xmlns:a16="http://schemas.microsoft.com/office/drawing/2014/main" id="{937918A9-C8E1-40BB-BA8A-5FE8B3909166}"/>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32" name="Group 31">
            <a:extLst>
              <a:ext uri="{FF2B5EF4-FFF2-40B4-BE49-F238E27FC236}">
                <a16:creationId xmlns:a16="http://schemas.microsoft.com/office/drawing/2014/main" id="{9DF0F48B-9985-4175-8B21-D96296834B40}"/>
              </a:ext>
            </a:extLst>
          </p:cNvPr>
          <p:cNvGrpSpPr/>
          <p:nvPr/>
        </p:nvGrpSpPr>
        <p:grpSpPr>
          <a:xfrm>
            <a:off x="4747473" y="4830517"/>
            <a:ext cx="1530672" cy="355140"/>
            <a:chOff x="6576577" y="3318208"/>
            <a:chExt cx="2213304" cy="504999"/>
          </a:xfrm>
        </p:grpSpPr>
        <p:sp>
          <p:nvSpPr>
            <p:cNvPr id="33" name="Freeform 130">
              <a:extLst>
                <a:ext uri="{FF2B5EF4-FFF2-40B4-BE49-F238E27FC236}">
                  <a16:creationId xmlns:a16="http://schemas.microsoft.com/office/drawing/2014/main" id="{1345A708-8142-4B23-AB60-9C25DE1079AE}"/>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34" name="Freeform: Shape 390">
              <a:extLst>
                <a:ext uri="{FF2B5EF4-FFF2-40B4-BE49-F238E27FC236}">
                  <a16:creationId xmlns:a16="http://schemas.microsoft.com/office/drawing/2014/main" id="{201910D8-A5B9-4C66-BAA5-9CF5ADABFA2F}"/>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35" name="Picture 34">
              <a:extLst>
                <a:ext uri="{FF2B5EF4-FFF2-40B4-BE49-F238E27FC236}">
                  <a16:creationId xmlns:a16="http://schemas.microsoft.com/office/drawing/2014/main" id="{61EBF9C1-4EE6-45EF-97AC-ABF30CFF8E24}"/>
                </a:ext>
              </a:extLst>
            </p:cNvPr>
            <p:cNvPicPr>
              <a:picLocks noChangeAspect="1"/>
            </p:cNvPicPr>
            <p:nvPr/>
          </p:nvPicPr>
          <p:blipFill>
            <a:blip r:embed="rId2"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36" name="Rectangle 35">
            <a:extLst>
              <a:ext uri="{FF2B5EF4-FFF2-40B4-BE49-F238E27FC236}">
                <a16:creationId xmlns:a16="http://schemas.microsoft.com/office/drawing/2014/main" id="{97B97636-C021-4BBA-B4F9-0823C695C939}"/>
              </a:ext>
            </a:extLst>
          </p:cNvPr>
          <p:cNvSpPr/>
          <p:nvPr/>
        </p:nvSpPr>
        <p:spPr>
          <a:xfrm>
            <a:off x="5112000" y="4371063"/>
            <a:ext cx="128592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Modern Platforms</a:t>
            </a:r>
          </a:p>
        </p:txBody>
      </p:sp>
      <p:sp>
        <p:nvSpPr>
          <p:cNvPr id="37" name="Rectangle 36">
            <a:extLst>
              <a:ext uri="{FF2B5EF4-FFF2-40B4-BE49-F238E27FC236}">
                <a16:creationId xmlns:a16="http://schemas.microsoft.com/office/drawing/2014/main" id="{BA9C914E-3673-4125-9B03-285D0C1BAF01}"/>
              </a:ext>
            </a:extLst>
          </p:cNvPr>
          <p:cNvSpPr/>
          <p:nvPr/>
        </p:nvSpPr>
        <p:spPr>
          <a:xfrm>
            <a:off x="626197" y="3955199"/>
            <a:ext cx="2775120"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 and Extensibility</a:t>
            </a:r>
          </a:p>
        </p:txBody>
      </p:sp>
      <p:pic>
        <p:nvPicPr>
          <p:cNvPr id="38" name="Picture 37">
            <a:extLst>
              <a:ext uri="{FF2B5EF4-FFF2-40B4-BE49-F238E27FC236}">
                <a16:creationId xmlns:a16="http://schemas.microsoft.com/office/drawing/2014/main" id="{5B3C284F-BEE3-4068-A013-D651D0BF42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220" y="4806128"/>
            <a:ext cx="571875" cy="424535"/>
          </a:xfrm>
          <a:prstGeom prst="rect">
            <a:avLst/>
          </a:prstGeom>
        </p:spPr>
      </p:pic>
      <p:grpSp>
        <p:nvGrpSpPr>
          <p:cNvPr id="39" name="Group 38">
            <a:extLst>
              <a:ext uri="{FF2B5EF4-FFF2-40B4-BE49-F238E27FC236}">
                <a16:creationId xmlns:a16="http://schemas.microsoft.com/office/drawing/2014/main" id="{727EBAD1-50D5-4A01-B28A-15904A1E5FCC}"/>
              </a:ext>
            </a:extLst>
          </p:cNvPr>
          <p:cNvGrpSpPr/>
          <p:nvPr/>
        </p:nvGrpSpPr>
        <p:grpSpPr>
          <a:xfrm>
            <a:off x="704684" y="1670068"/>
            <a:ext cx="958356" cy="847805"/>
            <a:chOff x="828502" y="2442332"/>
            <a:chExt cx="958356" cy="847805"/>
          </a:xfrm>
        </p:grpSpPr>
        <p:sp>
          <p:nvSpPr>
            <p:cNvPr id="40" name="Rectangle 9">
              <a:extLst>
                <a:ext uri="{FF2B5EF4-FFF2-40B4-BE49-F238E27FC236}">
                  <a16:creationId xmlns:a16="http://schemas.microsoft.com/office/drawing/2014/main" id="{6FE9BE12-0335-4744-BCE2-A3254E48DE4B}"/>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B260FEC1-7927-432C-B399-C93BC32863B7}"/>
                </a:ext>
              </a:extLst>
            </p:cNvPr>
            <p:cNvGrpSpPr/>
            <p:nvPr/>
          </p:nvGrpSpPr>
          <p:grpSpPr>
            <a:xfrm>
              <a:off x="987946" y="2622583"/>
              <a:ext cx="639468" cy="329711"/>
              <a:chOff x="945805" y="2588594"/>
              <a:chExt cx="721336" cy="371920"/>
            </a:xfrm>
          </p:grpSpPr>
          <p:sp>
            <p:nvSpPr>
              <p:cNvPr id="43" name="Freeform: Shape 175">
                <a:extLst>
                  <a:ext uri="{FF2B5EF4-FFF2-40B4-BE49-F238E27FC236}">
                    <a16:creationId xmlns:a16="http://schemas.microsoft.com/office/drawing/2014/main" id="{3EDF4465-9FF5-4E18-8D4A-F4B62FD93FC0}"/>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44" name="Group 43">
                <a:extLst>
                  <a:ext uri="{FF2B5EF4-FFF2-40B4-BE49-F238E27FC236}">
                    <a16:creationId xmlns:a16="http://schemas.microsoft.com/office/drawing/2014/main" id="{9370F757-1D0E-408E-A3FC-2D96C8038708}"/>
                  </a:ext>
                </a:extLst>
              </p:cNvPr>
              <p:cNvGrpSpPr/>
              <p:nvPr/>
            </p:nvGrpSpPr>
            <p:grpSpPr>
              <a:xfrm>
                <a:off x="945805" y="2810039"/>
                <a:ext cx="721336" cy="150475"/>
                <a:chOff x="945805" y="2810039"/>
                <a:chExt cx="721336" cy="150475"/>
              </a:xfrm>
            </p:grpSpPr>
            <p:sp>
              <p:nvSpPr>
                <p:cNvPr id="45" name="Freeform: Shape 171">
                  <a:extLst>
                    <a:ext uri="{FF2B5EF4-FFF2-40B4-BE49-F238E27FC236}">
                      <a16:creationId xmlns:a16="http://schemas.microsoft.com/office/drawing/2014/main" id="{79179761-E117-4473-BB75-58E1B42B0F8E}"/>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6" name="Freeform: Shape 173">
                  <a:extLst>
                    <a:ext uri="{FF2B5EF4-FFF2-40B4-BE49-F238E27FC236}">
                      <a16:creationId xmlns:a16="http://schemas.microsoft.com/office/drawing/2014/main" id="{325CF6B6-67EC-4480-8CCC-46093B087CE6}"/>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7" name="Freeform: Shape 173">
                  <a:extLst>
                    <a:ext uri="{FF2B5EF4-FFF2-40B4-BE49-F238E27FC236}">
                      <a16:creationId xmlns:a16="http://schemas.microsoft.com/office/drawing/2014/main" id="{AEEC4F91-863D-4E1B-A20F-F45760F08797}"/>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42" name="Picture 41">
              <a:extLst>
                <a:ext uri="{FF2B5EF4-FFF2-40B4-BE49-F238E27FC236}">
                  <a16:creationId xmlns:a16="http://schemas.microsoft.com/office/drawing/2014/main" id="{21722FFC-2D04-43C1-9991-E7648C4BE2C4}"/>
                </a:ext>
              </a:extLst>
            </p:cNvPr>
            <p:cNvPicPr>
              <a:picLocks noChangeAspect="1"/>
            </p:cNvPicPr>
            <p:nvPr/>
          </p:nvPicPr>
          <p:blipFill rotWithShape="1">
            <a:blip r:embed="rId4">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48" name="Rectangle 47">
            <a:extLst>
              <a:ext uri="{FF2B5EF4-FFF2-40B4-BE49-F238E27FC236}">
                <a16:creationId xmlns:a16="http://schemas.microsoft.com/office/drawing/2014/main" id="{A4B5C3BA-0B51-4748-82A6-40EB05702A5E}"/>
              </a:ext>
            </a:extLst>
          </p:cNvPr>
          <p:cNvSpPr/>
          <p:nvPr/>
        </p:nvSpPr>
        <p:spPr>
          <a:xfrm>
            <a:off x="978774" y="1550492"/>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D12059DB-7429-49AB-B0D6-8B9686C668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248" y="2685370"/>
            <a:ext cx="571875" cy="424535"/>
          </a:xfrm>
          <a:prstGeom prst="rect">
            <a:avLst/>
          </a:prstGeom>
        </p:spPr>
      </p:pic>
      <p:sp>
        <p:nvSpPr>
          <p:cNvPr id="50" name="Rectangle 49">
            <a:extLst>
              <a:ext uri="{FF2B5EF4-FFF2-40B4-BE49-F238E27FC236}">
                <a16:creationId xmlns:a16="http://schemas.microsoft.com/office/drawing/2014/main" id="{AF86B3EB-B87D-4B11-A489-82DE2C2040A1}"/>
              </a:ext>
            </a:extLst>
          </p:cNvPr>
          <p:cNvSpPr/>
          <p:nvPr/>
        </p:nvSpPr>
        <p:spPr>
          <a:xfrm>
            <a:off x="852223" y="1222773"/>
            <a:ext cx="904414"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olybase++</a:t>
            </a:r>
          </a:p>
        </p:txBody>
      </p:sp>
      <p:pic>
        <p:nvPicPr>
          <p:cNvPr id="51" name="Picture 4">
            <a:extLst>
              <a:ext uri="{FF2B5EF4-FFF2-40B4-BE49-F238E27FC236}">
                <a16:creationId xmlns:a16="http://schemas.microsoft.com/office/drawing/2014/main" id="{E2156C17-945F-4F67-AF7D-05E5DB7F222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775114" y="2417694"/>
            <a:ext cx="970331" cy="26273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descr="Image result for Oracle">
            <a:extLst>
              <a:ext uri="{FF2B5EF4-FFF2-40B4-BE49-F238E27FC236}">
                <a16:creationId xmlns:a16="http://schemas.microsoft.com/office/drawing/2014/main" id="{1A20A31B-67D8-4702-BAFE-68D47EBF4E85}"/>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816572" y="1308211"/>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www.bojanglesmuseum.com/wp-content/uploads/2017/07/Cool-Microsoft-Sql-Server-Logo-98-On-Create-A-Free-Logo-with-Microsoft-Sql-Server-Logo.jpg">
            <a:extLst>
              <a:ext uri="{FF2B5EF4-FFF2-40B4-BE49-F238E27FC236}">
                <a16:creationId xmlns:a16="http://schemas.microsoft.com/office/drawing/2014/main" id="{205158C2-8F6E-4AA2-B2C1-6DA1DBA055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28458" y="1505555"/>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descr="Image result for hdfs basic logo blue">
            <a:extLst>
              <a:ext uri="{FF2B5EF4-FFF2-40B4-BE49-F238E27FC236}">
                <a16:creationId xmlns:a16="http://schemas.microsoft.com/office/drawing/2014/main" id="{1786E14F-DAC4-429B-83E5-F6A08DAF1B2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4499" y="2264659"/>
            <a:ext cx="460648" cy="334738"/>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046830F1-EACD-4B19-BF65-C382E67EB59B}"/>
              </a:ext>
            </a:extLst>
          </p:cNvPr>
          <p:cNvGrpSpPr/>
          <p:nvPr/>
        </p:nvGrpSpPr>
        <p:grpSpPr>
          <a:xfrm>
            <a:off x="9130608" y="1257813"/>
            <a:ext cx="1080557" cy="165753"/>
            <a:chOff x="9569865" y="3406625"/>
            <a:chExt cx="1080557" cy="165753"/>
          </a:xfrm>
        </p:grpSpPr>
        <p:cxnSp>
          <p:nvCxnSpPr>
            <p:cNvPr id="56" name="Straight Arrow Connector 55">
              <a:extLst>
                <a:ext uri="{FF2B5EF4-FFF2-40B4-BE49-F238E27FC236}">
                  <a16:creationId xmlns:a16="http://schemas.microsoft.com/office/drawing/2014/main" id="{BA7CD893-5CA9-42E8-85D2-9275CC3E7D5D}"/>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57" name="Straight Arrow Connector 56">
              <a:extLst>
                <a:ext uri="{FF2B5EF4-FFF2-40B4-BE49-F238E27FC236}">
                  <a16:creationId xmlns:a16="http://schemas.microsoft.com/office/drawing/2014/main" id="{40B24B25-3494-4CDC-B079-45BB6B5F120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58" name="TextBox 57">
            <a:extLst>
              <a:ext uri="{FF2B5EF4-FFF2-40B4-BE49-F238E27FC236}">
                <a16:creationId xmlns:a16="http://schemas.microsoft.com/office/drawing/2014/main" id="{BBEB53A9-728C-44D5-A3F1-5A38415D7FD1}"/>
              </a:ext>
            </a:extLst>
          </p:cNvPr>
          <p:cNvSpPr txBox="1"/>
          <p:nvPr/>
        </p:nvSpPr>
        <p:spPr>
          <a:xfrm>
            <a:off x="9277398" y="982473"/>
            <a:ext cx="80502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grpSp>
        <p:nvGrpSpPr>
          <p:cNvPr id="59" name="Group 58">
            <a:extLst>
              <a:ext uri="{FF2B5EF4-FFF2-40B4-BE49-F238E27FC236}">
                <a16:creationId xmlns:a16="http://schemas.microsoft.com/office/drawing/2014/main" id="{039E966C-F9A3-40CB-9BE4-8DCD961EB7D3}"/>
              </a:ext>
            </a:extLst>
          </p:cNvPr>
          <p:cNvGrpSpPr/>
          <p:nvPr/>
        </p:nvGrpSpPr>
        <p:grpSpPr>
          <a:xfrm>
            <a:off x="9523537" y="657346"/>
            <a:ext cx="244414" cy="299196"/>
            <a:chOff x="965200" y="3436897"/>
            <a:chExt cx="528881" cy="647424"/>
          </a:xfrm>
        </p:grpSpPr>
        <p:grpSp>
          <p:nvGrpSpPr>
            <p:cNvPr id="60" name="Group 59">
              <a:extLst>
                <a:ext uri="{FF2B5EF4-FFF2-40B4-BE49-F238E27FC236}">
                  <a16:creationId xmlns:a16="http://schemas.microsoft.com/office/drawing/2014/main" id="{2DDD89C5-ECED-4106-B25A-182ADC2FFEBB}"/>
                </a:ext>
              </a:extLst>
            </p:cNvPr>
            <p:cNvGrpSpPr/>
            <p:nvPr/>
          </p:nvGrpSpPr>
          <p:grpSpPr>
            <a:xfrm flipH="1">
              <a:off x="965200" y="3436897"/>
              <a:ext cx="528881" cy="647424"/>
              <a:chOff x="3003960" y="3685414"/>
              <a:chExt cx="403310" cy="493707"/>
            </a:xfrm>
          </p:grpSpPr>
          <p:sp>
            <p:nvSpPr>
              <p:cNvPr id="65" name="Snip Single Corner Rectangle 26">
                <a:extLst>
                  <a:ext uri="{FF2B5EF4-FFF2-40B4-BE49-F238E27FC236}">
                    <a16:creationId xmlns:a16="http://schemas.microsoft.com/office/drawing/2014/main" id="{886AD6B8-A485-4EAD-AE71-E44C52E4253D}"/>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riangle 27">
                <a:extLst>
                  <a:ext uri="{FF2B5EF4-FFF2-40B4-BE49-F238E27FC236}">
                    <a16:creationId xmlns:a16="http://schemas.microsoft.com/office/drawing/2014/main" id="{5EFBB944-6A12-4254-9C5B-CE1D62496D30}"/>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1" name="Straight Connector 60">
              <a:extLst>
                <a:ext uri="{FF2B5EF4-FFF2-40B4-BE49-F238E27FC236}">
                  <a16:creationId xmlns:a16="http://schemas.microsoft.com/office/drawing/2014/main" id="{22D72F83-1965-488A-A30A-A851B3AE38AF}"/>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A99109F4-6D6D-4813-8330-562BB56C29F3}"/>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BBB0069D-A70F-4FF8-8DC1-5F44CE817538}"/>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4" name="Straight Connector 63">
              <a:extLst>
                <a:ext uri="{FF2B5EF4-FFF2-40B4-BE49-F238E27FC236}">
                  <a16:creationId xmlns:a16="http://schemas.microsoft.com/office/drawing/2014/main" id="{77A31475-7E2A-4CD0-9DC8-058A98B1CC50}"/>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sp>
        <p:nvSpPr>
          <p:cNvPr id="67" name="Rectangle 66">
            <a:extLst>
              <a:ext uri="{FF2B5EF4-FFF2-40B4-BE49-F238E27FC236}">
                <a16:creationId xmlns:a16="http://schemas.microsoft.com/office/drawing/2014/main" id="{C4A2DE9F-8605-47DD-B645-2DC743342465}"/>
              </a:ext>
            </a:extLst>
          </p:cNvPr>
          <p:cNvSpPr/>
          <p:nvPr/>
        </p:nvSpPr>
        <p:spPr>
          <a:xfrm>
            <a:off x="9907840" y="2399011"/>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68" name="TextBox 67">
            <a:extLst>
              <a:ext uri="{FF2B5EF4-FFF2-40B4-BE49-F238E27FC236}">
                <a16:creationId xmlns:a16="http://schemas.microsoft.com/office/drawing/2014/main" id="{1D27C92C-239A-487D-929B-162A7B4F6BD2}"/>
              </a:ext>
            </a:extLst>
          </p:cNvPr>
          <p:cNvSpPr txBox="1"/>
          <p:nvPr/>
        </p:nvSpPr>
        <p:spPr>
          <a:xfrm>
            <a:off x="10186137" y="2997733"/>
            <a:ext cx="76014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69" name="Group 68">
            <a:extLst>
              <a:ext uri="{FF2B5EF4-FFF2-40B4-BE49-F238E27FC236}">
                <a16:creationId xmlns:a16="http://schemas.microsoft.com/office/drawing/2014/main" id="{641FD4A5-1F80-4D52-9BDD-326734F81A07}"/>
              </a:ext>
            </a:extLst>
          </p:cNvPr>
          <p:cNvGrpSpPr/>
          <p:nvPr/>
        </p:nvGrpSpPr>
        <p:grpSpPr>
          <a:xfrm>
            <a:off x="10444002" y="2699937"/>
            <a:ext cx="244414" cy="299196"/>
            <a:chOff x="965200" y="3436897"/>
            <a:chExt cx="528881" cy="647424"/>
          </a:xfrm>
        </p:grpSpPr>
        <p:grpSp>
          <p:nvGrpSpPr>
            <p:cNvPr id="70" name="Group 69">
              <a:extLst>
                <a:ext uri="{FF2B5EF4-FFF2-40B4-BE49-F238E27FC236}">
                  <a16:creationId xmlns:a16="http://schemas.microsoft.com/office/drawing/2014/main" id="{BB25BA27-A10D-4DB5-AB1E-A8F29D192F5D}"/>
                </a:ext>
              </a:extLst>
            </p:cNvPr>
            <p:cNvGrpSpPr/>
            <p:nvPr/>
          </p:nvGrpSpPr>
          <p:grpSpPr>
            <a:xfrm flipH="1">
              <a:off x="965200" y="3436897"/>
              <a:ext cx="528881" cy="647424"/>
              <a:chOff x="3003960" y="3685414"/>
              <a:chExt cx="403310" cy="493707"/>
            </a:xfrm>
          </p:grpSpPr>
          <p:sp>
            <p:nvSpPr>
              <p:cNvPr id="75" name="Snip Single Corner Rectangle 26">
                <a:extLst>
                  <a:ext uri="{FF2B5EF4-FFF2-40B4-BE49-F238E27FC236}">
                    <a16:creationId xmlns:a16="http://schemas.microsoft.com/office/drawing/2014/main" id="{4A6157EC-4969-49D0-8C99-FAEF8C590FE8}"/>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riangle 27">
                <a:extLst>
                  <a:ext uri="{FF2B5EF4-FFF2-40B4-BE49-F238E27FC236}">
                    <a16:creationId xmlns:a16="http://schemas.microsoft.com/office/drawing/2014/main" id="{5B2128D7-9220-4ED1-87F8-4DDFE0220B86}"/>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1" name="Straight Connector 70">
              <a:extLst>
                <a:ext uri="{FF2B5EF4-FFF2-40B4-BE49-F238E27FC236}">
                  <a16:creationId xmlns:a16="http://schemas.microsoft.com/office/drawing/2014/main" id="{B419F341-2616-4DE0-B6D4-879ACDB4D52F}"/>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72" name="Straight Connector 71">
              <a:extLst>
                <a:ext uri="{FF2B5EF4-FFF2-40B4-BE49-F238E27FC236}">
                  <a16:creationId xmlns:a16="http://schemas.microsoft.com/office/drawing/2014/main" id="{1CF69118-9995-4C3D-9FB5-D1444FE19653}"/>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73" name="Straight Connector 72">
              <a:extLst>
                <a:ext uri="{FF2B5EF4-FFF2-40B4-BE49-F238E27FC236}">
                  <a16:creationId xmlns:a16="http://schemas.microsoft.com/office/drawing/2014/main" id="{09C21CF7-62C1-4EB4-9B10-D57501CDE69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74" name="Straight Connector 73">
              <a:extLst>
                <a:ext uri="{FF2B5EF4-FFF2-40B4-BE49-F238E27FC236}">
                  <a16:creationId xmlns:a16="http://schemas.microsoft.com/office/drawing/2014/main" id="{5B841921-3670-429C-B578-CCC3F67E30D8}"/>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77" name="Group 76">
            <a:extLst>
              <a:ext uri="{FF2B5EF4-FFF2-40B4-BE49-F238E27FC236}">
                <a16:creationId xmlns:a16="http://schemas.microsoft.com/office/drawing/2014/main" id="{F9C4AE1D-137D-4401-BE08-D324F18D2126}"/>
              </a:ext>
            </a:extLst>
          </p:cNvPr>
          <p:cNvGrpSpPr/>
          <p:nvPr/>
        </p:nvGrpSpPr>
        <p:grpSpPr>
          <a:xfrm>
            <a:off x="10483332" y="1709199"/>
            <a:ext cx="165754" cy="851821"/>
            <a:chOff x="10621938" y="3597012"/>
            <a:chExt cx="165754" cy="1080557"/>
          </a:xfrm>
        </p:grpSpPr>
        <p:cxnSp>
          <p:nvCxnSpPr>
            <p:cNvPr id="78" name="Straight Arrow Connector 77">
              <a:extLst>
                <a:ext uri="{FF2B5EF4-FFF2-40B4-BE49-F238E27FC236}">
                  <a16:creationId xmlns:a16="http://schemas.microsoft.com/office/drawing/2014/main" id="{736A20B9-B547-4B8C-8857-41936C36615D}"/>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79" name="Straight Arrow Connector 78">
              <a:extLst>
                <a:ext uri="{FF2B5EF4-FFF2-40B4-BE49-F238E27FC236}">
                  <a16:creationId xmlns:a16="http://schemas.microsoft.com/office/drawing/2014/main" id="{DB26AB87-EF97-4BE7-8E80-F7519C6230BB}"/>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80" name="Group 79">
            <a:extLst>
              <a:ext uri="{FF2B5EF4-FFF2-40B4-BE49-F238E27FC236}">
                <a16:creationId xmlns:a16="http://schemas.microsoft.com/office/drawing/2014/main" id="{B4601206-A874-49CE-A348-9F59882D384E}"/>
              </a:ext>
            </a:extLst>
          </p:cNvPr>
          <p:cNvGrpSpPr/>
          <p:nvPr/>
        </p:nvGrpSpPr>
        <p:grpSpPr>
          <a:xfrm>
            <a:off x="10316626" y="957493"/>
            <a:ext cx="499166" cy="640202"/>
            <a:chOff x="10344945" y="2179929"/>
            <a:chExt cx="401613" cy="515089"/>
          </a:xfrm>
        </p:grpSpPr>
        <p:sp>
          <p:nvSpPr>
            <p:cNvPr id="81" name="Rectangle 80">
              <a:extLst>
                <a:ext uri="{FF2B5EF4-FFF2-40B4-BE49-F238E27FC236}">
                  <a16:creationId xmlns:a16="http://schemas.microsoft.com/office/drawing/2014/main" id="{E11FE394-785F-4F2A-A001-E92AFB180F66}"/>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82" name="Freeform 188">
              <a:extLst>
                <a:ext uri="{FF2B5EF4-FFF2-40B4-BE49-F238E27FC236}">
                  <a16:creationId xmlns:a16="http://schemas.microsoft.com/office/drawing/2014/main" id="{3152C694-7002-4A9E-909E-719B56DEAAE4}"/>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3" name="Group 82">
            <a:extLst>
              <a:ext uri="{FF2B5EF4-FFF2-40B4-BE49-F238E27FC236}">
                <a16:creationId xmlns:a16="http://schemas.microsoft.com/office/drawing/2014/main" id="{99E1CCE0-510E-4ED5-8A0C-40B4B36BF134}"/>
              </a:ext>
            </a:extLst>
          </p:cNvPr>
          <p:cNvGrpSpPr/>
          <p:nvPr/>
        </p:nvGrpSpPr>
        <p:grpSpPr>
          <a:xfrm>
            <a:off x="9862756" y="3206719"/>
            <a:ext cx="344110" cy="452325"/>
            <a:chOff x="4373323" y="1855264"/>
            <a:chExt cx="2771333" cy="3642856"/>
          </a:xfrm>
        </p:grpSpPr>
        <p:sp>
          <p:nvSpPr>
            <p:cNvPr id="84" name="Freeform: Shape 83">
              <a:extLst>
                <a:ext uri="{FF2B5EF4-FFF2-40B4-BE49-F238E27FC236}">
                  <a16:creationId xmlns:a16="http://schemas.microsoft.com/office/drawing/2014/main" id="{1D776D36-C288-429E-AE79-1E7D518C9DB8}"/>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5" name="Freeform: Shape 84">
              <a:extLst>
                <a:ext uri="{FF2B5EF4-FFF2-40B4-BE49-F238E27FC236}">
                  <a16:creationId xmlns:a16="http://schemas.microsoft.com/office/drawing/2014/main" id="{3F1B382B-FEC7-4955-BECF-2B267AE68292}"/>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6" name="Group 85">
            <a:extLst>
              <a:ext uri="{FF2B5EF4-FFF2-40B4-BE49-F238E27FC236}">
                <a16:creationId xmlns:a16="http://schemas.microsoft.com/office/drawing/2014/main" id="{BD10CCBB-A148-4792-AE9E-BCD3BB98994D}"/>
              </a:ext>
            </a:extLst>
          </p:cNvPr>
          <p:cNvGrpSpPr/>
          <p:nvPr/>
        </p:nvGrpSpPr>
        <p:grpSpPr>
          <a:xfrm>
            <a:off x="9735765" y="824867"/>
            <a:ext cx="147488" cy="193870"/>
            <a:chOff x="4373323" y="1855264"/>
            <a:chExt cx="2771333" cy="3642856"/>
          </a:xfrm>
        </p:grpSpPr>
        <p:sp>
          <p:nvSpPr>
            <p:cNvPr id="87" name="Freeform: Shape 86">
              <a:extLst>
                <a:ext uri="{FF2B5EF4-FFF2-40B4-BE49-F238E27FC236}">
                  <a16:creationId xmlns:a16="http://schemas.microsoft.com/office/drawing/2014/main" id="{25FB483B-71AB-44D3-AF86-FB6A4AA3B26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8" name="Freeform: Shape 87">
              <a:extLst>
                <a:ext uri="{FF2B5EF4-FFF2-40B4-BE49-F238E27FC236}">
                  <a16:creationId xmlns:a16="http://schemas.microsoft.com/office/drawing/2014/main" id="{811BEC64-20BA-4A43-B8DD-04D1218BE7F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89" name="Connector: Elbow 88">
            <a:extLst>
              <a:ext uri="{FF2B5EF4-FFF2-40B4-BE49-F238E27FC236}">
                <a16:creationId xmlns:a16="http://schemas.microsoft.com/office/drawing/2014/main" id="{60FE9D31-F22F-4C0B-B871-35DD9C3F75DF}"/>
              </a:ext>
            </a:extLst>
          </p:cNvPr>
          <p:cNvCxnSpPr>
            <a:cxnSpLocks/>
          </p:cNvCxnSpPr>
          <p:nvPr/>
        </p:nvCxnSpPr>
        <p:spPr>
          <a:xfrm rot="10800000">
            <a:off x="692066" y="543716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BAF23CB-F5D3-4FD0-AEA9-C8A4CE19542D}"/>
              </a:ext>
            </a:extLst>
          </p:cNvPr>
          <p:cNvCxnSpPr>
            <a:cxnSpLocks/>
          </p:cNvCxnSpPr>
          <p:nvPr/>
        </p:nvCxnSpPr>
        <p:spPr>
          <a:xfrm flipV="1">
            <a:off x="1237720" y="5033475"/>
            <a:ext cx="1689294" cy="19743"/>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199692B3-0292-45F4-A6FB-65BD456E0D03}"/>
              </a:ext>
            </a:extLst>
          </p:cNvPr>
          <p:cNvGrpSpPr/>
          <p:nvPr/>
        </p:nvGrpSpPr>
        <p:grpSpPr>
          <a:xfrm>
            <a:off x="1523864" y="5967752"/>
            <a:ext cx="608721" cy="615212"/>
            <a:chOff x="7632206" y="4181475"/>
            <a:chExt cx="1932899" cy="1953509"/>
          </a:xfrm>
        </p:grpSpPr>
        <p:sp>
          <p:nvSpPr>
            <p:cNvPr id="92" name="Rectangle 91">
              <a:extLst>
                <a:ext uri="{FF2B5EF4-FFF2-40B4-BE49-F238E27FC236}">
                  <a16:creationId xmlns:a16="http://schemas.microsoft.com/office/drawing/2014/main" id="{D7E82521-DEDA-4B09-A9AA-32052D21D2D7}"/>
                </a:ext>
              </a:extLst>
            </p:cNvPr>
            <p:cNvSpPr/>
            <p:nvPr/>
          </p:nvSpPr>
          <p:spPr bwMode="auto">
            <a:xfrm>
              <a:off x="7632206" y="5983357"/>
              <a:ext cx="1932899" cy="151627"/>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3" name="Triangle 35">
              <a:extLst>
                <a:ext uri="{FF2B5EF4-FFF2-40B4-BE49-F238E27FC236}">
                  <a16:creationId xmlns:a16="http://schemas.microsoft.com/office/drawing/2014/main" id="{2934BD54-0D7E-44CC-9924-A2B412351676}"/>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4" name="Triangle 36">
              <a:extLst>
                <a:ext uri="{FF2B5EF4-FFF2-40B4-BE49-F238E27FC236}">
                  <a16:creationId xmlns:a16="http://schemas.microsoft.com/office/drawing/2014/main" id="{4EDD0B6F-7FF8-48D0-85BE-0AC368773A43}"/>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5" name="Rectangle 94">
              <a:extLst>
                <a:ext uri="{FF2B5EF4-FFF2-40B4-BE49-F238E27FC236}">
                  <a16:creationId xmlns:a16="http://schemas.microsoft.com/office/drawing/2014/main" id="{EB55982A-8F13-4070-8387-FA3872D891DA}"/>
                </a:ext>
              </a:extLst>
            </p:cNvPr>
            <p:cNvSpPr/>
            <p:nvPr/>
          </p:nvSpPr>
          <p:spPr bwMode="auto">
            <a:xfrm>
              <a:off x="7990551" y="4790662"/>
              <a:ext cx="548031" cy="1192695"/>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6" name="Oval 95">
              <a:extLst>
                <a:ext uri="{FF2B5EF4-FFF2-40B4-BE49-F238E27FC236}">
                  <a16:creationId xmlns:a16="http://schemas.microsoft.com/office/drawing/2014/main" id="{858144C1-3074-42FB-B72E-ADB8D7E0F370}"/>
                </a:ext>
              </a:extLst>
            </p:cNvPr>
            <p:cNvSpPr/>
            <p:nvPr/>
          </p:nvSpPr>
          <p:spPr bwMode="auto">
            <a:xfrm>
              <a:off x="8195814" y="492877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7" name="Oval 96">
              <a:extLst>
                <a:ext uri="{FF2B5EF4-FFF2-40B4-BE49-F238E27FC236}">
                  <a16:creationId xmlns:a16="http://schemas.microsoft.com/office/drawing/2014/main" id="{920617C0-340A-4F1F-9F04-305FB035DA22}"/>
                </a:ext>
              </a:extLst>
            </p:cNvPr>
            <p:cNvSpPr/>
            <p:nvPr/>
          </p:nvSpPr>
          <p:spPr bwMode="auto">
            <a:xfrm>
              <a:off x="8206905" y="514915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8" name="Rectangle 97">
              <a:extLst>
                <a:ext uri="{FF2B5EF4-FFF2-40B4-BE49-F238E27FC236}">
                  <a16:creationId xmlns:a16="http://schemas.microsoft.com/office/drawing/2014/main" id="{0FC201CB-76A2-41D4-8B3D-936F6E3DE459}"/>
                </a:ext>
              </a:extLst>
            </p:cNvPr>
            <p:cNvSpPr/>
            <p:nvPr/>
          </p:nvSpPr>
          <p:spPr bwMode="auto">
            <a:xfrm>
              <a:off x="8249516" y="5600630"/>
              <a:ext cx="45719" cy="382727"/>
            </a:xfrm>
            <a:prstGeom prst="rect">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9" name="Rectangle 98">
              <a:extLst>
                <a:ext uri="{FF2B5EF4-FFF2-40B4-BE49-F238E27FC236}">
                  <a16:creationId xmlns:a16="http://schemas.microsoft.com/office/drawing/2014/main" id="{CD1E5CAE-93A1-4E44-9E63-90960BC6C22C}"/>
                </a:ext>
              </a:extLst>
            </p:cNvPr>
            <p:cNvSpPr/>
            <p:nvPr/>
          </p:nvSpPr>
          <p:spPr bwMode="auto">
            <a:xfrm>
              <a:off x="8975558" y="4181475"/>
              <a:ext cx="360947" cy="1801881"/>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0" name="Rectangle 99">
              <a:extLst>
                <a:ext uri="{FF2B5EF4-FFF2-40B4-BE49-F238E27FC236}">
                  <a16:creationId xmlns:a16="http://schemas.microsoft.com/office/drawing/2014/main" id="{9AB0F826-0949-4A48-9A0F-7BAFAAAD0F47}"/>
                </a:ext>
              </a:extLst>
            </p:cNvPr>
            <p:cNvSpPr/>
            <p:nvPr/>
          </p:nvSpPr>
          <p:spPr bwMode="auto">
            <a:xfrm>
              <a:off x="8538581" y="4873539"/>
              <a:ext cx="436977" cy="55232"/>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1" name="TextBox 100">
            <a:extLst>
              <a:ext uri="{FF2B5EF4-FFF2-40B4-BE49-F238E27FC236}">
                <a16:creationId xmlns:a16="http://schemas.microsoft.com/office/drawing/2014/main" id="{4D13CFE0-7786-4CCE-808D-E1F47AAA1FC4}"/>
              </a:ext>
            </a:extLst>
          </p:cNvPr>
          <p:cNvSpPr txBox="1"/>
          <p:nvPr/>
        </p:nvSpPr>
        <p:spPr>
          <a:xfrm>
            <a:off x="2939009" y="4264652"/>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02" name="Group 101">
            <a:extLst>
              <a:ext uri="{FF2B5EF4-FFF2-40B4-BE49-F238E27FC236}">
                <a16:creationId xmlns:a16="http://schemas.microsoft.com/office/drawing/2014/main" id="{E41DB27D-B965-46A7-8B31-E4348D5D75AD}"/>
              </a:ext>
            </a:extLst>
          </p:cNvPr>
          <p:cNvGrpSpPr>
            <a:grpSpLocks noChangeAspect="1"/>
          </p:cNvGrpSpPr>
          <p:nvPr/>
        </p:nvGrpSpPr>
        <p:grpSpPr bwMode="auto">
          <a:xfrm>
            <a:off x="3057346" y="4966250"/>
            <a:ext cx="418209" cy="420053"/>
            <a:chOff x="522" y="2880"/>
            <a:chExt cx="908" cy="912"/>
          </a:xfrm>
          <a:solidFill>
            <a:schemeClr val="accent1"/>
          </a:solidFill>
        </p:grpSpPr>
        <p:sp>
          <p:nvSpPr>
            <p:cNvPr id="103" name="Freeform 5">
              <a:extLst>
                <a:ext uri="{FF2B5EF4-FFF2-40B4-BE49-F238E27FC236}">
                  <a16:creationId xmlns:a16="http://schemas.microsoft.com/office/drawing/2014/main" id="{41159C5E-83CA-4497-86B2-27FFC1BC7D8F}"/>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04" name="Freeform 6">
              <a:extLst>
                <a:ext uri="{FF2B5EF4-FFF2-40B4-BE49-F238E27FC236}">
                  <a16:creationId xmlns:a16="http://schemas.microsoft.com/office/drawing/2014/main" id="{43B52999-19D1-40B0-9D48-A5B6172A9136}"/>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7FB41209-6F6F-4E43-8F6F-8611E9032A3A}"/>
              </a:ext>
            </a:extLst>
          </p:cNvPr>
          <p:cNvGrpSpPr/>
          <p:nvPr/>
        </p:nvGrpSpPr>
        <p:grpSpPr>
          <a:xfrm>
            <a:off x="3005087" y="5495713"/>
            <a:ext cx="469199" cy="808027"/>
            <a:chOff x="10695214" y="4270043"/>
            <a:chExt cx="860430" cy="1481780"/>
          </a:xfrm>
        </p:grpSpPr>
        <p:pic>
          <p:nvPicPr>
            <p:cNvPr id="106" name="Picture 105">
              <a:extLst>
                <a:ext uri="{FF2B5EF4-FFF2-40B4-BE49-F238E27FC236}">
                  <a16:creationId xmlns:a16="http://schemas.microsoft.com/office/drawing/2014/main" id="{191631EC-C805-4D35-A6FA-9516E891375F}"/>
                </a:ext>
              </a:extLst>
            </p:cNvPr>
            <p:cNvPicPr>
              <a:picLocks noChangeAspect="1"/>
            </p:cNvPicPr>
            <p:nvPr/>
          </p:nvPicPr>
          <p:blipFill rotWithShape="1">
            <a:blip r:embed="rId11"/>
            <a:srcRect r="56128"/>
            <a:stretch/>
          </p:blipFill>
          <p:spPr>
            <a:xfrm>
              <a:off x="10767230" y="4270043"/>
              <a:ext cx="716398" cy="952542"/>
            </a:xfrm>
            <a:prstGeom prst="rect">
              <a:avLst/>
            </a:prstGeom>
          </p:spPr>
        </p:pic>
        <p:pic>
          <p:nvPicPr>
            <p:cNvPr id="107" name="Picture 106">
              <a:extLst>
                <a:ext uri="{FF2B5EF4-FFF2-40B4-BE49-F238E27FC236}">
                  <a16:creationId xmlns:a16="http://schemas.microsoft.com/office/drawing/2014/main" id="{6F551FA5-CED3-49C1-A5E9-8F444361A525}"/>
                </a:ext>
              </a:extLst>
            </p:cNvPr>
            <p:cNvPicPr>
              <a:picLocks noChangeAspect="1"/>
            </p:cNvPicPr>
            <p:nvPr/>
          </p:nvPicPr>
          <p:blipFill rotWithShape="1">
            <a:blip r:embed="rId11"/>
            <a:srcRect l="47307" t="34734" b="16030"/>
            <a:stretch/>
          </p:blipFill>
          <p:spPr>
            <a:xfrm>
              <a:off x="10695214" y="5282823"/>
              <a:ext cx="860430" cy="469000"/>
            </a:xfrm>
            <a:prstGeom prst="rect">
              <a:avLst/>
            </a:prstGeom>
          </p:spPr>
        </p:pic>
      </p:grpSp>
      <p:grpSp>
        <p:nvGrpSpPr>
          <p:cNvPr id="108" name="Group 107">
            <a:extLst>
              <a:ext uri="{FF2B5EF4-FFF2-40B4-BE49-F238E27FC236}">
                <a16:creationId xmlns:a16="http://schemas.microsoft.com/office/drawing/2014/main" id="{6F210315-F6BC-4DA2-8AE3-4D7C69705442}"/>
              </a:ext>
            </a:extLst>
          </p:cNvPr>
          <p:cNvGrpSpPr/>
          <p:nvPr/>
        </p:nvGrpSpPr>
        <p:grpSpPr>
          <a:xfrm>
            <a:off x="442483" y="4659261"/>
            <a:ext cx="499166" cy="640202"/>
            <a:chOff x="10344945" y="2179929"/>
            <a:chExt cx="401613" cy="515089"/>
          </a:xfrm>
        </p:grpSpPr>
        <p:sp>
          <p:nvSpPr>
            <p:cNvPr id="109" name="Rectangle 108">
              <a:extLst>
                <a:ext uri="{FF2B5EF4-FFF2-40B4-BE49-F238E27FC236}">
                  <a16:creationId xmlns:a16="http://schemas.microsoft.com/office/drawing/2014/main" id="{549E97D0-8ED3-4D5D-9540-F5C7C8DC5426}"/>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110" name="Freeform 188">
              <a:extLst>
                <a:ext uri="{FF2B5EF4-FFF2-40B4-BE49-F238E27FC236}">
                  <a16:creationId xmlns:a16="http://schemas.microsoft.com/office/drawing/2014/main" id="{FCF63706-B4D4-4C40-853E-A3D4070A635C}"/>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cxnSp>
        <p:nvCxnSpPr>
          <p:cNvPr id="111" name="Connector: Elbow 110">
            <a:extLst>
              <a:ext uri="{FF2B5EF4-FFF2-40B4-BE49-F238E27FC236}">
                <a16:creationId xmlns:a16="http://schemas.microsoft.com/office/drawing/2014/main" id="{B7A5E3C5-4E6D-4F26-8EFD-A3F6C4C1A22C}"/>
              </a:ext>
            </a:extLst>
          </p:cNvPr>
          <p:cNvCxnSpPr>
            <a:cxnSpLocks/>
          </p:cNvCxnSpPr>
          <p:nvPr/>
        </p:nvCxnSpPr>
        <p:spPr>
          <a:xfrm rot="10800000" flipV="1">
            <a:off x="2268612" y="5585537"/>
            <a:ext cx="658403" cy="639209"/>
          </a:xfrm>
          <a:prstGeom prst="bentConnector3">
            <a:avLst>
              <a:gd name="adj1" fmla="val 500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5F8EDC98-2499-4B7F-AA8A-17B73EFDE2DB}"/>
              </a:ext>
            </a:extLst>
          </p:cNvPr>
          <p:cNvSpPr/>
          <p:nvPr/>
        </p:nvSpPr>
        <p:spPr>
          <a:xfrm>
            <a:off x="9069956" y="1725796"/>
            <a:ext cx="1125629"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Secure Enclaves</a:t>
            </a:r>
          </a:p>
        </p:txBody>
      </p:sp>
      <p:sp>
        <p:nvSpPr>
          <p:cNvPr id="113" name="Rectangle 112">
            <a:extLst>
              <a:ext uri="{FF2B5EF4-FFF2-40B4-BE49-F238E27FC236}">
                <a16:creationId xmlns:a16="http://schemas.microsoft.com/office/drawing/2014/main" id="{16EAC972-2B9E-4A67-A290-E172936123D7}"/>
              </a:ext>
            </a:extLst>
          </p:cNvPr>
          <p:cNvSpPr/>
          <p:nvPr/>
        </p:nvSpPr>
        <p:spPr>
          <a:xfrm>
            <a:off x="9263374" y="4220531"/>
            <a:ext cx="1279517"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zure Data Studio</a:t>
            </a:r>
          </a:p>
        </p:txBody>
      </p:sp>
      <p:pic>
        <p:nvPicPr>
          <p:cNvPr id="114" name="Picture 8">
            <a:extLst>
              <a:ext uri="{FF2B5EF4-FFF2-40B4-BE49-F238E27FC236}">
                <a16:creationId xmlns:a16="http://schemas.microsoft.com/office/drawing/2014/main" id="{E8E9DBAF-3D0B-4466-8B82-0216E6B918F8}"/>
              </a:ext>
            </a:extLst>
          </p:cNvPr>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775114" y="2029043"/>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137936B5-0AA5-4374-A746-44AE942097E4}"/>
              </a:ext>
            </a:extLst>
          </p:cNvPr>
          <p:cNvSpPr txBox="1"/>
          <p:nvPr/>
        </p:nvSpPr>
        <p:spPr>
          <a:xfrm>
            <a:off x="1626966" y="3187345"/>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116" name="Freeform: Shape 115">
            <a:extLst>
              <a:ext uri="{FF2B5EF4-FFF2-40B4-BE49-F238E27FC236}">
                <a16:creationId xmlns:a16="http://schemas.microsoft.com/office/drawing/2014/main" id="{3FD09716-B460-4570-B682-9E5532F3A764}"/>
              </a:ext>
            </a:extLst>
          </p:cNvPr>
          <p:cNvSpPr/>
          <p:nvPr/>
        </p:nvSpPr>
        <p:spPr bwMode="auto">
          <a:xfrm>
            <a:off x="1816572" y="2734687"/>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BCEB491B-0F39-4027-A37A-9E44B5EC70E1}"/>
              </a:ext>
            </a:extLst>
          </p:cNvPr>
          <p:cNvPicPr>
            <a:picLocks noChangeAspect="1"/>
          </p:cNvPicPr>
          <p:nvPr/>
        </p:nvPicPr>
        <p:blipFill>
          <a:blip r:embed="rId13"/>
          <a:stretch>
            <a:fillRect/>
          </a:stretch>
        </p:blipFill>
        <p:spPr>
          <a:xfrm>
            <a:off x="8314021" y="4567355"/>
            <a:ext cx="3403071" cy="1942003"/>
          </a:xfrm>
          <a:prstGeom prst="rect">
            <a:avLst/>
          </a:prstGeom>
        </p:spPr>
      </p:pic>
    </p:spTree>
    <p:extLst>
      <p:ext uri="{BB962C8B-B14F-4D97-AF65-F5344CB8AC3E}">
        <p14:creationId xmlns:p14="http://schemas.microsoft.com/office/powerpoint/2010/main" val="544069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1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2"/>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11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48" grpId="0" animBg="1"/>
      <p:bldP spid="50" grpId="0"/>
      <p:bldP spid="58" grpId="0"/>
      <p:bldP spid="67" grpId="0" animBg="1"/>
      <p:bldP spid="68" grpId="0"/>
      <p:bldP spid="101" grpId="0"/>
      <p:bldP spid="112" grpId="0"/>
      <p:bldP spid="113" grpId="0"/>
      <p:bldP spid="115" grpId="0"/>
      <p:bldP spid="1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ags/tag2.xml><?xml version="1.0" encoding="utf-8"?>
<p:tagLst xmlns:a="http://schemas.openxmlformats.org/drawingml/2006/main" xmlns:r="http://schemas.openxmlformats.org/officeDocument/2006/relationships" xmlns:p="http://schemas.openxmlformats.org/presentationml/2006/main">
  <p:tag name="TIMING" val="|20.5|11.2|15"/>
</p:tagLst>
</file>

<file path=ppt/tags/tag3.xml><?xml version="1.0" encoding="utf-8"?>
<p:tagLst xmlns:a="http://schemas.openxmlformats.org/drawingml/2006/main" xmlns:r="http://schemas.openxmlformats.org/officeDocument/2006/relationships" xmlns:p="http://schemas.openxmlformats.org/presentationml/2006/main">
  <p:tag name="TIMING" val="|20.5|11.2|15"/>
</p:tagLst>
</file>

<file path=ppt/tags/tag4.xml><?xml version="1.0" encoding="utf-8"?>
<p:tagLst xmlns:a="http://schemas.openxmlformats.org/drawingml/2006/main" xmlns:r="http://schemas.openxmlformats.org/officeDocument/2006/relationships" xmlns:p="http://schemas.openxmlformats.org/presentationml/2006/main">
  <p:tag name="TIMING" val="|20.5|11.2|15"/>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Custom 6">
      <a:dk1>
        <a:srgbClr val="1A1A1A"/>
      </a:dk1>
      <a:lt1>
        <a:srgbClr val="FFFFFF"/>
      </a:lt1>
      <a:dk2>
        <a:srgbClr val="0D0D0D"/>
      </a:dk2>
      <a:lt2>
        <a:srgbClr val="E6E6E6"/>
      </a:lt2>
      <a:accent1>
        <a:srgbClr val="0078D4"/>
      </a:accent1>
      <a:accent2>
        <a:srgbClr val="002050"/>
      </a:accent2>
      <a:accent3>
        <a:srgbClr val="50E6FF"/>
      </a:accent3>
      <a:accent4>
        <a:srgbClr val="F37521"/>
      </a:accent4>
      <a:accent5>
        <a:srgbClr val="737373"/>
      </a:accent5>
      <a:accent6>
        <a:srgbClr val="D2D2D2"/>
      </a:accent6>
      <a:hlink>
        <a:srgbClr val="0078D4"/>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1_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5.xml><?xml version="1.0" encoding="utf-8"?>
<a:theme xmlns:a="http://schemas.openxmlformats.org/drawingml/2006/main" name="3_WHITE TEMPLATE">
  <a:themeElements>
    <a:clrScheme name="Custom 11">
      <a:dk1>
        <a:srgbClr val="505050"/>
      </a:dk1>
      <a:lt1>
        <a:srgbClr val="FFFFFF"/>
      </a:lt1>
      <a:dk2>
        <a:srgbClr val="0078D7"/>
      </a:dk2>
      <a:lt2>
        <a:srgbClr val="F4F4F4"/>
      </a:lt2>
      <a:accent1>
        <a:srgbClr val="000000"/>
      </a:accent1>
      <a:accent2>
        <a:srgbClr val="505050"/>
      </a:accent2>
      <a:accent3>
        <a:srgbClr val="ADAEB0"/>
      </a:accent3>
      <a:accent4>
        <a:srgbClr val="CCCCCC"/>
      </a:accent4>
      <a:accent5>
        <a:srgbClr val="5F5F5F"/>
      </a:accent5>
      <a:accent6>
        <a:srgbClr val="4D4D4D"/>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ontrol xmlns="http://schemas.microsoft.com/VisualStudio/2011/storyboarding/control">
  <Id Name="System.Storyboarding.Icons.User" Revision="1" Stencil="System.Storyboarding.Icons" StencilVersion="0.1"/>
</Control>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9-28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2018-09-24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11111111-1111-1111-1111-111111111111</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76D773-793D-4235-8496-225C985DEE62}">
  <ds:schemaRefs>
    <ds:schemaRef ds:uri="http://schemas.microsoft.com/VisualStudio/2011/storyboarding/control"/>
  </ds:schemaRefs>
</ds:datastoreItem>
</file>

<file path=customXml/itemProps2.xml><?xml version="1.0" encoding="utf-8"?>
<ds:datastoreItem xmlns:ds="http://schemas.openxmlformats.org/officeDocument/2006/customXml" ds:itemID="{1028E922-FB3D-4DE8-9890-90CCEE586F79}">
  <ds:schemaRefs>
    <ds:schemaRef ds:uri="http://schemas.microsoft.com/VisualStudio/2011/storyboarding/control"/>
  </ds:schemaRefs>
</ds:datastoreItem>
</file>

<file path=customXml/itemProps3.xml><?xml version="1.0" encoding="utf-8"?>
<ds:datastoreItem xmlns:ds="http://schemas.openxmlformats.org/officeDocument/2006/customXml" ds:itemID="{8C70D330-83C3-4296-815C-1D543D43A8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5a4b3278-325d-441a-b38f-6f1926bc734e"/>
    <ds:schemaRef ds:uri="http://schemas.microsoft.com/sharepoint/v3"/>
    <ds:schemaRef ds:uri="230e9df3-be65-4c73-a93b-d1236ebd677e"/>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7366</TotalTime>
  <Words>7749</Words>
  <Application>Microsoft Office PowerPoint</Application>
  <PresentationFormat>Widescreen</PresentationFormat>
  <Paragraphs>1442</Paragraphs>
  <Slides>84</Slides>
  <Notes>61</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84</vt:i4>
      </vt:variant>
    </vt:vector>
  </HeadingPairs>
  <TitlesOfParts>
    <vt:vector size="100" baseType="lpstr">
      <vt:lpstr>&amp;quot</vt:lpstr>
      <vt:lpstr>Arial</vt:lpstr>
      <vt:lpstr>Calibri</vt:lpstr>
      <vt:lpstr>Consolas</vt:lpstr>
      <vt:lpstr>Segoe UI</vt:lpstr>
      <vt:lpstr>Segoe UI Black</vt:lpstr>
      <vt:lpstr>Segoe UI Light</vt:lpstr>
      <vt:lpstr>Segoe UI Semibold</vt:lpstr>
      <vt:lpstr>Segoe UI Semilight</vt:lpstr>
      <vt:lpstr>Wingdings</vt:lpstr>
      <vt:lpstr>Wingdings 3</vt:lpstr>
      <vt:lpstr>5-50203_Microsoft_Ignite_Template</vt:lpstr>
      <vt:lpstr>1_5-50203_Microsoft_Ignite_Template</vt:lpstr>
      <vt:lpstr>5-30664_S4_Q1_FY16_Light_Template</vt:lpstr>
      <vt:lpstr>1_5-30664_S4_Q1_FY16_Light_Template</vt:lpstr>
      <vt:lpstr>3_WHITE TEMPLATE</vt:lpstr>
      <vt:lpstr>Modernize your database with SQL Server 2019</vt:lpstr>
      <vt:lpstr>The Workshop</vt:lpstr>
      <vt:lpstr>Module 1: Why SQL Server 2019?</vt:lpstr>
      <vt:lpstr>SQL Server end of support</vt:lpstr>
      <vt:lpstr>Azure Data Modernization Choices</vt:lpstr>
      <vt:lpstr>The innovation of SQL Server 2016 and 2017</vt:lpstr>
      <vt:lpstr>PowerPoint Presentation</vt:lpstr>
      <vt:lpstr>Modernize on premises with SQL Server 2019</vt:lpstr>
      <vt:lpstr>PowerPoint Presentation</vt:lpstr>
      <vt:lpstr>The Azure Data Studio tools experience </vt:lpstr>
      <vt:lpstr>Module 2: Intelligent Performance</vt:lpstr>
      <vt:lpstr>PowerPoint Presentation</vt:lpstr>
      <vt:lpstr>Module 2 Activity: The intelligent database</vt:lpstr>
      <vt:lpstr>Intelligent Performance with SQL Server The intelligent database </vt:lpstr>
      <vt:lpstr>Intelligent Query Processing</vt:lpstr>
      <vt:lpstr>Module 2 Activity: The intelligent database</vt:lpstr>
      <vt:lpstr>Lightweight Query Profiling</vt:lpstr>
      <vt:lpstr>Module 2 Activity: The intelligent database</vt:lpstr>
      <vt:lpstr>SQL Server and Persistent Memory</vt:lpstr>
      <vt:lpstr>Tempdb just runs faster (Planned Feature)</vt:lpstr>
      <vt:lpstr>Module 3: New Security Capabilities</vt:lpstr>
      <vt:lpstr>Mission critical security Confidential computing  </vt:lpstr>
      <vt:lpstr>Data Classification and Auditing</vt:lpstr>
      <vt:lpstr>Module 4: Mission Critical Availability</vt:lpstr>
      <vt:lpstr>Mission critical availability Keep SQL Server running </vt:lpstr>
      <vt:lpstr>Using Online Indexing in SQL Server 2019</vt:lpstr>
      <vt:lpstr>Always On Availability Group Enhancements</vt:lpstr>
      <vt:lpstr>Clusterless Availability Groups</vt:lpstr>
      <vt:lpstr>SQL Server Recovery and rollback</vt:lpstr>
      <vt:lpstr>Transactions accelerated</vt:lpstr>
      <vt:lpstr>Module 4 Activity: Mission Critical Availability</vt:lpstr>
      <vt:lpstr>Module 5: The Modern Development Platform</vt:lpstr>
      <vt:lpstr>The modern development platform </vt:lpstr>
      <vt:lpstr>Enhancing the developer experience</vt:lpstr>
      <vt:lpstr>SQL Server Graph Database</vt:lpstr>
      <vt:lpstr>SQL Server Extensibility</vt:lpstr>
      <vt:lpstr>Module 5 Activity: The modern development platform</vt:lpstr>
      <vt:lpstr>Module 6: SQL Server on Linux</vt:lpstr>
      <vt:lpstr>PowerPoint Presentation</vt:lpstr>
      <vt:lpstr>SQL Server on Linux – What have we learned?</vt:lpstr>
      <vt:lpstr>What’s in SQL Server on Linux</vt:lpstr>
      <vt:lpstr>The Architecture of SQL Server on Linux </vt:lpstr>
      <vt:lpstr>The Deployment Experience</vt:lpstr>
      <vt:lpstr>Configuring and Updating SQL Server on Linux</vt:lpstr>
      <vt:lpstr>SQL Server on Linux</vt:lpstr>
      <vt:lpstr>HADR with SQL Server on Linux</vt:lpstr>
      <vt:lpstr>SQL Server 2019 and Linux</vt:lpstr>
      <vt:lpstr>Module 6 Activity: SQL Server Linux</vt:lpstr>
      <vt:lpstr>Module 7: SQL Server Containers and Kubernetes (k8s)</vt:lpstr>
      <vt:lpstr>Why Containers?</vt:lpstr>
      <vt:lpstr>Containers Explained</vt:lpstr>
      <vt:lpstr>SQL Server Images</vt:lpstr>
      <vt:lpstr>Running a SQL Server Container</vt:lpstr>
      <vt:lpstr>How do I update a SQL Server Container?</vt:lpstr>
      <vt:lpstr>Building your own image</vt:lpstr>
      <vt:lpstr>But how do I patch and upgrade?</vt:lpstr>
      <vt:lpstr>Module 7 Activity: SQL Server Containers</vt:lpstr>
      <vt:lpstr>Kubernetes (k8s) in a nutshell</vt:lpstr>
      <vt:lpstr>Let’s hear from an expert on k8s</vt:lpstr>
      <vt:lpstr>k8s implementations</vt:lpstr>
      <vt:lpstr>SQL Server - Shared storage HA in Kubernetes</vt:lpstr>
      <vt:lpstr>SQL Server 2019  Always On Availability Groups on Kubernetes </vt:lpstr>
      <vt:lpstr>Module 8: SQL Server Data Virtualization</vt:lpstr>
      <vt:lpstr>What is SQL Server Polybase?</vt:lpstr>
      <vt:lpstr>Polybase as a Semantic Layer</vt:lpstr>
      <vt:lpstr>Polybase and Other Connectors</vt:lpstr>
      <vt:lpstr>SQL Server 2019: Data Virtualization</vt:lpstr>
      <vt:lpstr>Module 8 Activity: The SQL Server Data Hub</vt:lpstr>
      <vt:lpstr>SQL Server 2019 Big Data Clusters and Polybase</vt:lpstr>
      <vt:lpstr>SQL Server 2019 Big Data Cluster Scenarios</vt:lpstr>
      <vt:lpstr>SQL Server Big Data Cluster Architecture</vt:lpstr>
      <vt:lpstr>Azure Data Studio and Data Virtualization</vt:lpstr>
      <vt:lpstr>Module 8 Activity: SQL Server Big Data Clusters</vt:lpstr>
      <vt:lpstr>Module 9: What is else is new in SQL Server 2019</vt:lpstr>
      <vt:lpstr>The Customer Voice</vt:lpstr>
      <vt:lpstr>Module 10: Migrating and Next Steps</vt:lpstr>
      <vt:lpstr>Migration to the Modern SQL Server</vt:lpstr>
      <vt:lpstr>Database Compatibility Certification</vt:lpstr>
      <vt:lpstr>Microsoft stands by DB Compat based certification</vt:lpstr>
      <vt:lpstr>Query Tuning Assistant (QTA)</vt:lpstr>
      <vt:lpstr>Module 10 Activity: Query Tuning Assistant (QTA)</vt:lpstr>
      <vt:lpstr>What are your next steps?</vt:lpstr>
      <vt:lpstr>What’s Next for SQL Server?</vt:lpstr>
      <vt:lpstr>Learn more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Brieanne Vanderpool</dc:creator>
  <cp:keywords>Microsoft Ignite</cp:keywords>
  <dc:description/>
  <cp:lastModifiedBy>Bob Ward</cp:lastModifiedBy>
  <cp:revision>14</cp:revision>
  <dcterms:created xsi:type="dcterms:W3CDTF">2018-08-10T17:04:28Z</dcterms:created>
  <dcterms:modified xsi:type="dcterms:W3CDTF">2019-07-09T13:47:02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